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35"/>
  </p:notesMasterIdLst>
  <p:sldIdLst>
    <p:sldId id="1211" r:id="rId5"/>
    <p:sldId id="6079" r:id="rId6"/>
    <p:sldId id="751" r:id="rId7"/>
    <p:sldId id="6081" r:id="rId8"/>
    <p:sldId id="6088" r:id="rId9"/>
    <p:sldId id="2556" r:id="rId10"/>
    <p:sldId id="2554" r:id="rId11"/>
    <p:sldId id="6045" r:id="rId12"/>
    <p:sldId id="263" r:id="rId13"/>
    <p:sldId id="6044" r:id="rId14"/>
    <p:sldId id="1216" r:id="rId15"/>
    <p:sldId id="5661" r:id="rId16"/>
    <p:sldId id="5658" r:id="rId17"/>
    <p:sldId id="6078" r:id="rId18"/>
    <p:sldId id="6077" r:id="rId19"/>
    <p:sldId id="2076136717" r:id="rId20"/>
    <p:sldId id="2076136739" r:id="rId21"/>
    <p:sldId id="2076136718" r:id="rId22"/>
    <p:sldId id="6080" r:id="rId23"/>
    <p:sldId id="6082" r:id="rId24"/>
    <p:sldId id="2448" r:id="rId25"/>
    <p:sldId id="331" r:id="rId26"/>
    <p:sldId id="6085" r:id="rId27"/>
    <p:sldId id="6083" r:id="rId28"/>
    <p:sldId id="6084" r:id="rId29"/>
    <p:sldId id="6091" r:id="rId30"/>
    <p:sldId id="6090" r:id="rId31"/>
    <p:sldId id="6089" r:id="rId32"/>
    <p:sldId id="6086" r:id="rId33"/>
    <p:sldId id="6087" r:id="rId3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EB3923A-B061-4729-962F-BC182A8BC670}" v="283" dt="2020-10-05T14:40:33.631"/>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196" autoAdjust="0"/>
  </p:normalViewPr>
  <p:slideViewPr>
    <p:cSldViewPr snapToGrid="0">
      <p:cViewPr varScale="1">
        <p:scale>
          <a:sx n="68" d="100"/>
          <a:sy n="68" d="100"/>
        </p:scale>
        <p:origin x="738"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40"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cap="all" spc="100" normalizeH="0" baseline="0">
                <a:solidFill>
                  <a:schemeClr val="accent3"/>
                </a:solidFill>
                <a:latin typeface="+mn-lt"/>
                <a:ea typeface="+mn-ea"/>
                <a:cs typeface="+mn-cs"/>
              </a:defRPr>
            </a:pPr>
            <a:r>
              <a:rPr lang="en-US" sz="1200" spc="100" baseline="0">
                <a:solidFill>
                  <a:schemeClr val="accent3"/>
                </a:solidFill>
              </a:rPr>
              <a:t>OVERALL MARKET GROWTH</a:t>
            </a:r>
          </a:p>
        </c:rich>
      </c:tx>
      <c:overlay val="0"/>
      <c:spPr>
        <a:noFill/>
        <a:ln>
          <a:noFill/>
        </a:ln>
        <a:effectLst/>
      </c:spPr>
      <c:txPr>
        <a:bodyPr rot="0" spcFirstLastPara="1" vertOverflow="ellipsis" vert="horz" wrap="square" anchor="ctr" anchorCtr="1"/>
        <a:lstStyle/>
        <a:p>
          <a:pPr>
            <a:defRPr sz="1200" b="1" i="0" u="none" strike="noStrike" kern="1200" cap="all" spc="100" normalizeH="0" baseline="0">
              <a:solidFill>
                <a:schemeClr val="accent3"/>
              </a:solidFill>
              <a:latin typeface="+mn-lt"/>
              <a:ea typeface="+mn-ea"/>
              <a:cs typeface="+mn-cs"/>
            </a:defRPr>
          </a:pPr>
          <a:endParaRPr lang="fr-FR"/>
        </a:p>
      </c:txPr>
    </c:title>
    <c:autoTitleDeleted val="0"/>
    <c:plotArea>
      <c:layout>
        <c:manualLayout>
          <c:layoutTarget val="inner"/>
          <c:xMode val="edge"/>
          <c:yMode val="edge"/>
          <c:x val="2.5985911432126921E-2"/>
          <c:y val="0.28319863680098994"/>
          <c:w val="0.68108199606026054"/>
          <c:h val="0.59324494407991424"/>
        </c:manualLayout>
      </c:layout>
      <c:barChart>
        <c:barDir val="col"/>
        <c:grouping val="stacked"/>
        <c:varyColors val="0"/>
        <c:ser>
          <c:idx val="0"/>
          <c:order val="0"/>
          <c:tx>
            <c:strRef>
              <c:f>Sheet1!$B$1</c:f>
              <c:strCache>
                <c:ptCount val="1"/>
                <c:pt idx="0">
                  <c:v>Hillrom</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lt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5</c:f>
              <c:strCache>
                <c:ptCount val="4"/>
                <c:pt idx="0">
                  <c:v>Year 0</c:v>
                </c:pt>
                <c:pt idx="1">
                  <c:v>Year 1</c:v>
                </c:pt>
                <c:pt idx="2">
                  <c:v>Year 2</c:v>
                </c:pt>
                <c:pt idx="3">
                  <c:v>Year 3</c:v>
                </c:pt>
              </c:strCache>
            </c:strRef>
          </c:cat>
          <c:val>
            <c:numRef>
              <c:f>Sheet1!$B$2:$B$5</c:f>
              <c:numCache>
                <c:formatCode>"$"#,##0</c:formatCode>
                <c:ptCount val="4"/>
                <c:pt idx="0">
                  <c:v>105</c:v>
                </c:pt>
                <c:pt idx="1">
                  <c:v>108</c:v>
                </c:pt>
                <c:pt idx="2">
                  <c:v>117</c:v>
                </c:pt>
                <c:pt idx="3">
                  <c:v>123</c:v>
                </c:pt>
              </c:numCache>
            </c:numRef>
          </c:val>
          <c:extLst>
            <c:ext xmlns:c16="http://schemas.microsoft.com/office/drawing/2014/chart" uri="{C3380CC4-5D6E-409C-BE32-E72D297353CC}">
              <c16:uniqueId val="{00000000-DF72-734E-A9FB-199679F93193}"/>
            </c:ext>
          </c:extLst>
        </c:ser>
        <c:ser>
          <c:idx val="1"/>
          <c:order val="1"/>
          <c:tx>
            <c:strRef>
              <c:f>Sheet1!$C$1</c:f>
              <c:strCache>
                <c:ptCount val="1"/>
                <c:pt idx="0">
                  <c:v>Heine</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lt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5</c:f>
              <c:strCache>
                <c:ptCount val="4"/>
                <c:pt idx="0">
                  <c:v>Year 0</c:v>
                </c:pt>
                <c:pt idx="1">
                  <c:v>Year 1</c:v>
                </c:pt>
                <c:pt idx="2">
                  <c:v>Year 2</c:v>
                </c:pt>
                <c:pt idx="3">
                  <c:v>Year 3</c:v>
                </c:pt>
              </c:strCache>
            </c:strRef>
          </c:cat>
          <c:val>
            <c:numRef>
              <c:f>Sheet1!$C$2:$C$5</c:f>
              <c:numCache>
                <c:formatCode>"$"#,##0</c:formatCode>
                <c:ptCount val="4"/>
                <c:pt idx="0">
                  <c:v>52.5</c:v>
                </c:pt>
                <c:pt idx="1">
                  <c:v>53.024999999999999</c:v>
                </c:pt>
                <c:pt idx="2">
                  <c:v>53.555250000000001</c:v>
                </c:pt>
                <c:pt idx="3">
                  <c:v>54.090802500000002</c:v>
                </c:pt>
              </c:numCache>
            </c:numRef>
          </c:val>
          <c:extLst>
            <c:ext xmlns:c16="http://schemas.microsoft.com/office/drawing/2014/chart" uri="{C3380CC4-5D6E-409C-BE32-E72D297353CC}">
              <c16:uniqueId val="{00000001-DF72-734E-A9FB-199679F93193}"/>
            </c:ext>
          </c:extLst>
        </c:ser>
        <c:ser>
          <c:idx val="2"/>
          <c:order val="2"/>
          <c:tx>
            <c:strRef>
              <c:f>Sheet1!$D$1</c:f>
              <c:strCache>
                <c:ptCount val="1"/>
                <c:pt idx="0">
                  <c:v>Riester</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lt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5</c:f>
              <c:strCache>
                <c:ptCount val="4"/>
                <c:pt idx="0">
                  <c:v>Year 0</c:v>
                </c:pt>
                <c:pt idx="1">
                  <c:v>Year 1</c:v>
                </c:pt>
                <c:pt idx="2">
                  <c:v>Year 2</c:v>
                </c:pt>
                <c:pt idx="3">
                  <c:v>Year 3</c:v>
                </c:pt>
              </c:strCache>
            </c:strRef>
          </c:cat>
          <c:val>
            <c:numRef>
              <c:f>Sheet1!$D$2:$D$5</c:f>
              <c:numCache>
                <c:formatCode>"$"#,##0</c:formatCode>
                <c:ptCount val="4"/>
                <c:pt idx="0">
                  <c:v>36.75</c:v>
                </c:pt>
                <c:pt idx="1">
                  <c:v>37.1175</c:v>
                </c:pt>
                <c:pt idx="2">
                  <c:v>37.488675000000001</c:v>
                </c:pt>
                <c:pt idx="3">
                  <c:v>37.863561750000002</c:v>
                </c:pt>
              </c:numCache>
            </c:numRef>
          </c:val>
          <c:extLst>
            <c:ext xmlns:c16="http://schemas.microsoft.com/office/drawing/2014/chart" uri="{C3380CC4-5D6E-409C-BE32-E72D297353CC}">
              <c16:uniqueId val="{00000002-DF72-734E-A9FB-199679F93193}"/>
            </c:ext>
          </c:extLst>
        </c:ser>
        <c:ser>
          <c:idx val="3"/>
          <c:order val="3"/>
          <c:tx>
            <c:strRef>
              <c:f>Sheet1!$E$1</c:f>
              <c:strCache>
                <c:ptCount val="1"/>
                <c:pt idx="0">
                  <c:v>Others</c:v>
                </c:pt>
              </c:strCache>
            </c:strRef>
          </c:tx>
          <c:spPr>
            <a:solidFill>
              <a:schemeClr val="accent6"/>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lt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5</c:f>
              <c:strCache>
                <c:ptCount val="4"/>
                <c:pt idx="0">
                  <c:v>Year 0</c:v>
                </c:pt>
                <c:pt idx="1">
                  <c:v>Year 1</c:v>
                </c:pt>
                <c:pt idx="2">
                  <c:v>Year 2</c:v>
                </c:pt>
                <c:pt idx="3">
                  <c:v>Year 3</c:v>
                </c:pt>
              </c:strCache>
            </c:strRef>
          </c:cat>
          <c:val>
            <c:numRef>
              <c:f>Sheet1!$E$2:$E$5</c:f>
              <c:numCache>
                <c:formatCode>"$"#,##0</c:formatCode>
                <c:ptCount val="4"/>
                <c:pt idx="0">
                  <c:v>25</c:v>
                </c:pt>
                <c:pt idx="1">
                  <c:v>25.25</c:v>
                </c:pt>
                <c:pt idx="2">
                  <c:v>25.502500000000001</c:v>
                </c:pt>
                <c:pt idx="3">
                  <c:v>25.757525000000001</c:v>
                </c:pt>
              </c:numCache>
            </c:numRef>
          </c:val>
          <c:extLst>
            <c:ext xmlns:c16="http://schemas.microsoft.com/office/drawing/2014/chart" uri="{C3380CC4-5D6E-409C-BE32-E72D297353CC}">
              <c16:uniqueId val="{00000003-DF72-734E-A9FB-199679F93193}"/>
            </c:ext>
          </c:extLst>
        </c:ser>
        <c:dLbls>
          <c:dLblPos val="ctr"/>
          <c:showLegendKey val="0"/>
          <c:showVal val="1"/>
          <c:showCatName val="0"/>
          <c:showSerName val="0"/>
          <c:showPercent val="0"/>
          <c:showBubbleSize val="0"/>
        </c:dLbls>
        <c:gapWidth val="60"/>
        <c:overlap val="100"/>
        <c:axId val="1247396096"/>
        <c:axId val="1247483856"/>
      </c:barChart>
      <c:catAx>
        <c:axId val="12473960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cap="all" spc="120" normalizeH="0" baseline="0">
                <a:solidFill>
                  <a:schemeClr val="tx1">
                    <a:lumMod val="65000"/>
                    <a:lumOff val="35000"/>
                  </a:schemeClr>
                </a:solidFill>
                <a:latin typeface="+mn-lt"/>
                <a:ea typeface="+mn-ea"/>
                <a:cs typeface="+mn-cs"/>
              </a:defRPr>
            </a:pPr>
            <a:endParaRPr lang="fr-FR"/>
          </a:p>
        </c:txPr>
        <c:crossAx val="1247483856"/>
        <c:crosses val="autoZero"/>
        <c:auto val="1"/>
        <c:lblAlgn val="ctr"/>
        <c:lblOffset val="100"/>
        <c:noMultiLvlLbl val="0"/>
      </c:catAx>
      <c:valAx>
        <c:axId val="1247483856"/>
        <c:scaling>
          <c:orientation val="minMax"/>
        </c:scaling>
        <c:delete val="1"/>
        <c:axPos val="l"/>
        <c:numFmt formatCode="&quot;$&quot;#,##0" sourceLinked="1"/>
        <c:majorTickMark val="none"/>
        <c:minorTickMark val="none"/>
        <c:tickLblPos val="nextTo"/>
        <c:crossAx val="1247396096"/>
        <c:crosses val="autoZero"/>
        <c:crossBetween val="between"/>
      </c:valAx>
      <c:spPr>
        <a:noFill/>
        <a:ln>
          <a:noFill/>
        </a:ln>
        <a:effectLst/>
      </c:spPr>
    </c:plotArea>
    <c:legend>
      <c:legendPos val="t"/>
      <c:layout>
        <c:manualLayout>
          <c:xMode val="edge"/>
          <c:yMode val="edge"/>
          <c:x val="8.5078097243484446E-2"/>
          <c:y val="0.14658121789973896"/>
          <c:w val="0.55581055768332899"/>
          <c:h val="8.6480808301215878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chemeClr val="accent3"/>
      </a:solidFill>
    </a:ln>
    <a:effectLst/>
  </c:spPr>
  <c:txPr>
    <a:bodyPr/>
    <a:lstStyle/>
    <a:p>
      <a:pPr>
        <a:defRPr sz="1100"/>
      </a:pPr>
      <a:endParaRPr lang="fr-FR"/>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AD6C2FA-DEFE-4FEB-BCF1-4721F636436D}" type="doc">
      <dgm:prSet loTypeId="urn:microsoft.com/office/officeart/2005/8/layout/vList2" loCatId="list" qsTypeId="urn:microsoft.com/office/officeart/2005/8/quickstyle/simple2" qsCatId="simple" csTypeId="urn:microsoft.com/office/officeart/2005/8/colors/accent1_2" csCatId="accent1" phldr="1"/>
      <dgm:spPr/>
      <dgm:t>
        <a:bodyPr/>
        <a:lstStyle/>
        <a:p>
          <a:endParaRPr lang="en-US"/>
        </a:p>
      </dgm:t>
    </dgm:pt>
    <dgm:pt modelId="{FF4EC875-92E5-43D8-90AD-BE3FD9B07886}">
      <dgm:prSet/>
      <dgm:spPr/>
      <dgm:t>
        <a:bodyPr/>
        <a:lstStyle/>
        <a:p>
          <a:r>
            <a:rPr lang="en-US" dirty="0" err="1"/>
            <a:t>Arseus</a:t>
          </a:r>
          <a:r>
            <a:rPr lang="en-US" dirty="0"/>
            <a:t> Medical		Primary Care</a:t>
          </a:r>
        </a:p>
      </dgm:t>
    </dgm:pt>
    <dgm:pt modelId="{979E8F78-6C10-4477-AB6C-55061C348173}" type="parTrans" cxnId="{50A12456-2804-4697-A713-8FE21EDC7AC1}">
      <dgm:prSet/>
      <dgm:spPr/>
      <dgm:t>
        <a:bodyPr/>
        <a:lstStyle/>
        <a:p>
          <a:endParaRPr lang="en-US"/>
        </a:p>
      </dgm:t>
    </dgm:pt>
    <dgm:pt modelId="{18914188-C993-4CF5-89D6-BF84D710D2D9}" type="sibTrans" cxnId="{50A12456-2804-4697-A713-8FE21EDC7AC1}">
      <dgm:prSet/>
      <dgm:spPr/>
      <dgm:t>
        <a:bodyPr/>
        <a:lstStyle/>
        <a:p>
          <a:endParaRPr lang="en-US"/>
        </a:p>
      </dgm:t>
    </dgm:pt>
    <dgm:pt modelId="{C5E869CC-4580-49BB-A557-E9A80D9AC507}">
      <dgm:prSet/>
      <dgm:spPr/>
      <dgm:t>
        <a:bodyPr/>
        <a:lstStyle/>
        <a:p>
          <a:r>
            <a:rPr lang="en-US" dirty="0" err="1"/>
            <a:t>Barthels</a:t>
          </a:r>
          <a:r>
            <a:rPr lang="en-US" dirty="0"/>
            <a:t> Medical	             Primary Care  	</a:t>
          </a:r>
        </a:p>
      </dgm:t>
    </dgm:pt>
    <dgm:pt modelId="{89F8A22D-3637-465A-B23E-75061604457E}" type="parTrans" cxnId="{A85BE7BA-49A5-4539-BEE9-F6E4A1DE9C1C}">
      <dgm:prSet/>
      <dgm:spPr/>
      <dgm:t>
        <a:bodyPr/>
        <a:lstStyle/>
        <a:p>
          <a:endParaRPr lang="en-US"/>
        </a:p>
      </dgm:t>
    </dgm:pt>
    <dgm:pt modelId="{1BA46950-1FD2-4C0F-8FD7-26739D579B64}" type="sibTrans" cxnId="{A85BE7BA-49A5-4539-BEE9-F6E4A1DE9C1C}">
      <dgm:prSet/>
      <dgm:spPr/>
      <dgm:t>
        <a:bodyPr/>
        <a:lstStyle/>
        <a:p>
          <a:endParaRPr lang="en-US"/>
        </a:p>
      </dgm:t>
    </dgm:pt>
    <dgm:pt modelId="{7A7CFA55-2152-4836-A58A-5F1A9703DE22}">
      <dgm:prSet/>
      <dgm:spPr/>
      <dgm:t>
        <a:bodyPr/>
        <a:lstStyle/>
        <a:p>
          <a:r>
            <a:rPr lang="en-US" dirty="0"/>
            <a:t>Deforce Medical                     Primary Care</a:t>
          </a:r>
        </a:p>
      </dgm:t>
    </dgm:pt>
    <dgm:pt modelId="{EB7DF055-2B25-48AE-8E81-0D3CC9950224}" type="parTrans" cxnId="{B4EA648C-DA40-49D9-90AA-E374E4526497}">
      <dgm:prSet/>
      <dgm:spPr/>
      <dgm:t>
        <a:bodyPr/>
        <a:lstStyle/>
        <a:p>
          <a:endParaRPr lang="en-US"/>
        </a:p>
      </dgm:t>
    </dgm:pt>
    <dgm:pt modelId="{3EC31653-D6DD-4EE7-ACEC-F348739CE591}" type="sibTrans" cxnId="{B4EA648C-DA40-49D9-90AA-E374E4526497}">
      <dgm:prSet/>
      <dgm:spPr/>
      <dgm:t>
        <a:bodyPr/>
        <a:lstStyle/>
        <a:p>
          <a:endParaRPr lang="en-US"/>
        </a:p>
      </dgm:t>
    </dgm:pt>
    <dgm:pt modelId="{E171C5BC-CB3D-48D9-9E92-D79A55E49FCD}">
      <dgm:prSet/>
      <dgm:spPr/>
      <dgm:t>
        <a:bodyPr/>
        <a:lstStyle/>
        <a:p>
          <a:r>
            <a:rPr lang="en-US" dirty="0" err="1"/>
            <a:t>Medipost</a:t>
          </a:r>
          <a:r>
            <a:rPr lang="en-US" dirty="0"/>
            <a:t>                                   Primary Care  </a:t>
          </a:r>
        </a:p>
      </dgm:t>
    </dgm:pt>
    <dgm:pt modelId="{9B0AB2CE-392B-4098-BA29-A563C4829336}" type="parTrans" cxnId="{D418CA63-0843-4891-BEF0-2F4312698576}">
      <dgm:prSet/>
      <dgm:spPr/>
      <dgm:t>
        <a:bodyPr/>
        <a:lstStyle/>
        <a:p>
          <a:endParaRPr lang="en-US"/>
        </a:p>
      </dgm:t>
    </dgm:pt>
    <dgm:pt modelId="{5F7A390F-FAD3-4EB8-877E-D08E77997163}" type="sibTrans" cxnId="{D418CA63-0843-4891-BEF0-2F4312698576}">
      <dgm:prSet/>
      <dgm:spPr/>
      <dgm:t>
        <a:bodyPr/>
        <a:lstStyle/>
        <a:p>
          <a:endParaRPr lang="en-US"/>
        </a:p>
      </dgm:t>
    </dgm:pt>
    <dgm:pt modelId="{F493F34B-4BAB-4D2A-85C3-198175AB976B}">
      <dgm:prSet/>
      <dgm:spPr/>
      <dgm:t>
        <a:bodyPr/>
        <a:lstStyle/>
        <a:p>
          <a:r>
            <a:rPr lang="en-US" dirty="0" err="1"/>
            <a:t>Medilor</a:t>
          </a:r>
          <a:r>
            <a:rPr lang="en-US" dirty="0"/>
            <a:t>			 Primary Care</a:t>
          </a:r>
        </a:p>
      </dgm:t>
    </dgm:pt>
    <dgm:pt modelId="{5636AD84-C9CE-4C5F-BC55-05AC27F0825F}" type="parTrans" cxnId="{9C82E0E0-C56D-4744-AAD4-AD3F1098039D}">
      <dgm:prSet/>
      <dgm:spPr/>
      <dgm:t>
        <a:bodyPr/>
        <a:lstStyle/>
        <a:p>
          <a:endParaRPr lang="en-US"/>
        </a:p>
      </dgm:t>
    </dgm:pt>
    <dgm:pt modelId="{9B18AD5E-F4D2-464F-B8F8-72AA6D312580}" type="sibTrans" cxnId="{9C82E0E0-C56D-4744-AAD4-AD3F1098039D}">
      <dgm:prSet/>
      <dgm:spPr/>
      <dgm:t>
        <a:bodyPr/>
        <a:lstStyle/>
        <a:p>
          <a:endParaRPr lang="en-US"/>
        </a:p>
      </dgm:t>
    </dgm:pt>
    <dgm:pt modelId="{37089D23-BCF8-4CB5-8C94-8D65FDCA6073}">
      <dgm:prSet/>
      <dgm:spPr/>
      <dgm:t>
        <a:bodyPr/>
        <a:lstStyle/>
        <a:p>
          <a:r>
            <a:rPr lang="en-US" dirty="0" err="1"/>
            <a:t>Hospidex</a:t>
          </a:r>
          <a:r>
            <a:rPr lang="en-US" dirty="0"/>
            <a:t>			Acute Care/Hospital 	</a:t>
          </a:r>
        </a:p>
      </dgm:t>
    </dgm:pt>
    <dgm:pt modelId="{34A8EAEF-4D2D-45BC-8A79-010CF0C4BB81}" type="parTrans" cxnId="{11E94525-A1C1-466F-9DB2-CAAEB9999D65}">
      <dgm:prSet/>
      <dgm:spPr/>
      <dgm:t>
        <a:bodyPr/>
        <a:lstStyle/>
        <a:p>
          <a:endParaRPr lang="en-US"/>
        </a:p>
      </dgm:t>
    </dgm:pt>
    <dgm:pt modelId="{78A0181B-5A9A-4C7F-9912-71073B3634A3}" type="sibTrans" cxnId="{11E94525-A1C1-466F-9DB2-CAAEB9999D65}">
      <dgm:prSet/>
      <dgm:spPr/>
      <dgm:t>
        <a:bodyPr/>
        <a:lstStyle/>
        <a:p>
          <a:endParaRPr lang="en-US"/>
        </a:p>
      </dgm:t>
    </dgm:pt>
    <dgm:pt modelId="{273CE2E1-502C-439A-85D3-F49D1B2600B7}" type="pres">
      <dgm:prSet presAssocID="{8AD6C2FA-DEFE-4FEB-BCF1-4721F636436D}" presName="linear" presStyleCnt="0">
        <dgm:presLayoutVars>
          <dgm:animLvl val="lvl"/>
          <dgm:resizeHandles val="exact"/>
        </dgm:presLayoutVars>
      </dgm:prSet>
      <dgm:spPr/>
    </dgm:pt>
    <dgm:pt modelId="{BFE9F7DD-CB33-42CD-9865-F22617B67F2B}" type="pres">
      <dgm:prSet presAssocID="{FF4EC875-92E5-43D8-90AD-BE3FD9B07886}" presName="parentText" presStyleLbl="node1" presStyleIdx="0" presStyleCnt="6">
        <dgm:presLayoutVars>
          <dgm:chMax val="0"/>
          <dgm:bulletEnabled val="1"/>
        </dgm:presLayoutVars>
      </dgm:prSet>
      <dgm:spPr/>
    </dgm:pt>
    <dgm:pt modelId="{7B1CDDEB-E331-4EE3-AE93-2293F508840B}" type="pres">
      <dgm:prSet presAssocID="{18914188-C993-4CF5-89D6-BF84D710D2D9}" presName="spacer" presStyleCnt="0"/>
      <dgm:spPr/>
    </dgm:pt>
    <dgm:pt modelId="{9F47564F-7086-4BAD-9FDA-ABE5EBF5FDC2}" type="pres">
      <dgm:prSet presAssocID="{C5E869CC-4580-49BB-A557-E9A80D9AC507}" presName="parentText" presStyleLbl="node1" presStyleIdx="1" presStyleCnt="6" custLinFactNeighborX="-1240" custLinFactNeighborY="23185">
        <dgm:presLayoutVars>
          <dgm:chMax val="0"/>
          <dgm:bulletEnabled val="1"/>
        </dgm:presLayoutVars>
      </dgm:prSet>
      <dgm:spPr/>
    </dgm:pt>
    <dgm:pt modelId="{795BF9C0-8041-4BA5-A12E-2F639DF2F77A}" type="pres">
      <dgm:prSet presAssocID="{1BA46950-1FD2-4C0F-8FD7-26739D579B64}" presName="spacer" presStyleCnt="0"/>
      <dgm:spPr/>
    </dgm:pt>
    <dgm:pt modelId="{3540EA47-1F7B-4A7C-909A-BD68B4423A49}" type="pres">
      <dgm:prSet presAssocID="{7A7CFA55-2152-4836-A58A-5F1A9703DE22}" presName="parentText" presStyleLbl="node1" presStyleIdx="2" presStyleCnt="6">
        <dgm:presLayoutVars>
          <dgm:chMax val="0"/>
          <dgm:bulletEnabled val="1"/>
        </dgm:presLayoutVars>
      </dgm:prSet>
      <dgm:spPr/>
    </dgm:pt>
    <dgm:pt modelId="{441912B7-A71B-491D-950F-2192092BDDD7}" type="pres">
      <dgm:prSet presAssocID="{3EC31653-D6DD-4EE7-ACEC-F348739CE591}" presName="spacer" presStyleCnt="0"/>
      <dgm:spPr/>
    </dgm:pt>
    <dgm:pt modelId="{7EFF9D68-D982-49A9-908A-6785E7533F16}" type="pres">
      <dgm:prSet presAssocID="{E171C5BC-CB3D-48D9-9E92-D79A55E49FCD}" presName="parentText" presStyleLbl="node1" presStyleIdx="3" presStyleCnt="6">
        <dgm:presLayoutVars>
          <dgm:chMax val="0"/>
          <dgm:bulletEnabled val="1"/>
        </dgm:presLayoutVars>
      </dgm:prSet>
      <dgm:spPr/>
    </dgm:pt>
    <dgm:pt modelId="{E9361298-C531-409D-BAEB-EA726E8605A5}" type="pres">
      <dgm:prSet presAssocID="{5F7A390F-FAD3-4EB8-877E-D08E77997163}" presName="spacer" presStyleCnt="0"/>
      <dgm:spPr/>
    </dgm:pt>
    <dgm:pt modelId="{3328AE93-0BA5-475B-9075-575C06B6D67C}" type="pres">
      <dgm:prSet presAssocID="{F493F34B-4BAB-4D2A-85C3-198175AB976B}" presName="parentText" presStyleLbl="node1" presStyleIdx="4" presStyleCnt="6">
        <dgm:presLayoutVars>
          <dgm:chMax val="0"/>
          <dgm:bulletEnabled val="1"/>
        </dgm:presLayoutVars>
      </dgm:prSet>
      <dgm:spPr/>
    </dgm:pt>
    <dgm:pt modelId="{3678E74F-E9A1-41A4-8EE7-4E9FCA052A4D}" type="pres">
      <dgm:prSet presAssocID="{9B18AD5E-F4D2-464F-B8F8-72AA6D312580}" presName="spacer" presStyleCnt="0"/>
      <dgm:spPr/>
    </dgm:pt>
    <dgm:pt modelId="{288F0354-6790-4971-9CBF-8FEEF5DB0138}" type="pres">
      <dgm:prSet presAssocID="{37089D23-BCF8-4CB5-8C94-8D65FDCA6073}" presName="parentText" presStyleLbl="node1" presStyleIdx="5" presStyleCnt="6">
        <dgm:presLayoutVars>
          <dgm:chMax val="0"/>
          <dgm:bulletEnabled val="1"/>
        </dgm:presLayoutVars>
      </dgm:prSet>
      <dgm:spPr/>
    </dgm:pt>
  </dgm:ptLst>
  <dgm:cxnLst>
    <dgm:cxn modelId="{F0D2621E-7E0B-40CC-8D51-227FF6895A27}" type="presOf" srcId="{F493F34B-4BAB-4D2A-85C3-198175AB976B}" destId="{3328AE93-0BA5-475B-9075-575C06B6D67C}" srcOrd="0" destOrd="0" presId="urn:microsoft.com/office/officeart/2005/8/layout/vList2"/>
    <dgm:cxn modelId="{11E94525-A1C1-466F-9DB2-CAAEB9999D65}" srcId="{8AD6C2FA-DEFE-4FEB-BCF1-4721F636436D}" destId="{37089D23-BCF8-4CB5-8C94-8D65FDCA6073}" srcOrd="5" destOrd="0" parTransId="{34A8EAEF-4D2D-45BC-8A79-010CF0C4BB81}" sibTransId="{78A0181B-5A9A-4C7F-9912-71073B3634A3}"/>
    <dgm:cxn modelId="{F83CC262-E911-405E-A232-8B23974CEE98}" type="presOf" srcId="{8AD6C2FA-DEFE-4FEB-BCF1-4721F636436D}" destId="{273CE2E1-502C-439A-85D3-F49D1B2600B7}" srcOrd="0" destOrd="0" presId="urn:microsoft.com/office/officeart/2005/8/layout/vList2"/>
    <dgm:cxn modelId="{D418CA63-0843-4891-BEF0-2F4312698576}" srcId="{8AD6C2FA-DEFE-4FEB-BCF1-4721F636436D}" destId="{E171C5BC-CB3D-48D9-9E92-D79A55E49FCD}" srcOrd="3" destOrd="0" parTransId="{9B0AB2CE-392B-4098-BA29-A563C4829336}" sibTransId="{5F7A390F-FAD3-4EB8-877E-D08E77997163}"/>
    <dgm:cxn modelId="{9992C969-3CD2-4412-BD0C-D123C3B1D51D}" type="presOf" srcId="{7A7CFA55-2152-4836-A58A-5F1A9703DE22}" destId="{3540EA47-1F7B-4A7C-909A-BD68B4423A49}" srcOrd="0" destOrd="0" presId="urn:microsoft.com/office/officeart/2005/8/layout/vList2"/>
    <dgm:cxn modelId="{EB7DA26A-F763-4B84-A493-9A6D8F350949}" type="presOf" srcId="{E171C5BC-CB3D-48D9-9E92-D79A55E49FCD}" destId="{7EFF9D68-D982-49A9-908A-6785E7533F16}" srcOrd="0" destOrd="0" presId="urn:microsoft.com/office/officeart/2005/8/layout/vList2"/>
    <dgm:cxn modelId="{1EA6494B-CF42-4591-B29F-5A01142E622B}" type="presOf" srcId="{FF4EC875-92E5-43D8-90AD-BE3FD9B07886}" destId="{BFE9F7DD-CB33-42CD-9865-F22617B67F2B}" srcOrd="0" destOrd="0" presId="urn:microsoft.com/office/officeart/2005/8/layout/vList2"/>
    <dgm:cxn modelId="{3A61DD6D-8319-4734-B99E-7A2ED236EA1F}" type="presOf" srcId="{37089D23-BCF8-4CB5-8C94-8D65FDCA6073}" destId="{288F0354-6790-4971-9CBF-8FEEF5DB0138}" srcOrd="0" destOrd="0" presId="urn:microsoft.com/office/officeart/2005/8/layout/vList2"/>
    <dgm:cxn modelId="{50A12456-2804-4697-A713-8FE21EDC7AC1}" srcId="{8AD6C2FA-DEFE-4FEB-BCF1-4721F636436D}" destId="{FF4EC875-92E5-43D8-90AD-BE3FD9B07886}" srcOrd="0" destOrd="0" parTransId="{979E8F78-6C10-4477-AB6C-55061C348173}" sibTransId="{18914188-C993-4CF5-89D6-BF84D710D2D9}"/>
    <dgm:cxn modelId="{69759188-DB82-4592-8065-DDE03ADBBDFE}" type="presOf" srcId="{C5E869CC-4580-49BB-A557-E9A80D9AC507}" destId="{9F47564F-7086-4BAD-9FDA-ABE5EBF5FDC2}" srcOrd="0" destOrd="0" presId="urn:microsoft.com/office/officeart/2005/8/layout/vList2"/>
    <dgm:cxn modelId="{B4EA648C-DA40-49D9-90AA-E374E4526497}" srcId="{8AD6C2FA-DEFE-4FEB-BCF1-4721F636436D}" destId="{7A7CFA55-2152-4836-A58A-5F1A9703DE22}" srcOrd="2" destOrd="0" parTransId="{EB7DF055-2B25-48AE-8E81-0D3CC9950224}" sibTransId="{3EC31653-D6DD-4EE7-ACEC-F348739CE591}"/>
    <dgm:cxn modelId="{A85BE7BA-49A5-4539-BEE9-F6E4A1DE9C1C}" srcId="{8AD6C2FA-DEFE-4FEB-BCF1-4721F636436D}" destId="{C5E869CC-4580-49BB-A557-E9A80D9AC507}" srcOrd="1" destOrd="0" parTransId="{89F8A22D-3637-465A-B23E-75061604457E}" sibTransId="{1BA46950-1FD2-4C0F-8FD7-26739D579B64}"/>
    <dgm:cxn modelId="{9C82E0E0-C56D-4744-AAD4-AD3F1098039D}" srcId="{8AD6C2FA-DEFE-4FEB-BCF1-4721F636436D}" destId="{F493F34B-4BAB-4D2A-85C3-198175AB976B}" srcOrd="4" destOrd="0" parTransId="{5636AD84-C9CE-4C5F-BC55-05AC27F0825F}" sibTransId="{9B18AD5E-F4D2-464F-B8F8-72AA6D312580}"/>
    <dgm:cxn modelId="{721DA74D-55B7-4E97-800D-3FF0542BCB31}" type="presParOf" srcId="{273CE2E1-502C-439A-85D3-F49D1B2600B7}" destId="{BFE9F7DD-CB33-42CD-9865-F22617B67F2B}" srcOrd="0" destOrd="0" presId="urn:microsoft.com/office/officeart/2005/8/layout/vList2"/>
    <dgm:cxn modelId="{79C07551-C8B6-4FE7-B341-9F6D9705C4B7}" type="presParOf" srcId="{273CE2E1-502C-439A-85D3-F49D1B2600B7}" destId="{7B1CDDEB-E331-4EE3-AE93-2293F508840B}" srcOrd="1" destOrd="0" presId="urn:microsoft.com/office/officeart/2005/8/layout/vList2"/>
    <dgm:cxn modelId="{E8258739-6C8A-42C4-BA5E-AFD097E6E87C}" type="presParOf" srcId="{273CE2E1-502C-439A-85D3-F49D1B2600B7}" destId="{9F47564F-7086-4BAD-9FDA-ABE5EBF5FDC2}" srcOrd="2" destOrd="0" presId="urn:microsoft.com/office/officeart/2005/8/layout/vList2"/>
    <dgm:cxn modelId="{4AD7CA5A-EEC3-4BB4-B9C8-48D6C905DB31}" type="presParOf" srcId="{273CE2E1-502C-439A-85D3-F49D1B2600B7}" destId="{795BF9C0-8041-4BA5-A12E-2F639DF2F77A}" srcOrd="3" destOrd="0" presId="urn:microsoft.com/office/officeart/2005/8/layout/vList2"/>
    <dgm:cxn modelId="{98195203-1DAB-4D29-A870-1424B0497E79}" type="presParOf" srcId="{273CE2E1-502C-439A-85D3-F49D1B2600B7}" destId="{3540EA47-1F7B-4A7C-909A-BD68B4423A49}" srcOrd="4" destOrd="0" presId="urn:microsoft.com/office/officeart/2005/8/layout/vList2"/>
    <dgm:cxn modelId="{9778B81A-3C43-4BBA-8723-5084700F8114}" type="presParOf" srcId="{273CE2E1-502C-439A-85D3-F49D1B2600B7}" destId="{441912B7-A71B-491D-950F-2192092BDDD7}" srcOrd="5" destOrd="0" presId="urn:microsoft.com/office/officeart/2005/8/layout/vList2"/>
    <dgm:cxn modelId="{2C836B96-0197-4CC6-A9FD-A2C5A282B671}" type="presParOf" srcId="{273CE2E1-502C-439A-85D3-F49D1B2600B7}" destId="{7EFF9D68-D982-49A9-908A-6785E7533F16}" srcOrd="6" destOrd="0" presId="urn:microsoft.com/office/officeart/2005/8/layout/vList2"/>
    <dgm:cxn modelId="{94220DBC-C41B-4956-B3B2-C8CE5EC0C668}" type="presParOf" srcId="{273CE2E1-502C-439A-85D3-F49D1B2600B7}" destId="{E9361298-C531-409D-BAEB-EA726E8605A5}" srcOrd="7" destOrd="0" presId="urn:microsoft.com/office/officeart/2005/8/layout/vList2"/>
    <dgm:cxn modelId="{7755325E-7075-4B28-900D-87713DE72E4F}" type="presParOf" srcId="{273CE2E1-502C-439A-85D3-F49D1B2600B7}" destId="{3328AE93-0BA5-475B-9075-575C06B6D67C}" srcOrd="8" destOrd="0" presId="urn:microsoft.com/office/officeart/2005/8/layout/vList2"/>
    <dgm:cxn modelId="{572C6028-1A48-4BA4-9DA5-E8EED6DDB0D1}" type="presParOf" srcId="{273CE2E1-502C-439A-85D3-F49D1B2600B7}" destId="{3678E74F-E9A1-41A4-8EE7-4E9FCA052A4D}" srcOrd="9" destOrd="0" presId="urn:microsoft.com/office/officeart/2005/8/layout/vList2"/>
    <dgm:cxn modelId="{ECCDD528-E7E9-40C1-A8B9-3AB409366AFA}" type="presParOf" srcId="{273CE2E1-502C-439A-85D3-F49D1B2600B7}" destId="{288F0354-6790-4971-9CBF-8FEEF5DB0138}" srcOrd="1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F0309CE-5ED4-4060-BBC0-69A0D8304E0C}" type="doc">
      <dgm:prSet loTypeId="urn:microsoft.com/office/officeart/2005/8/layout/vList2" loCatId="list" qsTypeId="urn:microsoft.com/office/officeart/2005/8/quickstyle/simple2" qsCatId="simple" csTypeId="urn:microsoft.com/office/officeart/2005/8/colors/accent1_2" csCatId="accent1" phldr="1"/>
      <dgm:spPr/>
      <dgm:t>
        <a:bodyPr/>
        <a:lstStyle/>
        <a:p>
          <a:endParaRPr lang="en-US"/>
        </a:p>
      </dgm:t>
    </dgm:pt>
    <dgm:pt modelId="{D20DD0A6-A50A-4EE8-99C3-C229C453A159}">
      <dgm:prSet/>
      <dgm:spPr/>
      <dgm:t>
        <a:bodyPr/>
        <a:lstStyle/>
        <a:p>
          <a:r>
            <a:rPr lang="en-US" dirty="0" err="1"/>
            <a:t>Daxtrio</a:t>
          </a:r>
          <a:r>
            <a:rPr lang="en-US" dirty="0"/>
            <a:t>			 	Primary Care</a:t>
          </a:r>
        </a:p>
      </dgm:t>
    </dgm:pt>
    <dgm:pt modelId="{8F0C592B-4D81-4401-8E09-4E85157335AF}" type="parTrans" cxnId="{5A443B55-0458-4827-9C29-C7E2891F94C0}">
      <dgm:prSet/>
      <dgm:spPr/>
      <dgm:t>
        <a:bodyPr/>
        <a:lstStyle/>
        <a:p>
          <a:endParaRPr lang="en-US"/>
        </a:p>
      </dgm:t>
    </dgm:pt>
    <dgm:pt modelId="{546A7188-9FDF-43A4-B824-A77D5D42B36A}" type="sibTrans" cxnId="{5A443B55-0458-4827-9C29-C7E2891F94C0}">
      <dgm:prSet/>
      <dgm:spPr/>
      <dgm:t>
        <a:bodyPr/>
        <a:lstStyle/>
        <a:p>
          <a:endParaRPr lang="en-US"/>
        </a:p>
      </dgm:t>
    </dgm:pt>
    <dgm:pt modelId="{90594B25-C2BE-48AE-B87A-0A71980935B8}">
      <dgm:prSet/>
      <dgm:spPr/>
      <dgm:t>
        <a:bodyPr/>
        <a:lstStyle/>
        <a:p>
          <a:r>
            <a:rPr lang="en-US" dirty="0"/>
            <a:t>DSN-Trade			Primary Care</a:t>
          </a:r>
        </a:p>
      </dgm:t>
    </dgm:pt>
    <dgm:pt modelId="{B93210C2-3DE8-4A98-9A44-64CD1E413428}" type="parTrans" cxnId="{5C2FB8AD-E49F-422C-8260-F4E15BDB9287}">
      <dgm:prSet/>
      <dgm:spPr/>
      <dgm:t>
        <a:bodyPr/>
        <a:lstStyle/>
        <a:p>
          <a:endParaRPr lang="en-US"/>
        </a:p>
      </dgm:t>
    </dgm:pt>
    <dgm:pt modelId="{0A486C1A-14A9-4533-ACA1-1DB41D642B48}" type="sibTrans" cxnId="{5C2FB8AD-E49F-422C-8260-F4E15BDB9287}">
      <dgm:prSet/>
      <dgm:spPr/>
      <dgm:t>
        <a:bodyPr/>
        <a:lstStyle/>
        <a:p>
          <a:endParaRPr lang="en-US"/>
        </a:p>
      </dgm:t>
    </dgm:pt>
    <dgm:pt modelId="{E283DEAC-C987-488D-97B9-3E70B6A6A21A}">
      <dgm:prSet/>
      <dgm:spPr/>
      <dgm:t>
        <a:bodyPr/>
        <a:lstStyle/>
        <a:p>
          <a:r>
            <a:rPr lang="en-US" dirty="0"/>
            <a:t>Henry Schein Medical	Primary Care</a:t>
          </a:r>
        </a:p>
      </dgm:t>
    </dgm:pt>
    <dgm:pt modelId="{50CC20A4-3402-4D47-82A6-E3BF66E45728}" type="parTrans" cxnId="{29762A91-E6BE-451D-8B61-EEC5FAC5B105}">
      <dgm:prSet/>
      <dgm:spPr/>
      <dgm:t>
        <a:bodyPr/>
        <a:lstStyle/>
        <a:p>
          <a:endParaRPr lang="en-US"/>
        </a:p>
      </dgm:t>
    </dgm:pt>
    <dgm:pt modelId="{D3433F4C-C073-4347-88E6-98C5F49F991F}" type="sibTrans" cxnId="{29762A91-E6BE-451D-8B61-EEC5FAC5B105}">
      <dgm:prSet/>
      <dgm:spPr/>
      <dgm:t>
        <a:bodyPr/>
        <a:lstStyle/>
        <a:p>
          <a:endParaRPr lang="en-US"/>
        </a:p>
      </dgm:t>
    </dgm:pt>
    <dgm:pt modelId="{7720C015-2920-4BAF-B36C-6B8A7041ADC0}">
      <dgm:prSet/>
      <dgm:spPr/>
      <dgm:t>
        <a:bodyPr/>
        <a:lstStyle/>
        <a:p>
          <a:r>
            <a:rPr lang="en-US" dirty="0" err="1"/>
            <a:t>Mediq</a:t>
          </a:r>
          <a:r>
            <a:rPr lang="en-US" dirty="0"/>
            <a:t> </a:t>
          </a:r>
          <a:r>
            <a:rPr lang="en-US" dirty="0" err="1"/>
            <a:t>Medeco</a:t>
          </a:r>
          <a:r>
            <a:rPr lang="en-US" dirty="0"/>
            <a:t>		 Primary Care</a:t>
          </a:r>
        </a:p>
      </dgm:t>
    </dgm:pt>
    <dgm:pt modelId="{D61B45AC-F82E-4251-B011-C41EDCD6B20D}" type="parTrans" cxnId="{6743580D-ED3F-446F-B19D-74C3F4D9E579}">
      <dgm:prSet/>
      <dgm:spPr/>
      <dgm:t>
        <a:bodyPr/>
        <a:lstStyle/>
        <a:p>
          <a:endParaRPr lang="en-US"/>
        </a:p>
      </dgm:t>
    </dgm:pt>
    <dgm:pt modelId="{3F8A28A6-2E0E-4E85-8C7D-3C74F2DD94CD}" type="sibTrans" cxnId="{6743580D-ED3F-446F-B19D-74C3F4D9E579}">
      <dgm:prSet/>
      <dgm:spPr/>
      <dgm:t>
        <a:bodyPr/>
        <a:lstStyle/>
        <a:p>
          <a:endParaRPr lang="en-US"/>
        </a:p>
      </dgm:t>
    </dgm:pt>
    <dgm:pt modelId="{F98BE10B-DF4C-4FB8-94C0-7596DED3DE68}" type="pres">
      <dgm:prSet presAssocID="{CF0309CE-5ED4-4060-BBC0-69A0D8304E0C}" presName="linear" presStyleCnt="0">
        <dgm:presLayoutVars>
          <dgm:animLvl val="lvl"/>
          <dgm:resizeHandles val="exact"/>
        </dgm:presLayoutVars>
      </dgm:prSet>
      <dgm:spPr/>
    </dgm:pt>
    <dgm:pt modelId="{453DDAA5-8D56-41D1-A133-3AF782FA1130}" type="pres">
      <dgm:prSet presAssocID="{D20DD0A6-A50A-4EE8-99C3-C229C453A159}" presName="parentText" presStyleLbl="node1" presStyleIdx="0" presStyleCnt="4">
        <dgm:presLayoutVars>
          <dgm:chMax val="0"/>
          <dgm:bulletEnabled val="1"/>
        </dgm:presLayoutVars>
      </dgm:prSet>
      <dgm:spPr/>
    </dgm:pt>
    <dgm:pt modelId="{AD74BF33-907E-4E6C-8664-F92006CB0B3C}" type="pres">
      <dgm:prSet presAssocID="{546A7188-9FDF-43A4-B824-A77D5D42B36A}" presName="spacer" presStyleCnt="0"/>
      <dgm:spPr/>
    </dgm:pt>
    <dgm:pt modelId="{587E4C37-DF31-468D-B6AE-ECC21581723A}" type="pres">
      <dgm:prSet presAssocID="{90594B25-C2BE-48AE-B87A-0A71980935B8}" presName="parentText" presStyleLbl="node1" presStyleIdx="1" presStyleCnt="4">
        <dgm:presLayoutVars>
          <dgm:chMax val="0"/>
          <dgm:bulletEnabled val="1"/>
        </dgm:presLayoutVars>
      </dgm:prSet>
      <dgm:spPr/>
    </dgm:pt>
    <dgm:pt modelId="{51CB258B-AF9B-4873-8C1A-A9436C4C7594}" type="pres">
      <dgm:prSet presAssocID="{0A486C1A-14A9-4533-ACA1-1DB41D642B48}" presName="spacer" presStyleCnt="0"/>
      <dgm:spPr/>
    </dgm:pt>
    <dgm:pt modelId="{9D3D7B43-099F-403A-BC42-6EF2EDF6702C}" type="pres">
      <dgm:prSet presAssocID="{E283DEAC-C987-488D-97B9-3E70B6A6A21A}" presName="parentText" presStyleLbl="node1" presStyleIdx="2" presStyleCnt="4">
        <dgm:presLayoutVars>
          <dgm:chMax val="0"/>
          <dgm:bulletEnabled val="1"/>
        </dgm:presLayoutVars>
      </dgm:prSet>
      <dgm:spPr/>
    </dgm:pt>
    <dgm:pt modelId="{B43724CC-7CB7-44B3-B02D-74810F72163A}" type="pres">
      <dgm:prSet presAssocID="{D3433F4C-C073-4347-88E6-98C5F49F991F}" presName="spacer" presStyleCnt="0"/>
      <dgm:spPr/>
    </dgm:pt>
    <dgm:pt modelId="{AAFE359C-DF66-4FC8-BC8F-AD2565592D37}" type="pres">
      <dgm:prSet presAssocID="{7720C015-2920-4BAF-B36C-6B8A7041ADC0}" presName="parentText" presStyleLbl="node1" presStyleIdx="3" presStyleCnt="4">
        <dgm:presLayoutVars>
          <dgm:chMax val="0"/>
          <dgm:bulletEnabled val="1"/>
        </dgm:presLayoutVars>
      </dgm:prSet>
      <dgm:spPr/>
    </dgm:pt>
  </dgm:ptLst>
  <dgm:cxnLst>
    <dgm:cxn modelId="{20A1B004-6D63-434E-89CB-02955556CA96}" type="presOf" srcId="{CF0309CE-5ED4-4060-BBC0-69A0D8304E0C}" destId="{F98BE10B-DF4C-4FB8-94C0-7596DED3DE68}" srcOrd="0" destOrd="0" presId="urn:microsoft.com/office/officeart/2005/8/layout/vList2"/>
    <dgm:cxn modelId="{6743580D-ED3F-446F-B19D-74C3F4D9E579}" srcId="{CF0309CE-5ED4-4060-BBC0-69A0D8304E0C}" destId="{7720C015-2920-4BAF-B36C-6B8A7041ADC0}" srcOrd="3" destOrd="0" parTransId="{D61B45AC-F82E-4251-B011-C41EDCD6B20D}" sibTransId="{3F8A28A6-2E0E-4E85-8C7D-3C74F2DD94CD}"/>
    <dgm:cxn modelId="{8A983F53-5DC6-469A-9079-722A38FFB141}" type="presOf" srcId="{90594B25-C2BE-48AE-B87A-0A71980935B8}" destId="{587E4C37-DF31-468D-B6AE-ECC21581723A}" srcOrd="0" destOrd="0" presId="urn:microsoft.com/office/officeart/2005/8/layout/vList2"/>
    <dgm:cxn modelId="{5A443B55-0458-4827-9C29-C7E2891F94C0}" srcId="{CF0309CE-5ED4-4060-BBC0-69A0D8304E0C}" destId="{D20DD0A6-A50A-4EE8-99C3-C229C453A159}" srcOrd="0" destOrd="0" parTransId="{8F0C592B-4D81-4401-8E09-4E85157335AF}" sibTransId="{546A7188-9FDF-43A4-B824-A77D5D42B36A}"/>
    <dgm:cxn modelId="{2BAEFB8C-F597-475F-A948-29B397BBDBF6}" type="presOf" srcId="{E283DEAC-C987-488D-97B9-3E70B6A6A21A}" destId="{9D3D7B43-099F-403A-BC42-6EF2EDF6702C}" srcOrd="0" destOrd="0" presId="urn:microsoft.com/office/officeart/2005/8/layout/vList2"/>
    <dgm:cxn modelId="{29762A91-E6BE-451D-8B61-EEC5FAC5B105}" srcId="{CF0309CE-5ED4-4060-BBC0-69A0D8304E0C}" destId="{E283DEAC-C987-488D-97B9-3E70B6A6A21A}" srcOrd="2" destOrd="0" parTransId="{50CC20A4-3402-4D47-82A6-E3BF66E45728}" sibTransId="{D3433F4C-C073-4347-88E6-98C5F49F991F}"/>
    <dgm:cxn modelId="{5C2FB8AD-E49F-422C-8260-F4E15BDB9287}" srcId="{CF0309CE-5ED4-4060-BBC0-69A0D8304E0C}" destId="{90594B25-C2BE-48AE-B87A-0A71980935B8}" srcOrd="1" destOrd="0" parTransId="{B93210C2-3DE8-4A98-9A44-64CD1E413428}" sibTransId="{0A486C1A-14A9-4533-ACA1-1DB41D642B48}"/>
    <dgm:cxn modelId="{C1C8D1B3-9275-4186-9C56-5B44FC3AB952}" type="presOf" srcId="{D20DD0A6-A50A-4EE8-99C3-C229C453A159}" destId="{453DDAA5-8D56-41D1-A133-3AF782FA1130}" srcOrd="0" destOrd="0" presId="urn:microsoft.com/office/officeart/2005/8/layout/vList2"/>
    <dgm:cxn modelId="{1340A5FF-B505-4F30-B48B-7F15F81DC49A}" type="presOf" srcId="{7720C015-2920-4BAF-B36C-6B8A7041ADC0}" destId="{AAFE359C-DF66-4FC8-BC8F-AD2565592D37}" srcOrd="0" destOrd="0" presId="urn:microsoft.com/office/officeart/2005/8/layout/vList2"/>
    <dgm:cxn modelId="{43D0EE5E-E170-4CCF-9979-D4BC7A6DC2DC}" type="presParOf" srcId="{F98BE10B-DF4C-4FB8-94C0-7596DED3DE68}" destId="{453DDAA5-8D56-41D1-A133-3AF782FA1130}" srcOrd="0" destOrd="0" presId="urn:microsoft.com/office/officeart/2005/8/layout/vList2"/>
    <dgm:cxn modelId="{4A2862AA-D025-4AA9-B31E-20D755D4F6B5}" type="presParOf" srcId="{F98BE10B-DF4C-4FB8-94C0-7596DED3DE68}" destId="{AD74BF33-907E-4E6C-8664-F92006CB0B3C}" srcOrd="1" destOrd="0" presId="urn:microsoft.com/office/officeart/2005/8/layout/vList2"/>
    <dgm:cxn modelId="{D4579454-C94C-4957-8930-000D1186E678}" type="presParOf" srcId="{F98BE10B-DF4C-4FB8-94C0-7596DED3DE68}" destId="{587E4C37-DF31-468D-B6AE-ECC21581723A}" srcOrd="2" destOrd="0" presId="urn:microsoft.com/office/officeart/2005/8/layout/vList2"/>
    <dgm:cxn modelId="{7D5757BC-4F88-4A8C-B0C0-2D5374F7843D}" type="presParOf" srcId="{F98BE10B-DF4C-4FB8-94C0-7596DED3DE68}" destId="{51CB258B-AF9B-4873-8C1A-A9436C4C7594}" srcOrd="3" destOrd="0" presId="urn:microsoft.com/office/officeart/2005/8/layout/vList2"/>
    <dgm:cxn modelId="{CD218AE3-580E-4A59-A9FE-F9346F63568D}" type="presParOf" srcId="{F98BE10B-DF4C-4FB8-94C0-7596DED3DE68}" destId="{9D3D7B43-099F-403A-BC42-6EF2EDF6702C}" srcOrd="4" destOrd="0" presId="urn:microsoft.com/office/officeart/2005/8/layout/vList2"/>
    <dgm:cxn modelId="{E1834C4C-E8A1-4147-BA9C-8D15F6A37A4E}" type="presParOf" srcId="{F98BE10B-DF4C-4FB8-94C0-7596DED3DE68}" destId="{B43724CC-7CB7-44B3-B02D-74810F72163A}" srcOrd="5" destOrd="0" presId="urn:microsoft.com/office/officeart/2005/8/layout/vList2"/>
    <dgm:cxn modelId="{886A82AA-648A-4154-9F27-D1C9BE273566}" type="presParOf" srcId="{F98BE10B-DF4C-4FB8-94C0-7596DED3DE68}" destId="{AAFE359C-DF66-4FC8-BC8F-AD2565592D37}" srcOrd="6"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E9F7DD-CB33-42CD-9865-F22617B67F2B}">
      <dsp:nvSpPr>
        <dsp:cNvPr id="0" name=""/>
        <dsp:cNvSpPr/>
      </dsp:nvSpPr>
      <dsp:spPr>
        <a:xfrm>
          <a:off x="0" y="58182"/>
          <a:ext cx="11282114" cy="551655"/>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err="1"/>
            <a:t>Arseus</a:t>
          </a:r>
          <a:r>
            <a:rPr lang="en-US" sz="2300" kern="1200" dirty="0"/>
            <a:t> Medical		Primary Care</a:t>
          </a:r>
        </a:p>
      </dsp:txBody>
      <dsp:txXfrm>
        <a:off x="26930" y="85112"/>
        <a:ext cx="11228254" cy="497795"/>
      </dsp:txXfrm>
    </dsp:sp>
    <dsp:sp modelId="{9F47564F-7086-4BAD-9FDA-ABE5EBF5FDC2}">
      <dsp:nvSpPr>
        <dsp:cNvPr id="0" name=""/>
        <dsp:cNvSpPr/>
      </dsp:nvSpPr>
      <dsp:spPr>
        <a:xfrm>
          <a:off x="0" y="691435"/>
          <a:ext cx="11282114" cy="551655"/>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err="1"/>
            <a:t>Barthels</a:t>
          </a:r>
          <a:r>
            <a:rPr lang="en-US" sz="2300" kern="1200" dirty="0"/>
            <a:t> Medical	             Primary Care  	</a:t>
          </a:r>
        </a:p>
      </dsp:txBody>
      <dsp:txXfrm>
        <a:off x="26930" y="718365"/>
        <a:ext cx="11228254" cy="497795"/>
      </dsp:txXfrm>
    </dsp:sp>
    <dsp:sp modelId="{3540EA47-1F7B-4A7C-909A-BD68B4423A49}">
      <dsp:nvSpPr>
        <dsp:cNvPr id="0" name=""/>
        <dsp:cNvSpPr/>
      </dsp:nvSpPr>
      <dsp:spPr>
        <a:xfrm>
          <a:off x="0" y="1293972"/>
          <a:ext cx="11282114" cy="551655"/>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Deforce Medical                     Primary Care</a:t>
          </a:r>
        </a:p>
      </dsp:txBody>
      <dsp:txXfrm>
        <a:off x="26930" y="1320902"/>
        <a:ext cx="11228254" cy="497795"/>
      </dsp:txXfrm>
    </dsp:sp>
    <dsp:sp modelId="{7EFF9D68-D982-49A9-908A-6785E7533F16}">
      <dsp:nvSpPr>
        <dsp:cNvPr id="0" name=""/>
        <dsp:cNvSpPr/>
      </dsp:nvSpPr>
      <dsp:spPr>
        <a:xfrm>
          <a:off x="0" y="1911867"/>
          <a:ext cx="11282114" cy="551655"/>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err="1"/>
            <a:t>Medipost</a:t>
          </a:r>
          <a:r>
            <a:rPr lang="en-US" sz="2300" kern="1200" dirty="0"/>
            <a:t>                                   Primary Care  </a:t>
          </a:r>
        </a:p>
      </dsp:txBody>
      <dsp:txXfrm>
        <a:off x="26930" y="1938797"/>
        <a:ext cx="11228254" cy="497795"/>
      </dsp:txXfrm>
    </dsp:sp>
    <dsp:sp modelId="{3328AE93-0BA5-475B-9075-575C06B6D67C}">
      <dsp:nvSpPr>
        <dsp:cNvPr id="0" name=""/>
        <dsp:cNvSpPr/>
      </dsp:nvSpPr>
      <dsp:spPr>
        <a:xfrm>
          <a:off x="0" y="2529762"/>
          <a:ext cx="11282114" cy="551655"/>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err="1"/>
            <a:t>Medilor</a:t>
          </a:r>
          <a:r>
            <a:rPr lang="en-US" sz="2300" kern="1200" dirty="0"/>
            <a:t>			 Primary Care</a:t>
          </a:r>
        </a:p>
      </dsp:txBody>
      <dsp:txXfrm>
        <a:off x="26930" y="2556692"/>
        <a:ext cx="11228254" cy="497795"/>
      </dsp:txXfrm>
    </dsp:sp>
    <dsp:sp modelId="{288F0354-6790-4971-9CBF-8FEEF5DB0138}">
      <dsp:nvSpPr>
        <dsp:cNvPr id="0" name=""/>
        <dsp:cNvSpPr/>
      </dsp:nvSpPr>
      <dsp:spPr>
        <a:xfrm>
          <a:off x="0" y="3147657"/>
          <a:ext cx="11282114" cy="551655"/>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err="1"/>
            <a:t>Hospidex</a:t>
          </a:r>
          <a:r>
            <a:rPr lang="en-US" sz="2300" kern="1200" dirty="0"/>
            <a:t>			Acute Care/Hospital 	</a:t>
          </a:r>
        </a:p>
      </dsp:txBody>
      <dsp:txXfrm>
        <a:off x="26930" y="3174587"/>
        <a:ext cx="11228254" cy="49779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3DDAA5-8D56-41D1-A133-3AF782FA1130}">
      <dsp:nvSpPr>
        <dsp:cNvPr id="0" name=""/>
        <dsp:cNvSpPr/>
      </dsp:nvSpPr>
      <dsp:spPr>
        <a:xfrm>
          <a:off x="0" y="45131"/>
          <a:ext cx="11282114" cy="719549"/>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dirty="0" err="1"/>
            <a:t>Daxtrio</a:t>
          </a:r>
          <a:r>
            <a:rPr lang="en-US" sz="3000" kern="1200" dirty="0"/>
            <a:t>			 	Primary Care</a:t>
          </a:r>
        </a:p>
      </dsp:txBody>
      <dsp:txXfrm>
        <a:off x="35125" y="80256"/>
        <a:ext cx="11211864" cy="649299"/>
      </dsp:txXfrm>
    </dsp:sp>
    <dsp:sp modelId="{587E4C37-DF31-468D-B6AE-ECC21581723A}">
      <dsp:nvSpPr>
        <dsp:cNvPr id="0" name=""/>
        <dsp:cNvSpPr/>
      </dsp:nvSpPr>
      <dsp:spPr>
        <a:xfrm>
          <a:off x="0" y="851081"/>
          <a:ext cx="11282114" cy="719549"/>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dirty="0"/>
            <a:t>DSN-Trade			Primary Care</a:t>
          </a:r>
        </a:p>
      </dsp:txBody>
      <dsp:txXfrm>
        <a:off x="35125" y="886206"/>
        <a:ext cx="11211864" cy="649299"/>
      </dsp:txXfrm>
    </dsp:sp>
    <dsp:sp modelId="{9D3D7B43-099F-403A-BC42-6EF2EDF6702C}">
      <dsp:nvSpPr>
        <dsp:cNvPr id="0" name=""/>
        <dsp:cNvSpPr/>
      </dsp:nvSpPr>
      <dsp:spPr>
        <a:xfrm>
          <a:off x="0" y="1657030"/>
          <a:ext cx="11282114" cy="719549"/>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dirty="0"/>
            <a:t>Henry Schein Medical	Primary Care</a:t>
          </a:r>
        </a:p>
      </dsp:txBody>
      <dsp:txXfrm>
        <a:off x="35125" y="1692155"/>
        <a:ext cx="11211864" cy="649299"/>
      </dsp:txXfrm>
    </dsp:sp>
    <dsp:sp modelId="{AAFE359C-DF66-4FC8-BC8F-AD2565592D37}">
      <dsp:nvSpPr>
        <dsp:cNvPr id="0" name=""/>
        <dsp:cNvSpPr/>
      </dsp:nvSpPr>
      <dsp:spPr>
        <a:xfrm>
          <a:off x="0" y="2462981"/>
          <a:ext cx="11282114" cy="719549"/>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dirty="0" err="1"/>
            <a:t>Mediq</a:t>
          </a:r>
          <a:r>
            <a:rPr lang="en-US" sz="3000" kern="1200" dirty="0"/>
            <a:t> </a:t>
          </a:r>
          <a:r>
            <a:rPr lang="en-US" sz="3000" kern="1200" dirty="0" err="1"/>
            <a:t>Medeco</a:t>
          </a:r>
          <a:r>
            <a:rPr lang="en-US" sz="3000" kern="1200" dirty="0"/>
            <a:t>		 Primary Care</a:t>
          </a:r>
        </a:p>
      </dsp:txBody>
      <dsp:txXfrm>
        <a:off x="35125" y="2498106"/>
        <a:ext cx="11211864" cy="649299"/>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00.emf"/></Relationships>
</file>

<file path=ppt/drawings/drawing1.xml><?xml version="1.0" encoding="utf-8"?>
<c:userShapes xmlns:c="http://schemas.openxmlformats.org/drawingml/2006/chart">
  <cdr:relSizeAnchor xmlns:cdr="http://schemas.openxmlformats.org/drawingml/2006/chartDrawing">
    <cdr:from>
      <cdr:x>0.11934</cdr:x>
      <cdr:y>0.26064</cdr:y>
    </cdr:from>
    <cdr:to>
      <cdr:x>0.62108</cdr:x>
      <cdr:y>0.36455</cdr:y>
    </cdr:to>
    <cdr:cxnSp macro="">
      <cdr:nvCxnSpPr>
        <cdr:cNvPr id="3" name="Straight Arrow Connector 2">
          <a:extLst xmlns:a="http://schemas.openxmlformats.org/drawingml/2006/main">
            <a:ext uri="{FF2B5EF4-FFF2-40B4-BE49-F238E27FC236}">
              <a16:creationId xmlns:a16="http://schemas.microsoft.com/office/drawing/2014/main" id="{E2793E51-16F6-C54B-9748-5F9478F28376}"/>
            </a:ext>
          </a:extLst>
        </cdr:cNvPr>
        <cdr:cNvCxnSpPr/>
      </cdr:nvCxnSpPr>
      <cdr:spPr>
        <a:xfrm xmlns:a="http://schemas.openxmlformats.org/drawingml/2006/main" flipV="1">
          <a:off x="648270" y="706054"/>
          <a:ext cx="2725641" cy="281464"/>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5926D42-8AC4-4AF3-BAD3-61C42880ECC9}" type="datetimeFigureOut">
              <a:rPr lang="en-US" smtClean="0"/>
              <a:t>1/27/2021</a:t>
            </a:fld>
            <a:endParaRPr lang="en-US"/>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0B48E32-1878-4881-8E75-65BE912786E1}" type="slidenum">
              <a:rPr lang="en-US" smtClean="0"/>
              <a:t>‹N°›</a:t>
            </a:fld>
            <a:endParaRPr lang="en-US"/>
          </a:p>
        </p:txBody>
      </p:sp>
    </p:spTree>
    <p:extLst>
      <p:ext uri="{BB962C8B-B14F-4D97-AF65-F5344CB8AC3E}">
        <p14:creationId xmlns:p14="http://schemas.microsoft.com/office/powerpoint/2010/main" val="33775065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1800" y="692150"/>
            <a:ext cx="6146800" cy="3459163"/>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485570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F1F31D-E47D-4E02-8001-5F56FFEBEE9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65756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0"/>
        <p:cNvGrpSpPr/>
        <p:nvPr/>
      </p:nvGrpSpPr>
      <p:grpSpPr>
        <a:xfrm>
          <a:off x="0" y="0"/>
          <a:ext cx="0" cy="0"/>
          <a:chOff x="0" y="0"/>
          <a:chExt cx="0" cy="0"/>
        </a:xfrm>
      </p:grpSpPr>
      <p:sp>
        <p:nvSpPr>
          <p:cNvPr id="241" name="Shape 241"/>
          <p:cNvSpPr txBox="1">
            <a:spLocks noGrp="1"/>
          </p:cNvSpPr>
          <p:nvPr>
            <p:ph type="body" idx="1"/>
          </p:nvPr>
        </p:nvSpPr>
        <p:spPr>
          <a:xfrm>
            <a:off x="732546" y="4457495"/>
            <a:ext cx="5860347" cy="4222889"/>
          </a:xfrm>
          <a:prstGeom prst="rect">
            <a:avLst/>
          </a:prstGeom>
        </p:spPr>
        <p:txBody>
          <a:bodyPr lIns="94067" tIns="94067" rIns="94067" bIns="94067" anchor="t" anchorCtr="0">
            <a:noAutofit/>
          </a:bodyPr>
          <a:lstStyle/>
          <a:p>
            <a:endParaRPr dirty="0"/>
          </a:p>
        </p:txBody>
      </p:sp>
      <p:sp>
        <p:nvSpPr>
          <p:cNvPr id="242" name="Shape 242"/>
          <p:cNvSpPr>
            <a:spLocks noGrp="1" noRot="1" noChangeAspect="1"/>
          </p:cNvSpPr>
          <p:nvPr>
            <p:ph type="sldImg" idx="2"/>
          </p:nvPr>
        </p:nvSpPr>
        <p:spPr>
          <a:xfrm>
            <a:off x="536575" y="704850"/>
            <a:ext cx="6254750" cy="3519488"/>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922880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F1F31D-E47D-4E02-8001-5F56FFEBEE9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3702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300"/>
              <a:t>For example: Over 90% (96%) of physicians feel more confident, that they could detect and track a range of systemic and ocular diseases using a digital ophthalmoscope system (118-3 and iExaminer system) than a traditional ophthalmoscope.</a:t>
            </a:r>
            <a:r>
              <a:rPr lang="en-US"/>
              <a:t> </a:t>
            </a:r>
          </a:p>
        </p:txBody>
      </p:sp>
      <p:sp>
        <p:nvSpPr>
          <p:cNvPr id="4" name="Slide Number Placeholder 3"/>
          <p:cNvSpPr>
            <a:spLocks noGrp="1"/>
          </p:cNvSpPr>
          <p:nvPr>
            <p:ph type="sldNum" sz="quarter" idx="5"/>
          </p:nvPr>
        </p:nvSpPr>
        <p:spPr/>
        <p:txBody>
          <a:bodyPr/>
          <a:lstStyle/>
          <a:p>
            <a:fld id="{8F714FEE-199E-8641-9DC5-C62470BFDAF9}" type="slidenum">
              <a:rPr lang="en-US" smtClean="0"/>
              <a:t>16</a:t>
            </a:fld>
            <a:endParaRPr lang="en-US"/>
          </a:p>
        </p:txBody>
      </p:sp>
    </p:spTree>
    <p:extLst>
      <p:ext uri="{BB962C8B-B14F-4D97-AF65-F5344CB8AC3E}">
        <p14:creationId xmlns:p14="http://schemas.microsoft.com/office/powerpoint/2010/main" val="29482475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ve developed an impressive KOL list; 81 physicians around the world are able to help us in various ways. Here are the top sites that have agreed to various studies to evaluate the clinical benefits of the iExaminer </a:t>
            </a:r>
          </a:p>
        </p:txBody>
      </p:sp>
      <p:sp>
        <p:nvSpPr>
          <p:cNvPr id="4" name="Slide Number Placeholder 3"/>
          <p:cNvSpPr>
            <a:spLocks noGrp="1"/>
          </p:cNvSpPr>
          <p:nvPr>
            <p:ph type="sldNum" sz="quarter" idx="5"/>
          </p:nvPr>
        </p:nvSpPr>
        <p:spPr/>
        <p:txBody>
          <a:bodyPr/>
          <a:lstStyle/>
          <a:p>
            <a:fld id="{8F714FEE-199E-8641-9DC5-C62470BFDAF9}" type="slidenum">
              <a:rPr lang="en-US" smtClean="0"/>
              <a:t>17</a:t>
            </a:fld>
            <a:endParaRPr lang="en-US"/>
          </a:p>
        </p:txBody>
      </p:sp>
    </p:spTree>
    <p:extLst>
      <p:ext uri="{BB962C8B-B14F-4D97-AF65-F5344CB8AC3E}">
        <p14:creationId xmlns:p14="http://schemas.microsoft.com/office/powerpoint/2010/main" val="37551183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defTabSz="927567">
              <a:defRPr/>
            </a:pPr>
            <a:fld id="{8F714FEE-199E-8641-9DC5-C62470BFDAF9}" type="slidenum">
              <a:rPr lang="en-US">
                <a:solidFill>
                  <a:prstClr val="black"/>
                </a:solidFill>
                <a:latin typeface="Calibri" panose="020F0502020204030204"/>
              </a:rPr>
              <a:pPr defTabSz="927567">
                <a:defRPr/>
              </a:pPr>
              <a:t>21</a:t>
            </a:fld>
            <a:endParaRPr lang="en-US">
              <a:solidFill>
                <a:prstClr val="black"/>
              </a:solidFill>
              <a:latin typeface="Calibri" panose="020F0502020204030204"/>
            </a:endParaRPr>
          </a:p>
        </p:txBody>
      </p:sp>
    </p:spTree>
    <p:extLst>
      <p:ext uri="{BB962C8B-B14F-4D97-AF65-F5344CB8AC3E}">
        <p14:creationId xmlns:p14="http://schemas.microsoft.com/office/powerpoint/2010/main" val="25331893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F714FEE-199E-8641-9DC5-C62470BFDAF9}" type="slidenum">
              <a:rPr lang="en-US" smtClean="0"/>
              <a:t>22</a:t>
            </a:fld>
            <a:endParaRPr lang="en-US"/>
          </a:p>
        </p:txBody>
      </p:sp>
    </p:spTree>
    <p:extLst>
      <p:ext uri="{BB962C8B-B14F-4D97-AF65-F5344CB8AC3E}">
        <p14:creationId xmlns:p14="http://schemas.microsoft.com/office/powerpoint/2010/main" val="3023073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 Photo 1">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6A4801C2-5C8F-674F-A2C4-45890DD691AC}"/>
              </a:ext>
            </a:extLst>
          </p:cNvPr>
          <p:cNvSpPr/>
          <p:nvPr/>
        </p:nvSpPr>
        <p:spPr>
          <a:xfrm>
            <a:off x="0" y="0"/>
            <a:ext cx="12191999" cy="6854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Picture Placeholder 29">
            <a:extLst>
              <a:ext uri="{FF2B5EF4-FFF2-40B4-BE49-F238E27FC236}">
                <a16:creationId xmlns:a16="http://schemas.microsoft.com/office/drawing/2014/main" id="{1CECFD2B-718D-8149-979C-414AA4652131}"/>
              </a:ext>
            </a:extLst>
          </p:cNvPr>
          <p:cNvSpPr>
            <a:spLocks noGrp="1"/>
          </p:cNvSpPr>
          <p:nvPr>
            <p:ph type="pic" sz="quarter" idx="18"/>
          </p:nvPr>
        </p:nvSpPr>
        <p:spPr>
          <a:xfrm>
            <a:off x="0" y="0"/>
            <a:ext cx="12189147" cy="6854428"/>
          </a:xfrm>
          <a:custGeom>
            <a:avLst/>
            <a:gdLst>
              <a:gd name="connsiteX0" fmla="*/ 6790633 w 12189147"/>
              <a:gd name="connsiteY0" fmla="*/ 1581749 h 6854428"/>
              <a:gd name="connsiteX1" fmla="*/ 6790633 w 12189147"/>
              <a:gd name="connsiteY1" fmla="*/ 6168628 h 6854428"/>
              <a:gd name="connsiteX2" fmla="*/ 11362633 w 12189147"/>
              <a:gd name="connsiteY2" fmla="*/ 6168628 h 6854428"/>
              <a:gd name="connsiteX3" fmla="*/ 11362633 w 12189147"/>
              <a:gd name="connsiteY3" fmla="*/ 1581749 h 6854428"/>
              <a:gd name="connsiteX4" fmla="*/ 0 w 12189147"/>
              <a:gd name="connsiteY4" fmla="*/ 0 h 6854428"/>
              <a:gd name="connsiteX5" fmla="*/ 12189147 w 12189147"/>
              <a:gd name="connsiteY5" fmla="*/ 0 h 6854428"/>
              <a:gd name="connsiteX6" fmla="*/ 12189147 w 12189147"/>
              <a:gd name="connsiteY6" fmla="*/ 6854428 h 6854428"/>
              <a:gd name="connsiteX7" fmla="*/ 0 w 12189147"/>
              <a:gd name="connsiteY7" fmla="*/ 6854428 h 6854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9147" h="6854428">
                <a:moveTo>
                  <a:pt x="6790633" y="1581749"/>
                </a:moveTo>
                <a:lnTo>
                  <a:pt x="6790633" y="6168628"/>
                </a:lnTo>
                <a:lnTo>
                  <a:pt x="11362633" y="6168628"/>
                </a:lnTo>
                <a:lnTo>
                  <a:pt x="11362633" y="1581749"/>
                </a:lnTo>
                <a:close/>
                <a:moveTo>
                  <a:pt x="0" y="0"/>
                </a:moveTo>
                <a:lnTo>
                  <a:pt x="12189147" y="0"/>
                </a:lnTo>
                <a:lnTo>
                  <a:pt x="12189147" y="6854428"/>
                </a:lnTo>
                <a:lnTo>
                  <a:pt x="0" y="6854428"/>
                </a:lnTo>
                <a:close/>
              </a:path>
            </a:pathLst>
          </a:custGeom>
          <a:solidFill>
            <a:schemeClr val="accent6">
              <a:lumMod val="20000"/>
              <a:lumOff val="80000"/>
            </a:schemeClr>
          </a:solidFill>
        </p:spPr>
        <p:txBody>
          <a:bodyPr wrap="square" anchor="ctr">
            <a:noAutofit/>
          </a:bodyPr>
          <a:lstStyle>
            <a:lvl1pPr marL="914400" indent="0" algn="l">
              <a:buNone/>
              <a:defRPr/>
            </a:lvl1pPr>
          </a:lstStyle>
          <a:p>
            <a:r>
              <a:rPr lang="en-US"/>
              <a:t>Click icon to add picture</a:t>
            </a:r>
          </a:p>
        </p:txBody>
      </p:sp>
      <p:sp>
        <p:nvSpPr>
          <p:cNvPr id="32" name="Rectangle 31">
            <a:extLst>
              <a:ext uri="{FF2B5EF4-FFF2-40B4-BE49-F238E27FC236}">
                <a16:creationId xmlns:a16="http://schemas.microsoft.com/office/drawing/2014/main" id="{6457E89D-281C-0E4C-B758-E56A871695C6}"/>
              </a:ext>
            </a:extLst>
          </p:cNvPr>
          <p:cNvSpPr/>
          <p:nvPr/>
        </p:nvSpPr>
        <p:spPr>
          <a:xfrm>
            <a:off x="6780786" y="1635370"/>
            <a:ext cx="4572000" cy="45368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a:extLst>
              <a:ext uri="{FF2B5EF4-FFF2-40B4-BE49-F238E27FC236}">
                <a16:creationId xmlns:a16="http://schemas.microsoft.com/office/drawing/2014/main" id="{99C2B2A5-C177-4445-AF46-3ED43A1CC4CB}"/>
              </a:ext>
            </a:extLst>
          </p:cNvPr>
          <p:cNvSpPr>
            <a:spLocks noGrp="1"/>
          </p:cNvSpPr>
          <p:nvPr>
            <p:ph type="subTitle" idx="1"/>
          </p:nvPr>
        </p:nvSpPr>
        <p:spPr>
          <a:xfrm>
            <a:off x="7063992" y="4180114"/>
            <a:ext cx="3868615" cy="502418"/>
          </a:xfrm>
          <a:prstGeom prst="rect">
            <a:avLst/>
          </a:prstGeom>
        </p:spPr>
        <p:txBody>
          <a:bodyPr/>
          <a:lstStyle>
            <a:lvl1pPr marL="0" indent="0" algn="l">
              <a:buNone/>
              <a:defRPr sz="1700" b="1" i="0">
                <a:solidFill>
                  <a:schemeClr val="accent1"/>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8">
            <a:extLst>
              <a:ext uri="{FF2B5EF4-FFF2-40B4-BE49-F238E27FC236}">
                <a16:creationId xmlns:a16="http://schemas.microsoft.com/office/drawing/2014/main" id="{FD3B8154-5856-0144-90B5-3564DC77E658}"/>
              </a:ext>
            </a:extLst>
          </p:cNvPr>
          <p:cNvSpPr>
            <a:spLocks noGrp="1"/>
          </p:cNvSpPr>
          <p:nvPr>
            <p:ph type="title"/>
          </p:nvPr>
        </p:nvSpPr>
        <p:spPr>
          <a:xfrm>
            <a:off x="7063992" y="2690834"/>
            <a:ext cx="3868615" cy="1489280"/>
          </a:xfrm>
          <a:prstGeom prst="rect">
            <a:avLst/>
          </a:prstGeom>
        </p:spPr>
        <p:txBody>
          <a:bodyPr/>
          <a:lstStyle>
            <a:lvl1pPr>
              <a:lnSpc>
                <a:spcPct val="84000"/>
              </a:lnSpc>
              <a:defRPr/>
            </a:lvl1pPr>
          </a:lstStyle>
          <a:p>
            <a:r>
              <a:rPr lang="en-US"/>
              <a:t>Click to edit Master title style</a:t>
            </a:r>
          </a:p>
        </p:txBody>
      </p:sp>
      <p:grpSp>
        <p:nvGrpSpPr>
          <p:cNvPr id="6" name="Group 5">
            <a:extLst>
              <a:ext uri="{FF2B5EF4-FFF2-40B4-BE49-F238E27FC236}">
                <a16:creationId xmlns:a16="http://schemas.microsoft.com/office/drawing/2014/main" id="{6E4353B8-22AB-2B45-9DAF-3AC303C5838E}"/>
              </a:ext>
            </a:extLst>
          </p:cNvPr>
          <p:cNvGrpSpPr/>
          <p:nvPr/>
        </p:nvGrpSpPr>
        <p:grpSpPr>
          <a:xfrm>
            <a:off x="7150135" y="5095453"/>
            <a:ext cx="1878930" cy="691431"/>
            <a:chOff x="7150135" y="5095453"/>
            <a:chExt cx="1878930" cy="691431"/>
          </a:xfrm>
        </p:grpSpPr>
        <p:grpSp>
          <p:nvGrpSpPr>
            <p:cNvPr id="5" name="Group 4">
              <a:extLst>
                <a:ext uri="{FF2B5EF4-FFF2-40B4-BE49-F238E27FC236}">
                  <a16:creationId xmlns:a16="http://schemas.microsoft.com/office/drawing/2014/main" id="{8E8B43A0-103E-4C46-8726-E559631A373F}"/>
                </a:ext>
              </a:extLst>
            </p:cNvPr>
            <p:cNvGrpSpPr/>
            <p:nvPr/>
          </p:nvGrpSpPr>
          <p:grpSpPr>
            <a:xfrm>
              <a:off x="7150135" y="5095453"/>
              <a:ext cx="698487" cy="691431"/>
              <a:chOff x="7150135" y="5095453"/>
              <a:chExt cx="698487" cy="691431"/>
            </a:xfrm>
          </p:grpSpPr>
          <p:sp>
            <p:nvSpPr>
              <p:cNvPr id="13" name="Rectangle 12">
                <a:extLst>
                  <a:ext uri="{FF2B5EF4-FFF2-40B4-BE49-F238E27FC236}">
                    <a16:creationId xmlns:a16="http://schemas.microsoft.com/office/drawing/2014/main" id="{59ADE2D7-FECE-CD40-897A-1AA2AB634070}"/>
                  </a:ext>
                </a:extLst>
              </p:cNvPr>
              <p:cNvSpPr/>
              <p:nvPr/>
            </p:nvSpPr>
            <p:spPr>
              <a:xfrm>
                <a:off x="7150135" y="5095453"/>
                <a:ext cx="698487" cy="691431"/>
              </a:xfrm>
              <a:prstGeom prst="rect">
                <a:avLst/>
              </a:prstGeom>
              <a:solidFill>
                <a:srgbClr val="5369E4"/>
              </a:solidFill>
              <a:ln w="9525"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BAF30592-E0BF-8B43-805E-1E97F8FDBD65}"/>
                  </a:ext>
                </a:extLst>
              </p:cNvPr>
              <p:cNvSpPr/>
              <p:nvPr/>
            </p:nvSpPr>
            <p:spPr>
              <a:xfrm>
                <a:off x="7373270" y="5335821"/>
                <a:ext cx="343911" cy="216985"/>
              </a:xfrm>
              <a:custGeom>
                <a:avLst/>
                <a:gdLst>
                  <a:gd name="connsiteX0" fmla="*/ 126744 w 343911"/>
                  <a:gd name="connsiteY0" fmla="*/ 73417 h 216985"/>
                  <a:gd name="connsiteX1" fmla="*/ 162938 w 343911"/>
                  <a:gd name="connsiteY1" fmla="*/ 109246 h 216985"/>
                  <a:gd name="connsiteX2" fmla="*/ 126744 w 343911"/>
                  <a:gd name="connsiteY2" fmla="*/ 145074 h 216985"/>
                  <a:gd name="connsiteX3" fmla="*/ 90549 w 343911"/>
                  <a:gd name="connsiteY3" fmla="*/ 109246 h 216985"/>
                  <a:gd name="connsiteX4" fmla="*/ 126744 w 343911"/>
                  <a:gd name="connsiteY4" fmla="*/ 73417 h 216985"/>
                  <a:gd name="connsiteX5" fmla="*/ 180972 w 343911"/>
                  <a:gd name="connsiteY5" fmla="*/ 2137 h 216985"/>
                  <a:gd name="connsiteX6" fmla="*/ 253361 w 343911"/>
                  <a:gd name="connsiteY6" fmla="*/ 2137 h 216985"/>
                  <a:gd name="connsiteX7" fmla="*/ 253361 w 343911"/>
                  <a:gd name="connsiteY7" fmla="*/ 73669 h 216985"/>
                  <a:gd name="connsiteX8" fmla="*/ 253361 w 343911"/>
                  <a:gd name="connsiteY8" fmla="*/ 145326 h 216985"/>
                  <a:gd name="connsiteX9" fmla="*/ 253361 w 343911"/>
                  <a:gd name="connsiteY9" fmla="*/ 216985 h 216985"/>
                  <a:gd name="connsiteX10" fmla="*/ 180972 w 343911"/>
                  <a:gd name="connsiteY10" fmla="*/ 216985 h 216985"/>
                  <a:gd name="connsiteX11" fmla="*/ 180972 w 343911"/>
                  <a:gd name="connsiteY11" fmla="*/ 145326 h 216985"/>
                  <a:gd name="connsiteX12" fmla="*/ 180972 w 343911"/>
                  <a:gd name="connsiteY12" fmla="*/ 73669 h 216985"/>
                  <a:gd name="connsiteX13" fmla="*/ 0 w 343911"/>
                  <a:gd name="connsiteY13" fmla="*/ 2137 h 216985"/>
                  <a:gd name="connsiteX14" fmla="*/ 72389 w 343911"/>
                  <a:gd name="connsiteY14" fmla="*/ 2137 h 216985"/>
                  <a:gd name="connsiteX15" fmla="*/ 72389 w 343911"/>
                  <a:gd name="connsiteY15" fmla="*/ 73669 h 216985"/>
                  <a:gd name="connsiteX16" fmla="*/ 72389 w 343911"/>
                  <a:gd name="connsiteY16" fmla="*/ 145326 h 216985"/>
                  <a:gd name="connsiteX17" fmla="*/ 72389 w 343911"/>
                  <a:gd name="connsiteY17" fmla="*/ 216985 h 216985"/>
                  <a:gd name="connsiteX18" fmla="*/ 0 w 343911"/>
                  <a:gd name="connsiteY18" fmla="*/ 216985 h 216985"/>
                  <a:gd name="connsiteX19" fmla="*/ 0 w 343911"/>
                  <a:gd name="connsiteY19" fmla="*/ 145326 h 216985"/>
                  <a:gd name="connsiteX20" fmla="*/ 0 w 343911"/>
                  <a:gd name="connsiteY20" fmla="*/ 73669 h 216985"/>
                  <a:gd name="connsiteX21" fmla="*/ 307716 w 343911"/>
                  <a:gd name="connsiteY21" fmla="*/ 0 h 216985"/>
                  <a:gd name="connsiteX22" fmla="*/ 343911 w 343911"/>
                  <a:gd name="connsiteY22" fmla="*/ 35829 h 216985"/>
                  <a:gd name="connsiteX23" fmla="*/ 307716 w 343911"/>
                  <a:gd name="connsiteY23" fmla="*/ 71657 h 216985"/>
                  <a:gd name="connsiteX24" fmla="*/ 271521 w 343911"/>
                  <a:gd name="connsiteY24" fmla="*/ 35829 h 216985"/>
                  <a:gd name="connsiteX25" fmla="*/ 307716 w 343911"/>
                  <a:gd name="connsiteY25" fmla="*/ 0 h 216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43911" h="216985">
                    <a:moveTo>
                      <a:pt x="126744" y="73417"/>
                    </a:moveTo>
                    <a:cubicBezTo>
                      <a:pt x="146734" y="73417"/>
                      <a:pt x="162938" y="89458"/>
                      <a:pt x="162938" y="109246"/>
                    </a:cubicBezTo>
                    <a:cubicBezTo>
                      <a:pt x="162938" y="129034"/>
                      <a:pt x="146734" y="145074"/>
                      <a:pt x="126744" y="145074"/>
                    </a:cubicBezTo>
                    <a:cubicBezTo>
                      <a:pt x="106754" y="145074"/>
                      <a:pt x="90549" y="129034"/>
                      <a:pt x="90549" y="109246"/>
                    </a:cubicBezTo>
                    <a:cubicBezTo>
                      <a:pt x="90549" y="89458"/>
                      <a:pt x="106754" y="73417"/>
                      <a:pt x="126744" y="73417"/>
                    </a:cubicBezTo>
                    <a:close/>
                    <a:moveTo>
                      <a:pt x="180972" y="2137"/>
                    </a:moveTo>
                    <a:lnTo>
                      <a:pt x="253361" y="2137"/>
                    </a:lnTo>
                    <a:lnTo>
                      <a:pt x="253361" y="73669"/>
                    </a:lnTo>
                    <a:lnTo>
                      <a:pt x="253361" y="145326"/>
                    </a:lnTo>
                    <a:lnTo>
                      <a:pt x="253361" y="216985"/>
                    </a:lnTo>
                    <a:lnTo>
                      <a:pt x="180972" y="216985"/>
                    </a:lnTo>
                    <a:lnTo>
                      <a:pt x="180972" y="145326"/>
                    </a:lnTo>
                    <a:lnTo>
                      <a:pt x="180972" y="73669"/>
                    </a:lnTo>
                    <a:close/>
                    <a:moveTo>
                      <a:pt x="0" y="2137"/>
                    </a:moveTo>
                    <a:lnTo>
                      <a:pt x="72389" y="2137"/>
                    </a:lnTo>
                    <a:lnTo>
                      <a:pt x="72389" y="73669"/>
                    </a:lnTo>
                    <a:lnTo>
                      <a:pt x="72389" y="145326"/>
                    </a:lnTo>
                    <a:lnTo>
                      <a:pt x="72389" y="216985"/>
                    </a:lnTo>
                    <a:lnTo>
                      <a:pt x="0" y="216985"/>
                    </a:lnTo>
                    <a:lnTo>
                      <a:pt x="0" y="145326"/>
                    </a:lnTo>
                    <a:lnTo>
                      <a:pt x="0" y="73669"/>
                    </a:lnTo>
                    <a:close/>
                    <a:moveTo>
                      <a:pt x="307716" y="0"/>
                    </a:moveTo>
                    <a:cubicBezTo>
                      <a:pt x="327706" y="0"/>
                      <a:pt x="343911" y="16041"/>
                      <a:pt x="343911" y="35829"/>
                    </a:cubicBezTo>
                    <a:cubicBezTo>
                      <a:pt x="343911" y="55617"/>
                      <a:pt x="327706" y="71657"/>
                      <a:pt x="307716" y="71657"/>
                    </a:cubicBezTo>
                    <a:cubicBezTo>
                      <a:pt x="287726" y="71657"/>
                      <a:pt x="271521" y="55617"/>
                      <a:pt x="271521" y="35829"/>
                    </a:cubicBezTo>
                    <a:cubicBezTo>
                      <a:pt x="271521" y="16041"/>
                      <a:pt x="287726" y="0"/>
                      <a:pt x="307716" y="0"/>
                    </a:cubicBezTo>
                    <a:close/>
                  </a:path>
                </a:pathLst>
              </a:custGeom>
              <a:solidFill>
                <a:srgbClr val="FFFFFF"/>
              </a:solidFill>
              <a:ln w="9525" cap="flat">
                <a:noFill/>
                <a:prstDash val="solid"/>
                <a:miter/>
              </a:ln>
            </p:spPr>
            <p:txBody>
              <a:bodyPr wrap="square" rtlCol="0" anchor="ctr">
                <a:noAutofit/>
              </a:bodyPr>
              <a:lstStyle/>
              <a:p>
                <a:endParaRPr lang="en-US"/>
              </a:p>
            </p:txBody>
          </p:sp>
        </p:grpSp>
        <p:sp>
          <p:nvSpPr>
            <p:cNvPr id="35" name="Freeform 34">
              <a:extLst>
                <a:ext uri="{FF2B5EF4-FFF2-40B4-BE49-F238E27FC236}">
                  <a16:creationId xmlns:a16="http://schemas.microsoft.com/office/drawing/2014/main" id="{BDE8EFFF-2722-FF40-B67A-035B590E14E7}"/>
                </a:ext>
              </a:extLst>
            </p:cNvPr>
            <p:cNvSpPr/>
            <p:nvPr/>
          </p:nvSpPr>
          <p:spPr>
            <a:xfrm>
              <a:off x="8030102" y="5323621"/>
              <a:ext cx="998963" cy="232831"/>
            </a:xfrm>
            <a:custGeom>
              <a:avLst/>
              <a:gdLst>
                <a:gd name="connsiteX0" fmla="*/ 654292 w 998963"/>
                <a:gd name="connsiteY0" fmla="*/ 111515 h 232831"/>
                <a:gd name="connsiteX1" fmla="*/ 613018 w 998963"/>
                <a:gd name="connsiteY1" fmla="*/ 152373 h 232831"/>
                <a:gd name="connsiteX2" fmla="*/ 654292 w 998963"/>
                <a:gd name="connsiteY2" fmla="*/ 193230 h 232831"/>
                <a:gd name="connsiteX3" fmla="*/ 695566 w 998963"/>
                <a:gd name="connsiteY3" fmla="*/ 152373 h 232831"/>
                <a:gd name="connsiteX4" fmla="*/ 654292 w 998963"/>
                <a:gd name="connsiteY4" fmla="*/ 111515 h 232831"/>
                <a:gd name="connsiteX5" fmla="*/ 458842 w 998963"/>
                <a:gd name="connsiteY5" fmla="*/ 74429 h 232831"/>
                <a:gd name="connsiteX6" fmla="*/ 504435 w 998963"/>
                <a:gd name="connsiteY6" fmla="*/ 74429 h 232831"/>
                <a:gd name="connsiteX7" fmla="*/ 504435 w 998963"/>
                <a:gd name="connsiteY7" fmla="*/ 229310 h 232831"/>
                <a:gd name="connsiteX8" fmla="*/ 458842 w 998963"/>
                <a:gd name="connsiteY8" fmla="*/ 229310 h 232831"/>
                <a:gd name="connsiteX9" fmla="*/ 218944 w 998963"/>
                <a:gd name="connsiteY9" fmla="*/ 74428 h 232831"/>
                <a:gd name="connsiteX10" fmla="*/ 264536 w 998963"/>
                <a:gd name="connsiteY10" fmla="*/ 74428 h 232831"/>
                <a:gd name="connsiteX11" fmla="*/ 264536 w 998963"/>
                <a:gd name="connsiteY11" fmla="*/ 229308 h 232831"/>
                <a:gd name="connsiteX12" fmla="*/ 218944 w 998963"/>
                <a:gd name="connsiteY12" fmla="*/ 229308 h 232831"/>
                <a:gd name="connsiteX13" fmla="*/ 542535 w 998963"/>
                <a:gd name="connsiteY13" fmla="*/ 73170 h 232831"/>
                <a:gd name="connsiteX14" fmla="*/ 569713 w 998963"/>
                <a:gd name="connsiteY14" fmla="*/ 100074 h 232831"/>
                <a:gd name="connsiteX15" fmla="*/ 542535 w 998963"/>
                <a:gd name="connsiteY15" fmla="*/ 126976 h 232831"/>
                <a:gd name="connsiteX16" fmla="*/ 515604 w 998963"/>
                <a:gd name="connsiteY16" fmla="*/ 100836 h 232831"/>
                <a:gd name="connsiteX17" fmla="*/ 515610 w 998963"/>
                <a:gd name="connsiteY17" fmla="*/ 99948 h 232831"/>
                <a:gd name="connsiteX18" fmla="*/ 541637 w 998963"/>
                <a:gd name="connsiteY18" fmla="*/ 73172 h 232831"/>
                <a:gd name="connsiteX19" fmla="*/ 542535 w 998963"/>
                <a:gd name="connsiteY19" fmla="*/ 73170 h 232831"/>
                <a:gd name="connsiteX20" fmla="*/ 842756 w 998963"/>
                <a:gd name="connsiteY20" fmla="*/ 72166 h 232831"/>
                <a:gd name="connsiteX21" fmla="*/ 889999 w 998963"/>
                <a:gd name="connsiteY21" fmla="*/ 99824 h 232831"/>
                <a:gd name="connsiteX22" fmla="*/ 942830 w 998963"/>
                <a:gd name="connsiteY22" fmla="*/ 72166 h 232831"/>
                <a:gd name="connsiteX23" fmla="*/ 998816 w 998963"/>
                <a:gd name="connsiteY23" fmla="*/ 119789 h 232831"/>
                <a:gd name="connsiteX24" fmla="*/ 998962 w 998963"/>
                <a:gd name="connsiteY24" fmla="*/ 124087 h 232831"/>
                <a:gd name="connsiteX25" fmla="*/ 998962 w 998963"/>
                <a:gd name="connsiteY25" fmla="*/ 229562 h 232831"/>
                <a:gd name="connsiteX26" fmla="*/ 953625 w 998963"/>
                <a:gd name="connsiteY26" fmla="*/ 229562 h 232831"/>
                <a:gd name="connsiteX27" fmla="*/ 953625 w 998963"/>
                <a:gd name="connsiteY27" fmla="*/ 137036 h 232831"/>
                <a:gd name="connsiteX28" fmla="*/ 932658 w 998963"/>
                <a:gd name="connsiteY28" fmla="*/ 109934 h 232831"/>
                <a:gd name="connsiteX29" fmla="*/ 928225 w 998963"/>
                <a:gd name="connsiteY29" fmla="*/ 109755 h 232831"/>
                <a:gd name="connsiteX30" fmla="*/ 898380 w 998963"/>
                <a:gd name="connsiteY30" fmla="*/ 149984 h 232831"/>
                <a:gd name="connsiteX31" fmla="*/ 898380 w 998963"/>
                <a:gd name="connsiteY31" fmla="*/ 229311 h 232831"/>
                <a:gd name="connsiteX32" fmla="*/ 853296 w 998963"/>
                <a:gd name="connsiteY32" fmla="*/ 229311 h 232831"/>
                <a:gd name="connsiteX33" fmla="*/ 853296 w 998963"/>
                <a:gd name="connsiteY33" fmla="*/ 137036 h 232831"/>
                <a:gd name="connsiteX34" fmla="*/ 832330 w 998963"/>
                <a:gd name="connsiteY34" fmla="*/ 109934 h 232831"/>
                <a:gd name="connsiteX35" fmla="*/ 827896 w 998963"/>
                <a:gd name="connsiteY35" fmla="*/ 109755 h 232831"/>
                <a:gd name="connsiteX36" fmla="*/ 798434 w 998963"/>
                <a:gd name="connsiteY36" fmla="*/ 149984 h 232831"/>
                <a:gd name="connsiteX37" fmla="*/ 798434 w 998963"/>
                <a:gd name="connsiteY37" fmla="*/ 229311 h 232831"/>
                <a:gd name="connsiteX38" fmla="*/ 752841 w 998963"/>
                <a:gd name="connsiteY38" fmla="*/ 229311 h 232831"/>
                <a:gd name="connsiteX39" fmla="*/ 753095 w 998963"/>
                <a:gd name="connsiteY39" fmla="*/ 74430 h 232831"/>
                <a:gd name="connsiteX40" fmla="*/ 798687 w 998963"/>
                <a:gd name="connsiteY40" fmla="*/ 74430 h 232831"/>
                <a:gd name="connsiteX41" fmla="*/ 798687 w 998963"/>
                <a:gd name="connsiteY41" fmla="*/ 95549 h 232831"/>
                <a:gd name="connsiteX42" fmla="*/ 842756 w 998963"/>
                <a:gd name="connsiteY42" fmla="*/ 72166 h 232831"/>
                <a:gd name="connsiteX43" fmla="*/ 655053 w 998963"/>
                <a:gd name="connsiteY43" fmla="*/ 71915 h 232831"/>
                <a:gd name="connsiteX44" fmla="*/ 736332 w 998963"/>
                <a:gd name="connsiteY44" fmla="*/ 152373 h 232831"/>
                <a:gd name="connsiteX45" fmla="*/ 655053 w 998963"/>
                <a:gd name="connsiteY45" fmla="*/ 232831 h 232831"/>
                <a:gd name="connsiteX46" fmla="*/ 573775 w 998963"/>
                <a:gd name="connsiteY46" fmla="*/ 152373 h 232831"/>
                <a:gd name="connsiteX47" fmla="*/ 655053 w 998963"/>
                <a:gd name="connsiteY47" fmla="*/ 71915 h 232831"/>
                <a:gd name="connsiteX48" fmla="*/ 0 w 998963"/>
                <a:gd name="connsiteY48" fmla="*/ 14211 h 232831"/>
                <a:gd name="connsiteX49" fmla="*/ 49022 w 998963"/>
                <a:gd name="connsiteY49" fmla="*/ 14211 h 232831"/>
                <a:gd name="connsiteX50" fmla="*/ 49022 w 998963"/>
                <a:gd name="connsiteY50" fmla="*/ 97812 h 232831"/>
                <a:gd name="connsiteX51" fmla="*/ 135253 w 998963"/>
                <a:gd name="connsiteY51" fmla="*/ 97812 h 232831"/>
                <a:gd name="connsiteX52" fmla="*/ 135253 w 998963"/>
                <a:gd name="connsiteY52" fmla="*/ 14211 h 232831"/>
                <a:gd name="connsiteX53" fmla="*/ 184655 w 998963"/>
                <a:gd name="connsiteY53" fmla="*/ 14211 h 232831"/>
                <a:gd name="connsiteX54" fmla="*/ 184655 w 998963"/>
                <a:gd name="connsiteY54" fmla="*/ 229310 h 232831"/>
                <a:gd name="connsiteX55" fmla="*/ 135253 w 998963"/>
                <a:gd name="connsiteY55" fmla="*/ 229310 h 232831"/>
                <a:gd name="connsiteX56" fmla="*/ 135253 w 998963"/>
                <a:gd name="connsiteY56" fmla="*/ 139298 h 232831"/>
                <a:gd name="connsiteX57" fmla="*/ 49022 w 998963"/>
                <a:gd name="connsiteY57" fmla="*/ 139298 h 232831"/>
                <a:gd name="connsiteX58" fmla="*/ 49022 w 998963"/>
                <a:gd name="connsiteY58" fmla="*/ 229310 h 232831"/>
                <a:gd name="connsiteX59" fmla="*/ 0 w 998963"/>
                <a:gd name="connsiteY59" fmla="*/ 229310 h 232831"/>
                <a:gd name="connsiteX60" fmla="*/ 378834 w 998963"/>
                <a:gd name="connsiteY60" fmla="*/ 11697 h 232831"/>
                <a:gd name="connsiteX61" fmla="*/ 424935 w 998963"/>
                <a:gd name="connsiteY61" fmla="*/ 11697 h 232831"/>
                <a:gd name="connsiteX62" fmla="*/ 424935 w 998963"/>
                <a:gd name="connsiteY62" fmla="*/ 229310 h 232831"/>
                <a:gd name="connsiteX63" fmla="*/ 378834 w 998963"/>
                <a:gd name="connsiteY63" fmla="*/ 229310 h 232831"/>
                <a:gd name="connsiteX64" fmla="*/ 299587 w 998963"/>
                <a:gd name="connsiteY64" fmla="*/ 11697 h 232831"/>
                <a:gd name="connsiteX65" fmla="*/ 345181 w 998963"/>
                <a:gd name="connsiteY65" fmla="*/ 11697 h 232831"/>
                <a:gd name="connsiteX66" fmla="*/ 345181 w 998963"/>
                <a:gd name="connsiteY66" fmla="*/ 229310 h 232831"/>
                <a:gd name="connsiteX67" fmla="*/ 299587 w 998963"/>
                <a:gd name="connsiteY67" fmla="*/ 229310 h 232831"/>
                <a:gd name="connsiteX68" fmla="*/ 240651 w 998963"/>
                <a:gd name="connsiteY68" fmla="*/ 5 h 232831"/>
                <a:gd name="connsiteX69" fmla="*/ 241677 w 998963"/>
                <a:gd name="connsiteY69" fmla="*/ 5 h 232831"/>
                <a:gd name="connsiteX70" fmla="*/ 268855 w 998963"/>
                <a:gd name="connsiteY70" fmla="*/ 26908 h 232831"/>
                <a:gd name="connsiteX71" fmla="*/ 241677 w 998963"/>
                <a:gd name="connsiteY71" fmla="*/ 53811 h 232831"/>
                <a:gd name="connsiteX72" fmla="*/ 214621 w 998963"/>
                <a:gd name="connsiteY72" fmla="*/ 27798 h 232831"/>
                <a:gd name="connsiteX73" fmla="*/ 214626 w 998963"/>
                <a:gd name="connsiteY73" fmla="*/ 26782 h 232831"/>
                <a:gd name="connsiteX74" fmla="*/ 240651 w 998963"/>
                <a:gd name="connsiteY74" fmla="*/ 5 h 232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998963" h="232831">
                  <a:moveTo>
                    <a:pt x="654292" y="111515"/>
                  </a:moveTo>
                  <a:cubicBezTo>
                    <a:pt x="631497" y="111515"/>
                    <a:pt x="613018" y="129808"/>
                    <a:pt x="613018" y="152373"/>
                  </a:cubicBezTo>
                  <a:cubicBezTo>
                    <a:pt x="613018" y="174938"/>
                    <a:pt x="631497" y="193230"/>
                    <a:pt x="654292" y="193230"/>
                  </a:cubicBezTo>
                  <a:cubicBezTo>
                    <a:pt x="677086" y="193230"/>
                    <a:pt x="695566" y="174938"/>
                    <a:pt x="695566" y="152373"/>
                  </a:cubicBezTo>
                  <a:cubicBezTo>
                    <a:pt x="695566" y="129808"/>
                    <a:pt x="677086" y="111515"/>
                    <a:pt x="654292" y="111515"/>
                  </a:cubicBezTo>
                  <a:close/>
                  <a:moveTo>
                    <a:pt x="458842" y="74429"/>
                  </a:moveTo>
                  <a:lnTo>
                    <a:pt x="504435" y="74429"/>
                  </a:lnTo>
                  <a:lnTo>
                    <a:pt x="504435" y="229310"/>
                  </a:lnTo>
                  <a:lnTo>
                    <a:pt x="458842" y="229310"/>
                  </a:lnTo>
                  <a:close/>
                  <a:moveTo>
                    <a:pt x="218944" y="74428"/>
                  </a:moveTo>
                  <a:lnTo>
                    <a:pt x="264536" y="74428"/>
                  </a:lnTo>
                  <a:lnTo>
                    <a:pt x="264536" y="229308"/>
                  </a:lnTo>
                  <a:lnTo>
                    <a:pt x="218944" y="229308"/>
                  </a:lnTo>
                  <a:close/>
                  <a:moveTo>
                    <a:pt x="542535" y="73170"/>
                  </a:moveTo>
                  <a:cubicBezTo>
                    <a:pt x="557545" y="73170"/>
                    <a:pt x="569713" y="85215"/>
                    <a:pt x="569713" y="100074"/>
                  </a:cubicBezTo>
                  <a:cubicBezTo>
                    <a:pt x="569713" y="114932"/>
                    <a:pt x="557545" y="126976"/>
                    <a:pt x="542535" y="126976"/>
                  </a:cubicBezTo>
                  <a:cubicBezTo>
                    <a:pt x="527805" y="127119"/>
                    <a:pt x="515749" y="115417"/>
                    <a:pt x="515604" y="100836"/>
                  </a:cubicBezTo>
                  <a:cubicBezTo>
                    <a:pt x="515601" y="100541"/>
                    <a:pt x="515603" y="100244"/>
                    <a:pt x="515610" y="99948"/>
                  </a:cubicBezTo>
                  <a:cubicBezTo>
                    <a:pt x="515328" y="85439"/>
                    <a:pt x="526982" y="73452"/>
                    <a:pt x="541637" y="73172"/>
                  </a:cubicBezTo>
                  <a:cubicBezTo>
                    <a:pt x="541936" y="73167"/>
                    <a:pt x="542236" y="73166"/>
                    <a:pt x="542535" y="73170"/>
                  </a:cubicBezTo>
                  <a:close/>
                  <a:moveTo>
                    <a:pt x="842756" y="72166"/>
                  </a:moveTo>
                  <a:cubicBezTo>
                    <a:pt x="862917" y="70174"/>
                    <a:pt x="882049" y="81374"/>
                    <a:pt x="889999" y="99824"/>
                  </a:cubicBezTo>
                  <a:cubicBezTo>
                    <a:pt x="901342" y="81913"/>
                    <a:pt x="921489" y="71365"/>
                    <a:pt x="942830" y="72166"/>
                  </a:cubicBezTo>
                  <a:cubicBezTo>
                    <a:pt x="971575" y="70013"/>
                    <a:pt x="996640" y="91334"/>
                    <a:pt x="998816" y="119789"/>
                  </a:cubicBezTo>
                  <a:cubicBezTo>
                    <a:pt x="998924" y="121219"/>
                    <a:pt x="998974" y="122652"/>
                    <a:pt x="998962" y="124087"/>
                  </a:cubicBezTo>
                  <a:lnTo>
                    <a:pt x="998962" y="229562"/>
                  </a:lnTo>
                  <a:lnTo>
                    <a:pt x="953625" y="229562"/>
                  </a:lnTo>
                  <a:lnTo>
                    <a:pt x="953625" y="137036"/>
                  </a:lnTo>
                  <a:cubicBezTo>
                    <a:pt x="955395" y="123820"/>
                    <a:pt x="946008" y="111687"/>
                    <a:pt x="932658" y="109934"/>
                  </a:cubicBezTo>
                  <a:cubicBezTo>
                    <a:pt x="931190" y="109741"/>
                    <a:pt x="929705" y="109682"/>
                    <a:pt x="928225" y="109755"/>
                  </a:cubicBezTo>
                  <a:cubicBezTo>
                    <a:pt x="909303" y="109755"/>
                    <a:pt x="898380" y="125093"/>
                    <a:pt x="898380" y="149984"/>
                  </a:cubicBezTo>
                  <a:lnTo>
                    <a:pt x="898380" y="229311"/>
                  </a:lnTo>
                  <a:lnTo>
                    <a:pt x="853296" y="229311"/>
                  </a:lnTo>
                  <a:lnTo>
                    <a:pt x="853296" y="137036"/>
                  </a:lnTo>
                  <a:cubicBezTo>
                    <a:pt x="855067" y="123820"/>
                    <a:pt x="845680" y="111687"/>
                    <a:pt x="832330" y="109934"/>
                  </a:cubicBezTo>
                  <a:cubicBezTo>
                    <a:pt x="830860" y="109741"/>
                    <a:pt x="829377" y="109682"/>
                    <a:pt x="827896" y="109755"/>
                  </a:cubicBezTo>
                  <a:cubicBezTo>
                    <a:pt x="809355" y="109755"/>
                    <a:pt x="798434" y="125344"/>
                    <a:pt x="798434" y="149984"/>
                  </a:cubicBezTo>
                  <a:lnTo>
                    <a:pt x="798434" y="229311"/>
                  </a:lnTo>
                  <a:lnTo>
                    <a:pt x="752841" y="229311"/>
                  </a:lnTo>
                  <a:lnTo>
                    <a:pt x="753095" y="74430"/>
                  </a:lnTo>
                  <a:lnTo>
                    <a:pt x="798687" y="74430"/>
                  </a:lnTo>
                  <a:lnTo>
                    <a:pt x="798687" y="95549"/>
                  </a:lnTo>
                  <a:cubicBezTo>
                    <a:pt x="808089" y="80509"/>
                    <a:pt x="824896" y="71590"/>
                    <a:pt x="842756" y="72166"/>
                  </a:cubicBezTo>
                  <a:close/>
                  <a:moveTo>
                    <a:pt x="655053" y="71915"/>
                  </a:moveTo>
                  <a:cubicBezTo>
                    <a:pt x="699942" y="71915"/>
                    <a:pt x="736332" y="107937"/>
                    <a:pt x="736332" y="152373"/>
                  </a:cubicBezTo>
                  <a:cubicBezTo>
                    <a:pt x="736332" y="196808"/>
                    <a:pt x="699942" y="232831"/>
                    <a:pt x="655053" y="232831"/>
                  </a:cubicBezTo>
                  <a:cubicBezTo>
                    <a:pt x="610165" y="232831"/>
                    <a:pt x="573775" y="196808"/>
                    <a:pt x="573775" y="152373"/>
                  </a:cubicBezTo>
                  <a:cubicBezTo>
                    <a:pt x="573775" y="107937"/>
                    <a:pt x="610165" y="71915"/>
                    <a:pt x="655053" y="71915"/>
                  </a:cubicBezTo>
                  <a:close/>
                  <a:moveTo>
                    <a:pt x="0" y="14211"/>
                  </a:moveTo>
                  <a:lnTo>
                    <a:pt x="49022" y="14211"/>
                  </a:lnTo>
                  <a:lnTo>
                    <a:pt x="49022" y="97812"/>
                  </a:lnTo>
                  <a:lnTo>
                    <a:pt x="135253" y="97812"/>
                  </a:lnTo>
                  <a:lnTo>
                    <a:pt x="135253" y="14211"/>
                  </a:lnTo>
                  <a:lnTo>
                    <a:pt x="184655" y="14211"/>
                  </a:lnTo>
                  <a:lnTo>
                    <a:pt x="184655" y="229310"/>
                  </a:lnTo>
                  <a:lnTo>
                    <a:pt x="135253" y="229310"/>
                  </a:lnTo>
                  <a:lnTo>
                    <a:pt x="135253" y="139298"/>
                  </a:lnTo>
                  <a:lnTo>
                    <a:pt x="49022" y="139298"/>
                  </a:lnTo>
                  <a:lnTo>
                    <a:pt x="49022" y="229310"/>
                  </a:lnTo>
                  <a:lnTo>
                    <a:pt x="0" y="229310"/>
                  </a:lnTo>
                  <a:close/>
                  <a:moveTo>
                    <a:pt x="378834" y="11697"/>
                  </a:moveTo>
                  <a:lnTo>
                    <a:pt x="424935" y="11697"/>
                  </a:lnTo>
                  <a:lnTo>
                    <a:pt x="424935" y="229310"/>
                  </a:lnTo>
                  <a:lnTo>
                    <a:pt x="378834" y="229310"/>
                  </a:lnTo>
                  <a:close/>
                  <a:moveTo>
                    <a:pt x="299587" y="11697"/>
                  </a:moveTo>
                  <a:lnTo>
                    <a:pt x="345181" y="11697"/>
                  </a:lnTo>
                  <a:lnTo>
                    <a:pt x="345181" y="229310"/>
                  </a:lnTo>
                  <a:lnTo>
                    <a:pt x="299587" y="229310"/>
                  </a:lnTo>
                  <a:close/>
                  <a:moveTo>
                    <a:pt x="240651" y="5"/>
                  </a:moveTo>
                  <a:cubicBezTo>
                    <a:pt x="240993" y="-2"/>
                    <a:pt x="241335" y="-2"/>
                    <a:pt x="241677" y="5"/>
                  </a:cubicBezTo>
                  <a:cubicBezTo>
                    <a:pt x="256687" y="5"/>
                    <a:pt x="268855" y="12049"/>
                    <a:pt x="268855" y="26908"/>
                  </a:cubicBezTo>
                  <a:cubicBezTo>
                    <a:pt x="268855" y="41766"/>
                    <a:pt x="256687" y="53811"/>
                    <a:pt x="241677" y="53811"/>
                  </a:cubicBezTo>
                  <a:cubicBezTo>
                    <a:pt x="226949" y="54023"/>
                    <a:pt x="214835" y="42377"/>
                    <a:pt x="214621" y="27798"/>
                  </a:cubicBezTo>
                  <a:cubicBezTo>
                    <a:pt x="214616" y="27460"/>
                    <a:pt x="214617" y="27121"/>
                    <a:pt x="214626" y="26782"/>
                  </a:cubicBezTo>
                  <a:cubicBezTo>
                    <a:pt x="214342" y="12273"/>
                    <a:pt x="225994" y="285"/>
                    <a:pt x="240651" y="5"/>
                  </a:cubicBezTo>
                  <a:close/>
                </a:path>
              </a:pathLst>
            </a:custGeom>
            <a:solidFill>
              <a:srgbClr val="000839"/>
            </a:solidFill>
            <a:ln w="9525" cap="flat">
              <a:noFill/>
              <a:prstDash val="solid"/>
              <a:miter/>
            </a:ln>
          </p:spPr>
          <p:txBody>
            <a:bodyPr wrap="square" rtlCol="0" anchor="ctr">
              <a:noAutofit/>
            </a:bodyPr>
            <a:lstStyle/>
            <a:p>
              <a:endParaRPr lang="en-US"/>
            </a:p>
          </p:txBody>
        </p:sp>
      </p:grpSp>
      <p:sp>
        <p:nvSpPr>
          <p:cNvPr id="29" name="Date Placeholder 28">
            <a:extLst>
              <a:ext uri="{FF2B5EF4-FFF2-40B4-BE49-F238E27FC236}">
                <a16:creationId xmlns:a16="http://schemas.microsoft.com/office/drawing/2014/main" id="{3773F558-72F9-3249-B110-C7FCBFFFD680}"/>
              </a:ext>
            </a:extLst>
          </p:cNvPr>
          <p:cNvSpPr>
            <a:spLocks noGrp="1"/>
          </p:cNvSpPr>
          <p:nvPr>
            <p:ph type="dt" sz="half" idx="10"/>
          </p:nvPr>
        </p:nvSpPr>
        <p:spPr>
          <a:xfrm>
            <a:off x="7063992" y="2216660"/>
            <a:ext cx="2743200" cy="365125"/>
          </a:xfrm>
          <a:prstGeom prst="rect">
            <a:avLst/>
          </a:prstGeom>
        </p:spPr>
        <p:txBody>
          <a:bodyPr anchor="b"/>
          <a:lstStyle>
            <a:lvl1pPr>
              <a:defRPr sz="1100" b="0" cap="all" spc="20" baseline="0">
                <a:solidFill>
                  <a:schemeClr val="accent1"/>
                </a:solidFill>
                <a:latin typeface="+mn-lt"/>
              </a:defRPr>
            </a:lvl1pPr>
          </a:lstStyle>
          <a:p>
            <a:fld id="{F978891D-A1B2-4803-8CE5-704822140BC9}" type="datetimeFigureOut">
              <a:rPr lang="en-US" smtClean="0"/>
              <a:t>1/27/2021</a:t>
            </a:fld>
            <a:endParaRPr lang="en-US"/>
          </a:p>
        </p:txBody>
      </p:sp>
      <p:sp>
        <p:nvSpPr>
          <p:cNvPr id="26" name="Rectangle 25">
            <a:extLst>
              <a:ext uri="{FF2B5EF4-FFF2-40B4-BE49-F238E27FC236}">
                <a16:creationId xmlns:a16="http://schemas.microsoft.com/office/drawing/2014/main" id="{EF3AA683-5AE9-CA4F-B319-F94DBFC8B7C2}"/>
              </a:ext>
            </a:extLst>
          </p:cNvPr>
          <p:cNvSpPr/>
          <p:nvPr/>
        </p:nvSpPr>
        <p:spPr>
          <a:xfrm>
            <a:off x="6780786" y="1585321"/>
            <a:ext cx="4572000" cy="919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21710361"/>
      </p:ext>
    </p:extLst>
  </p:cSld>
  <p:clrMapOvr>
    <a:masterClrMapping/>
  </p:clrMapOvr>
  <p:extLst>
    <p:ext uri="{DCECCB84-F9BA-43D5-87BE-67443E8EF086}">
      <p15:sldGuideLst xmlns:p15="http://schemas.microsoft.com/office/powerpoint/2012/main">
        <p15:guide id="2" pos="3840">
          <p15:clr>
            <a:srgbClr val="FBAE4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Body - 3 Column / Subhead">
    <p:spTree>
      <p:nvGrpSpPr>
        <p:cNvPr id="1" name=""/>
        <p:cNvGrpSpPr/>
        <p:nvPr/>
      </p:nvGrpSpPr>
      <p:grpSpPr>
        <a:xfrm>
          <a:off x="0" y="0"/>
          <a:ext cx="0" cy="0"/>
          <a:chOff x="0" y="0"/>
          <a:chExt cx="0" cy="0"/>
        </a:xfrm>
      </p:grpSpPr>
      <p:sp>
        <p:nvSpPr>
          <p:cNvPr id="55" name="Footer Placeholder 54">
            <a:extLst>
              <a:ext uri="{FF2B5EF4-FFF2-40B4-BE49-F238E27FC236}">
                <a16:creationId xmlns:a16="http://schemas.microsoft.com/office/drawing/2014/main" id="{E89121F1-3C92-B744-A402-D281C8495D91}"/>
              </a:ext>
            </a:extLst>
          </p:cNvPr>
          <p:cNvSpPr>
            <a:spLocks noGrp="1"/>
          </p:cNvSpPr>
          <p:nvPr>
            <p:ph type="ftr" sz="quarter" idx="15"/>
          </p:nvPr>
        </p:nvSpPr>
        <p:spPr>
          <a:xfrm>
            <a:off x="1819551" y="6340392"/>
            <a:ext cx="4114800" cy="365125"/>
          </a:xfrm>
          <a:prstGeom prst="rect">
            <a:avLst/>
          </a:prstGeom>
        </p:spPr>
        <p:txBody>
          <a:bodyPr anchor="b" anchorCtr="0"/>
          <a:lstStyle>
            <a:lvl1pPr>
              <a:defRPr sz="700">
                <a:solidFill>
                  <a:schemeClr val="accent2"/>
                </a:solidFill>
              </a:defRPr>
            </a:lvl1pPr>
          </a:lstStyle>
          <a:p>
            <a:endParaRPr lang="en-US"/>
          </a:p>
        </p:txBody>
      </p:sp>
      <p:cxnSp>
        <p:nvCxnSpPr>
          <p:cNvPr id="6" name="Straight Connector 5">
            <a:extLst>
              <a:ext uri="{FF2B5EF4-FFF2-40B4-BE49-F238E27FC236}">
                <a16:creationId xmlns:a16="http://schemas.microsoft.com/office/drawing/2014/main" id="{9BB070AD-2FC2-7B49-AED1-6A554B21F296}"/>
              </a:ext>
            </a:extLst>
          </p:cNvPr>
          <p:cNvCxnSpPr>
            <a:cxnSpLocks/>
          </p:cNvCxnSpPr>
          <p:nvPr/>
        </p:nvCxnSpPr>
        <p:spPr>
          <a:xfrm>
            <a:off x="678700" y="2946400"/>
            <a:ext cx="327100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2B28E03-1376-E140-9703-57F6360FB134}"/>
              </a:ext>
            </a:extLst>
          </p:cNvPr>
          <p:cNvCxnSpPr>
            <a:cxnSpLocks/>
          </p:cNvCxnSpPr>
          <p:nvPr/>
        </p:nvCxnSpPr>
        <p:spPr>
          <a:xfrm>
            <a:off x="4323600" y="2946400"/>
            <a:ext cx="327100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C8E9F9E-4850-994D-99DC-B3CC40015F07}"/>
              </a:ext>
            </a:extLst>
          </p:cNvPr>
          <p:cNvCxnSpPr>
            <a:cxnSpLocks/>
          </p:cNvCxnSpPr>
          <p:nvPr/>
        </p:nvCxnSpPr>
        <p:spPr>
          <a:xfrm>
            <a:off x="7968500" y="2946400"/>
            <a:ext cx="327100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Slide Number Placeholder 5">
            <a:extLst>
              <a:ext uri="{FF2B5EF4-FFF2-40B4-BE49-F238E27FC236}">
                <a16:creationId xmlns:a16="http://schemas.microsoft.com/office/drawing/2014/main" id="{0E010BA0-1A38-0543-A413-4F5FFDA068D9}"/>
              </a:ext>
            </a:extLst>
          </p:cNvPr>
          <p:cNvSpPr>
            <a:spLocks noGrp="1"/>
          </p:cNvSpPr>
          <p:nvPr>
            <p:ph type="sldNum" sz="quarter" idx="4"/>
          </p:nvPr>
        </p:nvSpPr>
        <p:spPr>
          <a:xfrm>
            <a:off x="11537879" y="6325527"/>
            <a:ext cx="370726" cy="365125"/>
          </a:xfrm>
          <a:prstGeom prst="rect">
            <a:avLst/>
          </a:prstGeom>
        </p:spPr>
        <p:txBody>
          <a:bodyPr vert="horz" lIns="91440" tIns="45720" rIns="91440" bIns="45720" rtlCol="0" anchor="b"/>
          <a:lstStyle>
            <a:lvl1pPr algn="r">
              <a:defRPr sz="800" b="1" i="0">
                <a:solidFill>
                  <a:schemeClr val="tx1">
                    <a:tint val="75000"/>
                  </a:schemeClr>
                </a:solidFill>
                <a:latin typeface="+mj-lt"/>
              </a:defRPr>
            </a:lvl1pPr>
          </a:lstStyle>
          <a:p>
            <a:fld id="{EB3C441C-A16D-4531-8F9E-BFE4D57FBC82}" type="slidenum">
              <a:rPr lang="en-US" smtClean="0"/>
              <a:t>‹N°›</a:t>
            </a:fld>
            <a:endParaRPr lang="en-US"/>
          </a:p>
        </p:txBody>
      </p:sp>
      <p:sp>
        <p:nvSpPr>
          <p:cNvPr id="30" name="Text Placeholder 3">
            <a:extLst>
              <a:ext uri="{FF2B5EF4-FFF2-40B4-BE49-F238E27FC236}">
                <a16:creationId xmlns:a16="http://schemas.microsoft.com/office/drawing/2014/main" id="{CADC226E-B320-CE4A-8F3D-B11F6716D7A1}"/>
              </a:ext>
            </a:extLst>
          </p:cNvPr>
          <p:cNvSpPr>
            <a:spLocks noGrp="1"/>
          </p:cNvSpPr>
          <p:nvPr>
            <p:ph type="body" sz="quarter" idx="13"/>
          </p:nvPr>
        </p:nvSpPr>
        <p:spPr>
          <a:xfrm>
            <a:off x="688350" y="498222"/>
            <a:ext cx="1997663" cy="244682"/>
          </a:xfrm>
          <a:prstGeom prst="rect">
            <a:avLst/>
          </a:prstGeom>
          <a:solidFill>
            <a:schemeClr val="accent1"/>
          </a:solidFill>
          <a:ln>
            <a:noFill/>
          </a:ln>
        </p:spPr>
        <p:txBody>
          <a:bodyPr wrap="none" anchor="ctr">
            <a:spAutoFit/>
          </a:bodyPr>
          <a:lstStyle>
            <a:lvl1pPr marL="0" indent="0">
              <a:buNone/>
              <a:defRPr sz="1100" b="1" cap="all" spc="50" baseline="0">
                <a:solidFill>
                  <a:schemeClr val="bg1"/>
                </a:solidFill>
                <a:latin typeface="+mj-lt"/>
              </a:defRPr>
            </a:lvl1pPr>
          </a:lstStyle>
          <a:p>
            <a:pPr lvl="0"/>
            <a:r>
              <a:rPr lang="en-US"/>
              <a:t>Edit Master text styles</a:t>
            </a:r>
          </a:p>
        </p:txBody>
      </p:sp>
      <p:sp>
        <p:nvSpPr>
          <p:cNvPr id="29" name="Subtitle 2">
            <a:extLst>
              <a:ext uri="{FF2B5EF4-FFF2-40B4-BE49-F238E27FC236}">
                <a16:creationId xmlns:a16="http://schemas.microsoft.com/office/drawing/2014/main" id="{0D750F28-482F-ED4C-BE00-7380914F7280}"/>
              </a:ext>
            </a:extLst>
          </p:cNvPr>
          <p:cNvSpPr>
            <a:spLocks noGrp="1"/>
          </p:cNvSpPr>
          <p:nvPr>
            <p:ph type="subTitle" idx="1"/>
          </p:nvPr>
        </p:nvSpPr>
        <p:spPr>
          <a:xfrm>
            <a:off x="594811" y="2075959"/>
            <a:ext cx="5338335" cy="380487"/>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lang="en-US" sz="1600" b="1" i="0" kern="1200" cap="all" spc="50" baseline="0" dirty="0">
                <a:solidFill>
                  <a:schemeClr val="accent1"/>
                </a:solidFill>
                <a:latin typeface="+mj-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0" name="Title 8">
            <a:extLst>
              <a:ext uri="{FF2B5EF4-FFF2-40B4-BE49-F238E27FC236}">
                <a16:creationId xmlns:a16="http://schemas.microsoft.com/office/drawing/2014/main" id="{65CEEA1A-E44D-BC4B-8938-4C47812C3523}"/>
              </a:ext>
            </a:extLst>
          </p:cNvPr>
          <p:cNvSpPr>
            <a:spLocks noGrp="1"/>
          </p:cNvSpPr>
          <p:nvPr>
            <p:ph type="title"/>
          </p:nvPr>
        </p:nvSpPr>
        <p:spPr>
          <a:xfrm>
            <a:off x="594811" y="914504"/>
            <a:ext cx="5338335" cy="1099898"/>
          </a:xfrm>
          <a:prstGeom prst="rect">
            <a:avLst/>
          </a:prstGeom>
        </p:spPr>
        <p:txBody>
          <a:bodyPr/>
          <a:lstStyle>
            <a:lvl1pPr marL="0" algn="l" defTabSz="914400" rtl="0" eaLnBrk="1" latinLnBrk="0" hangingPunct="1">
              <a:lnSpc>
                <a:spcPct val="90000"/>
              </a:lnSpc>
              <a:spcBef>
                <a:spcPct val="0"/>
              </a:spcBef>
              <a:buNone/>
              <a:defRPr lang="en-US" sz="3200" b="1" i="0" kern="1200" cap="none" spc="0" baseline="0" dirty="0">
                <a:solidFill>
                  <a:schemeClr val="tx1"/>
                </a:solidFill>
                <a:latin typeface="+mj-lt"/>
                <a:ea typeface="+mj-ea"/>
                <a:cs typeface="+mj-cs"/>
              </a:defRPr>
            </a:lvl1pPr>
          </a:lstStyle>
          <a:p>
            <a:r>
              <a:rPr lang="en-US"/>
              <a:t>Click to edit Master title style</a:t>
            </a:r>
          </a:p>
        </p:txBody>
      </p:sp>
      <p:sp>
        <p:nvSpPr>
          <p:cNvPr id="52" name="Content Placeholder 49">
            <a:extLst>
              <a:ext uri="{FF2B5EF4-FFF2-40B4-BE49-F238E27FC236}">
                <a16:creationId xmlns:a16="http://schemas.microsoft.com/office/drawing/2014/main" id="{A0E41DD2-844C-154D-812E-6B27B030DD5C}"/>
              </a:ext>
            </a:extLst>
          </p:cNvPr>
          <p:cNvSpPr>
            <a:spLocks noGrp="1"/>
          </p:cNvSpPr>
          <p:nvPr>
            <p:ph sz="quarter" idx="16"/>
          </p:nvPr>
        </p:nvSpPr>
        <p:spPr>
          <a:xfrm>
            <a:off x="629203" y="3009718"/>
            <a:ext cx="3320498" cy="2949672"/>
          </a:xfrm>
          <a:prstGeom prst="rect">
            <a:avLst/>
          </a:prstGeom>
        </p:spPr>
        <p:txBody>
          <a:bodyPr/>
          <a:lstStyle>
            <a:lvl1pPr marL="0" indent="0">
              <a:lnSpc>
                <a:spcPct val="125000"/>
              </a:lnSpc>
              <a:spcBef>
                <a:spcPts val="0"/>
              </a:spcBef>
              <a:buNone/>
              <a:defRPr sz="1400"/>
            </a:lvl1pPr>
            <a:lvl2pPr marL="11113" indent="0">
              <a:lnSpc>
                <a:spcPct val="110000"/>
              </a:lnSpc>
              <a:spcBef>
                <a:spcPts val="0"/>
              </a:spcBef>
              <a:buNone/>
              <a:tabLst/>
              <a:defRPr sz="1400"/>
            </a:lvl2pPr>
            <a:lvl3pPr marL="230188" indent="-219075">
              <a:lnSpc>
                <a:spcPct val="110000"/>
              </a:lnSpc>
              <a:spcBef>
                <a:spcPts val="0"/>
              </a:spcBef>
              <a:spcAft>
                <a:spcPts val="0"/>
              </a:spcAft>
              <a:buFont typeface="System Font Regular"/>
              <a:buChar char="–"/>
              <a:tabLst/>
              <a:defRPr sz="1400"/>
            </a:lvl3pPr>
            <a:lvl4pPr marL="342900" indent="-176213">
              <a:lnSpc>
                <a:spcPct val="110000"/>
              </a:lnSpc>
              <a:spcBef>
                <a:spcPts val="0"/>
              </a:spcBef>
              <a:buFont typeface="System Font Regular"/>
              <a:buChar char="+"/>
              <a:tabLst/>
              <a:defRPr sz="1400"/>
            </a:lvl4pPr>
            <a:lvl5pPr marL="574675" indent="-176213">
              <a:lnSpc>
                <a:spcPct val="110000"/>
              </a:lnSpc>
              <a:spcBef>
                <a:spcPts val="0"/>
              </a:spcBef>
              <a:buFont typeface="System Font Regular"/>
              <a:buChar char="–"/>
              <a:tabLst/>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Content Placeholder 49">
            <a:extLst>
              <a:ext uri="{FF2B5EF4-FFF2-40B4-BE49-F238E27FC236}">
                <a16:creationId xmlns:a16="http://schemas.microsoft.com/office/drawing/2014/main" id="{58F2AC6E-BF92-644E-BFAA-0F8095599D2A}"/>
              </a:ext>
            </a:extLst>
          </p:cNvPr>
          <p:cNvSpPr>
            <a:spLocks noGrp="1"/>
          </p:cNvSpPr>
          <p:nvPr>
            <p:ph sz="quarter" idx="22"/>
          </p:nvPr>
        </p:nvSpPr>
        <p:spPr>
          <a:xfrm>
            <a:off x="4277659" y="3009718"/>
            <a:ext cx="3320498" cy="2949672"/>
          </a:xfrm>
          <a:prstGeom prst="rect">
            <a:avLst/>
          </a:prstGeom>
        </p:spPr>
        <p:txBody>
          <a:bodyPr/>
          <a:lstStyle>
            <a:lvl1pPr marL="0" indent="0">
              <a:lnSpc>
                <a:spcPct val="125000"/>
              </a:lnSpc>
              <a:spcBef>
                <a:spcPts val="0"/>
              </a:spcBef>
              <a:buNone/>
              <a:defRPr sz="1400"/>
            </a:lvl1pPr>
            <a:lvl2pPr marL="11113" indent="0">
              <a:lnSpc>
                <a:spcPct val="110000"/>
              </a:lnSpc>
              <a:spcBef>
                <a:spcPts val="0"/>
              </a:spcBef>
              <a:buNone/>
              <a:tabLst/>
              <a:defRPr sz="1400"/>
            </a:lvl2pPr>
            <a:lvl3pPr marL="230188" indent="-219075">
              <a:lnSpc>
                <a:spcPct val="110000"/>
              </a:lnSpc>
              <a:spcBef>
                <a:spcPts val="0"/>
              </a:spcBef>
              <a:spcAft>
                <a:spcPts val="0"/>
              </a:spcAft>
              <a:buFont typeface="System Font Regular"/>
              <a:buChar char="–"/>
              <a:tabLst/>
              <a:defRPr sz="1400"/>
            </a:lvl3pPr>
            <a:lvl4pPr marL="342900" indent="-176213">
              <a:lnSpc>
                <a:spcPct val="110000"/>
              </a:lnSpc>
              <a:spcBef>
                <a:spcPts val="0"/>
              </a:spcBef>
              <a:buFont typeface="System Font Regular"/>
              <a:buChar char="+"/>
              <a:tabLst/>
              <a:defRPr sz="1400"/>
            </a:lvl4pPr>
            <a:lvl5pPr marL="574675" indent="-176213">
              <a:lnSpc>
                <a:spcPct val="110000"/>
              </a:lnSpc>
              <a:spcBef>
                <a:spcPts val="0"/>
              </a:spcBef>
              <a:buFont typeface="System Font Regular"/>
              <a:buChar char="–"/>
              <a:tabLst/>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7" name="Content Placeholder 49">
            <a:extLst>
              <a:ext uri="{FF2B5EF4-FFF2-40B4-BE49-F238E27FC236}">
                <a16:creationId xmlns:a16="http://schemas.microsoft.com/office/drawing/2014/main" id="{CB4C98CC-DFC3-CF40-A42D-5ED200983203}"/>
              </a:ext>
            </a:extLst>
          </p:cNvPr>
          <p:cNvSpPr>
            <a:spLocks noGrp="1"/>
          </p:cNvSpPr>
          <p:nvPr>
            <p:ph sz="quarter" idx="23"/>
          </p:nvPr>
        </p:nvSpPr>
        <p:spPr>
          <a:xfrm>
            <a:off x="7926115" y="3009718"/>
            <a:ext cx="3320498" cy="2949672"/>
          </a:xfrm>
          <a:prstGeom prst="rect">
            <a:avLst/>
          </a:prstGeom>
        </p:spPr>
        <p:txBody>
          <a:bodyPr/>
          <a:lstStyle>
            <a:lvl1pPr marL="0" indent="0">
              <a:lnSpc>
                <a:spcPct val="125000"/>
              </a:lnSpc>
              <a:spcBef>
                <a:spcPts val="0"/>
              </a:spcBef>
              <a:buNone/>
              <a:defRPr sz="1400"/>
            </a:lvl1pPr>
            <a:lvl2pPr marL="11113" indent="0">
              <a:lnSpc>
                <a:spcPct val="110000"/>
              </a:lnSpc>
              <a:spcBef>
                <a:spcPts val="0"/>
              </a:spcBef>
              <a:buNone/>
              <a:tabLst/>
              <a:defRPr sz="1400"/>
            </a:lvl2pPr>
            <a:lvl3pPr marL="230188" indent="-219075">
              <a:lnSpc>
                <a:spcPct val="110000"/>
              </a:lnSpc>
              <a:spcBef>
                <a:spcPts val="0"/>
              </a:spcBef>
              <a:spcAft>
                <a:spcPts val="0"/>
              </a:spcAft>
              <a:buFont typeface="System Font Regular"/>
              <a:buChar char="–"/>
              <a:tabLst/>
              <a:defRPr sz="1400"/>
            </a:lvl3pPr>
            <a:lvl4pPr marL="342900" indent="-176213">
              <a:lnSpc>
                <a:spcPct val="110000"/>
              </a:lnSpc>
              <a:spcBef>
                <a:spcPts val="0"/>
              </a:spcBef>
              <a:buFont typeface="System Font Regular"/>
              <a:buChar char="+"/>
              <a:tabLst/>
              <a:defRPr sz="1400"/>
            </a:lvl4pPr>
            <a:lvl5pPr marL="574675" indent="-176213">
              <a:lnSpc>
                <a:spcPct val="110000"/>
              </a:lnSpc>
              <a:spcBef>
                <a:spcPts val="0"/>
              </a:spcBef>
              <a:buFont typeface="System Font Regular"/>
              <a:buChar char="–"/>
              <a:tabLst/>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8" name="Group 57">
            <a:extLst>
              <a:ext uri="{FF2B5EF4-FFF2-40B4-BE49-F238E27FC236}">
                <a16:creationId xmlns:a16="http://schemas.microsoft.com/office/drawing/2014/main" id="{83C84DD9-30B2-BD46-BBE4-47B9D7EF19E2}"/>
              </a:ext>
            </a:extLst>
          </p:cNvPr>
          <p:cNvGrpSpPr/>
          <p:nvPr/>
        </p:nvGrpSpPr>
        <p:grpSpPr>
          <a:xfrm>
            <a:off x="3047" y="6305605"/>
            <a:ext cx="1254409" cy="552395"/>
            <a:chOff x="3047" y="6305605"/>
            <a:chExt cx="1254409" cy="552395"/>
          </a:xfrm>
        </p:grpSpPr>
        <p:grpSp>
          <p:nvGrpSpPr>
            <p:cNvPr id="59" name="Group 58">
              <a:extLst>
                <a:ext uri="{FF2B5EF4-FFF2-40B4-BE49-F238E27FC236}">
                  <a16:creationId xmlns:a16="http://schemas.microsoft.com/office/drawing/2014/main" id="{71C68CD7-3A06-A44E-9674-4BEDB3124AFB}"/>
                </a:ext>
              </a:extLst>
            </p:cNvPr>
            <p:cNvGrpSpPr/>
            <p:nvPr/>
          </p:nvGrpSpPr>
          <p:grpSpPr>
            <a:xfrm>
              <a:off x="3047" y="6305605"/>
              <a:ext cx="551693" cy="552395"/>
              <a:chOff x="3047" y="6305605"/>
              <a:chExt cx="551693" cy="552395"/>
            </a:xfrm>
          </p:grpSpPr>
          <p:sp>
            <p:nvSpPr>
              <p:cNvPr id="61" name="Rectangle 60">
                <a:extLst>
                  <a:ext uri="{FF2B5EF4-FFF2-40B4-BE49-F238E27FC236}">
                    <a16:creationId xmlns:a16="http://schemas.microsoft.com/office/drawing/2014/main" id="{2CAF5FF7-8543-524C-843C-010AC905D288}"/>
                  </a:ext>
                </a:extLst>
              </p:cNvPr>
              <p:cNvSpPr/>
              <p:nvPr/>
            </p:nvSpPr>
            <p:spPr>
              <a:xfrm>
                <a:off x="3047" y="6305605"/>
                <a:ext cx="551693" cy="552395"/>
              </a:xfrm>
              <a:prstGeom prst="rect">
                <a:avLst/>
              </a:prstGeom>
              <a:solidFill>
                <a:srgbClr val="5369E4"/>
              </a:solidFill>
              <a:ln w="9525" cap="flat">
                <a:noFill/>
                <a:prstDash val="solid"/>
                <a:miter/>
              </a:ln>
            </p:spPr>
            <p:txBody>
              <a:bodyPr rtlCol="0" anchor="ctr"/>
              <a:lstStyle/>
              <a:p>
                <a:endParaRPr lang="en-US"/>
              </a:p>
            </p:txBody>
          </p:sp>
          <p:sp>
            <p:nvSpPr>
              <p:cNvPr id="62" name="Freeform 61">
                <a:extLst>
                  <a:ext uri="{FF2B5EF4-FFF2-40B4-BE49-F238E27FC236}">
                    <a16:creationId xmlns:a16="http://schemas.microsoft.com/office/drawing/2014/main" id="{9F380364-633F-D944-B1F3-D2A3DBE6A6DF}"/>
                  </a:ext>
                </a:extLst>
              </p:cNvPr>
              <p:cNvSpPr/>
              <p:nvPr/>
            </p:nvSpPr>
            <p:spPr>
              <a:xfrm>
                <a:off x="173577" y="6501753"/>
                <a:ext cx="279408" cy="175345"/>
              </a:xfrm>
              <a:custGeom>
                <a:avLst/>
                <a:gdLst>
                  <a:gd name="connsiteX0" fmla="*/ 102941 w 279408"/>
                  <a:gd name="connsiteY0" fmla="*/ 59439 h 175345"/>
                  <a:gd name="connsiteX1" fmla="*/ 132352 w 279408"/>
                  <a:gd name="connsiteY1" fmla="*/ 88384 h 175345"/>
                  <a:gd name="connsiteX2" fmla="*/ 102941 w 279408"/>
                  <a:gd name="connsiteY2" fmla="*/ 117329 h 175345"/>
                  <a:gd name="connsiteX3" fmla="*/ 73528 w 279408"/>
                  <a:gd name="connsiteY3" fmla="*/ 88384 h 175345"/>
                  <a:gd name="connsiteX4" fmla="*/ 102941 w 279408"/>
                  <a:gd name="connsiteY4" fmla="*/ 59439 h 175345"/>
                  <a:gd name="connsiteX5" fmla="*/ 147056 w 279408"/>
                  <a:gd name="connsiteY5" fmla="*/ 1809 h 175345"/>
                  <a:gd name="connsiteX6" fmla="*/ 205880 w 279408"/>
                  <a:gd name="connsiteY6" fmla="*/ 1809 h 175345"/>
                  <a:gd name="connsiteX7" fmla="*/ 205880 w 279408"/>
                  <a:gd name="connsiteY7" fmla="*/ 59698 h 175345"/>
                  <a:gd name="connsiteX8" fmla="*/ 205880 w 279408"/>
                  <a:gd name="connsiteY8" fmla="*/ 117457 h 175345"/>
                  <a:gd name="connsiteX9" fmla="*/ 205880 w 279408"/>
                  <a:gd name="connsiteY9" fmla="*/ 175345 h 175345"/>
                  <a:gd name="connsiteX10" fmla="*/ 147056 w 279408"/>
                  <a:gd name="connsiteY10" fmla="*/ 175345 h 175345"/>
                  <a:gd name="connsiteX11" fmla="*/ 147056 w 279408"/>
                  <a:gd name="connsiteY11" fmla="*/ 117457 h 175345"/>
                  <a:gd name="connsiteX12" fmla="*/ 147056 w 279408"/>
                  <a:gd name="connsiteY12" fmla="*/ 59698 h 175345"/>
                  <a:gd name="connsiteX13" fmla="*/ 0 w 279408"/>
                  <a:gd name="connsiteY13" fmla="*/ 1809 h 175345"/>
                  <a:gd name="connsiteX14" fmla="*/ 58824 w 279408"/>
                  <a:gd name="connsiteY14" fmla="*/ 1809 h 175345"/>
                  <a:gd name="connsiteX15" fmla="*/ 58824 w 279408"/>
                  <a:gd name="connsiteY15" fmla="*/ 59698 h 175345"/>
                  <a:gd name="connsiteX16" fmla="*/ 58824 w 279408"/>
                  <a:gd name="connsiteY16" fmla="*/ 117457 h 175345"/>
                  <a:gd name="connsiteX17" fmla="*/ 58824 w 279408"/>
                  <a:gd name="connsiteY17" fmla="*/ 175345 h 175345"/>
                  <a:gd name="connsiteX18" fmla="*/ 0 w 279408"/>
                  <a:gd name="connsiteY18" fmla="*/ 175345 h 175345"/>
                  <a:gd name="connsiteX19" fmla="*/ 0 w 279408"/>
                  <a:gd name="connsiteY19" fmla="*/ 117457 h 175345"/>
                  <a:gd name="connsiteX20" fmla="*/ 0 w 279408"/>
                  <a:gd name="connsiteY20" fmla="*/ 59698 h 175345"/>
                  <a:gd name="connsiteX21" fmla="*/ 249997 w 279408"/>
                  <a:gd name="connsiteY21" fmla="*/ 0 h 175345"/>
                  <a:gd name="connsiteX22" fmla="*/ 279408 w 279408"/>
                  <a:gd name="connsiteY22" fmla="*/ 28945 h 175345"/>
                  <a:gd name="connsiteX23" fmla="*/ 249997 w 279408"/>
                  <a:gd name="connsiteY23" fmla="*/ 57890 h 175345"/>
                  <a:gd name="connsiteX24" fmla="*/ 220584 w 279408"/>
                  <a:gd name="connsiteY24" fmla="*/ 28945 h 175345"/>
                  <a:gd name="connsiteX25" fmla="*/ 249997 w 279408"/>
                  <a:gd name="connsiteY25" fmla="*/ 0 h 175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79408" h="175345">
                    <a:moveTo>
                      <a:pt x="102941" y="59439"/>
                    </a:moveTo>
                    <a:cubicBezTo>
                      <a:pt x="119184" y="59439"/>
                      <a:pt x="132352" y="72399"/>
                      <a:pt x="132352" y="88384"/>
                    </a:cubicBezTo>
                    <a:cubicBezTo>
                      <a:pt x="132352" y="104370"/>
                      <a:pt x="119184" y="117329"/>
                      <a:pt x="102941" y="117329"/>
                    </a:cubicBezTo>
                    <a:cubicBezTo>
                      <a:pt x="86696" y="117329"/>
                      <a:pt x="73528" y="104370"/>
                      <a:pt x="73528" y="88384"/>
                    </a:cubicBezTo>
                    <a:cubicBezTo>
                      <a:pt x="73528" y="72399"/>
                      <a:pt x="86696" y="59439"/>
                      <a:pt x="102941" y="59439"/>
                    </a:cubicBezTo>
                    <a:close/>
                    <a:moveTo>
                      <a:pt x="147056" y="1809"/>
                    </a:moveTo>
                    <a:lnTo>
                      <a:pt x="205880" y="1809"/>
                    </a:lnTo>
                    <a:lnTo>
                      <a:pt x="205880" y="59698"/>
                    </a:lnTo>
                    <a:lnTo>
                      <a:pt x="205880" y="117457"/>
                    </a:lnTo>
                    <a:lnTo>
                      <a:pt x="205880" y="175345"/>
                    </a:lnTo>
                    <a:lnTo>
                      <a:pt x="147056" y="175345"/>
                    </a:lnTo>
                    <a:lnTo>
                      <a:pt x="147056" y="117457"/>
                    </a:lnTo>
                    <a:lnTo>
                      <a:pt x="147056" y="59698"/>
                    </a:lnTo>
                    <a:close/>
                    <a:moveTo>
                      <a:pt x="0" y="1809"/>
                    </a:moveTo>
                    <a:lnTo>
                      <a:pt x="58824" y="1809"/>
                    </a:lnTo>
                    <a:lnTo>
                      <a:pt x="58824" y="59698"/>
                    </a:lnTo>
                    <a:lnTo>
                      <a:pt x="58824" y="117457"/>
                    </a:lnTo>
                    <a:lnTo>
                      <a:pt x="58824" y="175345"/>
                    </a:lnTo>
                    <a:lnTo>
                      <a:pt x="0" y="175345"/>
                    </a:lnTo>
                    <a:lnTo>
                      <a:pt x="0" y="117457"/>
                    </a:lnTo>
                    <a:lnTo>
                      <a:pt x="0" y="59698"/>
                    </a:lnTo>
                    <a:close/>
                    <a:moveTo>
                      <a:pt x="249997" y="0"/>
                    </a:moveTo>
                    <a:cubicBezTo>
                      <a:pt x="266240" y="0"/>
                      <a:pt x="279408" y="12960"/>
                      <a:pt x="279408" y="28945"/>
                    </a:cubicBezTo>
                    <a:cubicBezTo>
                      <a:pt x="279408" y="44931"/>
                      <a:pt x="266240" y="57890"/>
                      <a:pt x="249997" y="57890"/>
                    </a:cubicBezTo>
                    <a:cubicBezTo>
                      <a:pt x="233752" y="57890"/>
                      <a:pt x="220584" y="44931"/>
                      <a:pt x="220584" y="28945"/>
                    </a:cubicBezTo>
                    <a:cubicBezTo>
                      <a:pt x="220584" y="12960"/>
                      <a:pt x="233752" y="0"/>
                      <a:pt x="249997" y="0"/>
                    </a:cubicBezTo>
                    <a:close/>
                  </a:path>
                </a:pathLst>
              </a:custGeom>
              <a:solidFill>
                <a:srgbClr val="FFFFFF"/>
              </a:solidFill>
              <a:ln w="9525" cap="flat">
                <a:noFill/>
                <a:prstDash val="solid"/>
                <a:miter/>
              </a:ln>
            </p:spPr>
            <p:txBody>
              <a:bodyPr wrap="square" rtlCol="0" anchor="ctr">
                <a:noAutofit/>
              </a:bodyPr>
              <a:lstStyle/>
              <a:p>
                <a:endParaRPr lang="en-US"/>
              </a:p>
            </p:txBody>
          </p:sp>
        </p:grpSp>
        <p:sp>
          <p:nvSpPr>
            <p:cNvPr id="60" name="Freeform 59">
              <a:extLst>
                <a:ext uri="{FF2B5EF4-FFF2-40B4-BE49-F238E27FC236}">
                  <a16:creationId xmlns:a16="http://schemas.microsoft.com/office/drawing/2014/main" id="{BAB51C79-9228-7D47-BB35-97BB22B08671}"/>
                </a:ext>
              </a:extLst>
            </p:cNvPr>
            <p:cNvSpPr/>
            <p:nvPr/>
          </p:nvSpPr>
          <p:spPr>
            <a:xfrm>
              <a:off x="701664" y="6524947"/>
              <a:ext cx="555792" cy="129021"/>
            </a:xfrm>
            <a:custGeom>
              <a:avLst/>
              <a:gdLst>
                <a:gd name="connsiteX0" fmla="*/ 364489 w 555792"/>
                <a:gd name="connsiteY0" fmla="*/ 61830 h 129021"/>
                <a:gd name="connsiteX1" fmla="*/ 343312 w 555792"/>
                <a:gd name="connsiteY1" fmla="*/ 82670 h 129021"/>
                <a:gd name="connsiteX2" fmla="*/ 364489 w 555792"/>
                <a:gd name="connsiteY2" fmla="*/ 106926 h 129021"/>
                <a:gd name="connsiteX3" fmla="*/ 367960 w 555792"/>
                <a:gd name="connsiteY3" fmla="*/ 106926 h 129021"/>
                <a:gd name="connsiteX4" fmla="*/ 389136 w 555792"/>
                <a:gd name="connsiteY4" fmla="*/ 82670 h 129021"/>
                <a:gd name="connsiteX5" fmla="*/ 364489 w 555792"/>
                <a:gd name="connsiteY5" fmla="*/ 61830 h 129021"/>
                <a:gd name="connsiteX6" fmla="*/ 255246 w 555792"/>
                <a:gd name="connsiteY6" fmla="*/ 41285 h 129021"/>
                <a:gd name="connsiteX7" fmla="*/ 280588 w 555792"/>
                <a:gd name="connsiteY7" fmla="*/ 41285 h 129021"/>
                <a:gd name="connsiteX8" fmla="*/ 280588 w 555792"/>
                <a:gd name="connsiteY8" fmla="*/ 126955 h 129021"/>
                <a:gd name="connsiteX9" fmla="*/ 255246 w 555792"/>
                <a:gd name="connsiteY9" fmla="*/ 126955 h 129021"/>
                <a:gd name="connsiteX10" fmla="*/ 121846 w 555792"/>
                <a:gd name="connsiteY10" fmla="*/ 40770 h 129021"/>
                <a:gd name="connsiteX11" fmla="*/ 147188 w 555792"/>
                <a:gd name="connsiteY11" fmla="*/ 40770 h 129021"/>
                <a:gd name="connsiteX12" fmla="*/ 147188 w 555792"/>
                <a:gd name="connsiteY12" fmla="*/ 126439 h 129021"/>
                <a:gd name="connsiteX13" fmla="*/ 121846 w 555792"/>
                <a:gd name="connsiteY13" fmla="*/ 126439 h 129021"/>
                <a:gd name="connsiteX14" fmla="*/ 301329 w 555792"/>
                <a:gd name="connsiteY14" fmla="*/ 40638 h 129021"/>
                <a:gd name="connsiteX15" fmla="*/ 301859 w 555792"/>
                <a:gd name="connsiteY15" fmla="*/ 40638 h 129021"/>
                <a:gd name="connsiteX16" fmla="*/ 316958 w 555792"/>
                <a:gd name="connsiteY16" fmla="*/ 55499 h 129021"/>
                <a:gd name="connsiteX17" fmla="*/ 301859 w 555792"/>
                <a:gd name="connsiteY17" fmla="*/ 70359 h 129021"/>
                <a:gd name="connsiteX18" fmla="*/ 286885 w 555792"/>
                <a:gd name="connsiteY18" fmla="*/ 55893 h 129021"/>
                <a:gd name="connsiteX19" fmla="*/ 286890 w 555792"/>
                <a:gd name="connsiteY19" fmla="*/ 55370 h 129021"/>
                <a:gd name="connsiteX20" fmla="*/ 301329 w 555792"/>
                <a:gd name="connsiteY20" fmla="*/ 40638 h 129021"/>
                <a:gd name="connsiteX21" fmla="*/ 468871 w 555792"/>
                <a:gd name="connsiteY21" fmla="*/ 39863 h 129021"/>
                <a:gd name="connsiteX22" fmla="*/ 495131 w 555792"/>
                <a:gd name="connsiteY22" fmla="*/ 55240 h 129021"/>
                <a:gd name="connsiteX23" fmla="*/ 524542 w 555792"/>
                <a:gd name="connsiteY23" fmla="*/ 39863 h 129021"/>
                <a:gd name="connsiteX24" fmla="*/ 555716 w 555792"/>
                <a:gd name="connsiteY24" fmla="*/ 66406 h 129021"/>
                <a:gd name="connsiteX25" fmla="*/ 555792 w 555792"/>
                <a:gd name="connsiteY25" fmla="*/ 68678 h 129021"/>
                <a:gd name="connsiteX26" fmla="*/ 555792 w 555792"/>
                <a:gd name="connsiteY26" fmla="*/ 126954 h 129021"/>
                <a:gd name="connsiteX27" fmla="*/ 530582 w 555792"/>
                <a:gd name="connsiteY27" fmla="*/ 126954 h 129021"/>
                <a:gd name="connsiteX28" fmla="*/ 530582 w 555792"/>
                <a:gd name="connsiteY28" fmla="*/ 75914 h 129021"/>
                <a:gd name="connsiteX29" fmla="*/ 519946 w 555792"/>
                <a:gd name="connsiteY29" fmla="*/ 60936 h 129021"/>
                <a:gd name="connsiteX30" fmla="*/ 516402 w 555792"/>
                <a:gd name="connsiteY30" fmla="*/ 60796 h 129021"/>
                <a:gd name="connsiteX31" fmla="*/ 499858 w 555792"/>
                <a:gd name="connsiteY31" fmla="*/ 83150 h 129021"/>
                <a:gd name="connsiteX32" fmla="*/ 499858 w 555792"/>
                <a:gd name="connsiteY32" fmla="*/ 126954 h 129021"/>
                <a:gd name="connsiteX33" fmla="*/ 474780 w 555792"/>
                <a:gd name="connsiteY33" fmla="*/ 126954 h 129021"/>
                <a:gd name="connsiteX34" fmla="*/ 474780 w 555792"/>
                <a:gd name="connsiteY34" fmla="*/ 75914 h 129021"/>
                <a:gd name="connsiteX35" fmla="*/ 464116 w 555792"/>
                <a:gd name="connsiteY35" fmla="*/ 60954 h 129021"/>
                <a:gd name="connsiteX36" fmla="*/ 460862 w 555792"/>
                <a:gd name="connsiteY36" fmla="*/ 60796 h 129021"/>
                <a:gd name="connsiteX37" fmla="*/ 444318 w 555792"/>
                <a:gd name="connsiteY37" fmla="*/ 83150 h 129021"/>
                <a:gd name="connsiteX38" fmla="*/ 444318 w 555792"/>
                <a:gd name="connsiteY38" fmla="*/ 126954 h 129021"/>
                <a:gd name="connsiteX39" fmla="*/ 418977 w 555792"/>
                <a:gd name="connsiteY39" fmla="*/ 126954 h 129021"/>
                <a:gd name="connsiteX40" fmla="*/ 418977 w 555792"/>
                <a:gd name="connsiteY40" fmla="*/ 41285 h 129021"/>
                <a:gd name="connsiteX41" fmla="*/ 444318 w 555792"/>
                <a:gd name="connsiteY41" fmla="*/ 41285 h 129021"/>
                <a:gd name="connsiteX42" fmla="*/ 444318 w 555792"/>
                <a:gd name="connsiteY42" fmla="*/ 52785 h 129021"/>
                <a:gd name="connsiteX43" fmla="*/ 468871 w 555792"/>
                <a:gd name="connsiteY43" fmla="*/ 39863 h 129021"/>
                <a:gd name="connsiteX44" fmla="*/ 364489 w 555792"/>
                <a:gd name="connsiteY44" fmla="*/ 39863 h 129021"/>
                <a:gd name="connsiteX45" fmla="*/ 409656 w 555792"/>
                <a:gd name="connsiteY45" fmla="*/ 84443 h 129021"/>
                <a:gd name="connsiteX46" fmla="*/ 409656 w 555792"/>
                <a:gd name="connsiteY46" fmla="*/ 84572 h 129021"/>
                <a:gd name="connsiteX47" fmla="*/ 364227 w 555792"/>
                <a:gd name="connsiteY47" fmla="*/ 129021 h 129021"/>
                <a:gd name="connsiteX48" fmla="*/ 319059 w 555792"/>
                <a:gd name="connsiteY48" fmla="*/ 84313 h 129021"/>
                <a:gd name="connsiteX49" fmla="*/ 364489 w 555792"/>
                <a:gd name="connsiteY49" fmla="*/ 39863 h 129021"/>
                <a:gd name="connsiteX50" fmla="*/ 0 w 555792"/>
                <a:gd name="connsiteY50" fmla="*/ 7947 h 129021"/>
                <a:gd name="connsiteX51" fmla="*/ 27179 w 555792"/>
                <a:gd name="connsiteY51" fmla="*/ 7947 h 129021"/>
                <a:gd name="connsiteX52" fmla="*/ 27179 w 555792"/>
                <a:gd name="connsiteY52" fmla="*/ 54206 h 129021"/>
                <a:gd name="connsiteX53" fmla="*/ 75236 w 555792"/>
                <a:gd name="connsiteY53" fmla="*/ 54206 h 129021"/>
                <a:gd name="connsiteX54" fmla="*/ 75236 w 555792"/>
                <a:gd name="connsiteY54" fmla="*/ 7947 h 129021"/>
                <a:gd name="connsiteX55" fmla="*/ 102678 w 555792"/>
                <a:gd name="connsiteY55" fmla="*/ 7947 h 129021"/>
                <a:gd name="connsiteX56" fmla="*/ 102678 w 555792"/>
                <a:gd name="connsiteY56" fmla="*/ 126954 h 129021"/>
                <a:gd name="connsiteX57" fmla="*/ 75236 w 555792"/>
                <a:gd name="connsiteY57" fmla="*/ 126954 h 129021"/>
                <a:gd name="connsiteX58" fmla="*/ 75236 w 555792"/>
                <a:gd name="connsiteY58" fmla="*/ 77207 h 129021"/>
                <a:gd name="connsiteX59" fmla="*/ 27179 w 555792"/>
                <a:gd name="connsiteY59" fmla="*/ 77207 h 129021"/>
                <a:gd name="connsiteX60" fmla="*/ 27179 w 555792"/>
                <a:gd name="connsiteY60" fmla="*/ 126954 h 129021"/>
                <a:gd name="connsiteX61" fmla="*/ 0 w 555792"/>
                <a:gd name="connsiteY61" fmla="*/ 126954 h 129021"/>
                <a:gd name="connsiteX62" fmla="*/ 210736 w 555792"/>
                <a:gd name="connsiteY62" fmla="*/ 6526 h 129021"/>
                <a:gd name="connsiteX63" fmla="*/ 236078 w 555792"/>
                <a:gd name="connsiteY63" fmla="*/ 6526 h 129021"/>
                <a:gd name="connsiteX64" fmla="*/ 236078 w 555792"/>
                <a:gd name="connsiteY64" fmla="*/ 126955 h 129021"/>
                <a:gd name="connsiteX65" fmla="*/ 210736 w 555792"/>
                <a:gd name="connsiteY65" fmla="*/ 126955 h 129021"/>
                <a:gd name="connsiteX66" fmla="*/ 166619 w 555792"/>
                <a:gd name="connsiteY66" fmla="*/ 6526 h 129021"/>
                <a:gd name="connsiteX67" fmla="*/ 192093 w 555792"/>
                <a:gd name="connsiteY67" fmla="*/ 6526 h 129021"/>
                <a:gd name="connsiteX68" fmla="*/ 192093 w 555792"/>
                <a:gd name="connsiteY68" fmla="*/ 126955 h 129021"/>
                <a:gd name="connsiteX69" fmla="*/ 166619 w 555792"/>
                <a:gd name="connsiteY69" fmla="*/ 126955 h 129021"/>
                <a:gd name="connsiteX70" fmla="*/ 134188 w 555792"/>
                <a:gd name="connsiteY70" fmla="*/ 66 h 129021"/>
                <a:gd name="connsiteX71" fmla="*/ 134452 w 555792"/>
                <a:gd name="connsiteY71" fmla="*/ 66 h 129021"/>
                <a:gd name="connsiteX72" fmla="*/ 151030 w 555792"/>
                <a:gd name="connsiteY72" fmla="*/ 13600 h 129021"/>
                <a:gd name="connsiteX73" fmla="*/ 137277 w 555792"/>
                <a:gd name="connsiteY73" fmla="*/ 29915 h 129021"/>
                <a:gd name="connsiteX74" fmla="*/ 134452 w 555792"/>
                <a:gd name="connsiteY74" fmla="*/ 29915 h 129021"/>
                <a:gd name="connsiteX75" fmla="*/ 119350 w 555792"/>
                <a:gd name="connsiteY75" fmla="*/ 15316 h 129021"/>
                <a:gd name="connsiteX76" fmla="*/ 119352 w 555792"/>
                <a:gd name="connsiteY76" fmla="*/ 14926 h 129021"/>
                <a:gd name="connsiteX77" fmla="*/ 134188 w 555792"/>
                <a:gd name="connsiteY77" fmla="*/ 66 h 129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555792" h="129021">
                  <a:moveTo>
                    <a:pt x="364489" y="61830"/>
                  </a:moveTo>
                  <a:cubicBezTo>
                    <a:pt x="353167" y="62674"/>
                    <a:pt x="344170" y="71529"/>
                    <a:pt x="343312" y="82670"/>
                  </a:cubicBezTo>
                  <a:cubicBezTo>
                    <a:pt x="342353" y="95123"/>
                    <a:pt x="351834" y="105983"/>
                    <a:pt x="364489" y="106926"/>
                  </a:cubicBezTo>
                  <a:cubicBezTo>
                    <a:pt x="365644" y="107012"/>
                    <a:pt x="366805" y="107012"/>
                    <a:pt x="367960" y="106926"/>
                  </a:cubicBezTo>
                  <a:cubicBezTo>
                    <a:pt x="380614" y="105983"/>
                    <a:pt x="390095" y="95123"/>
                    <a:pt x="389136" y="82670"/>
                  </a:cubicBezTo>
                  <a:cubicBezTo>
                    <a:pt x="388178" y="70217"/>
                    <a:pt x="377143" y="60887"/>
                    <a:pt x="364489" y="61830"/>
                  </a:cubicBezTo>
                  <a:close/>
                  <a:moveTo>
                    <a:pt x="255246" y="41285"/>
                  </a:moveTo>
                  <a:lnTo>
                    <a:pt x="280588" y="41285"/>
                  </a:lnTo>
                  <a:lnTo>
                    <a:pt x="280588" y="126955"/>
                  </a:lnTo>
                  <a:lnTo>
                    <a:pt x="255246" y="126955"/>
                  </a:lnTo>
                  <a:close/>
                  <a:moveTo>
                    <a:pt x="121846" y="40770"/>
                  </a:moveTo>
                  <a:lnTo>
                    <a:pt x="147188" y="40770"/>
                  </a:lnTo>
                  <a:lnTo>
                    <a:pt x="147188" y="126439"/>
                  </a:lnTo>
                  <a:lnTo>
                    <a:pt x="121846" y="126439"/>
                  </a:lnTo>
                  <a:close/>
                  <a:moveTo>
                    <a:pt x="301329" y="40638"/>
                  </a:moveTo>
                  <a:cubicBezTo>
                    <a:pt x="301505" y="40635"/>
                    <a:pt x="301682" y="40635"/>
                    <a:pt x="301859" y="40638"/>
                  </a:cubicBezTo>
                  <a:cubicBezTo>
                    <a:pt x="310198" y="40638"/>
                    <a:pt x="316958" y="47292"/>
                    <a:pt x="316958" y="55499"/>
                  </a:cubicBezTo>
                  <a:cubicBezTo>
                    <a:pt x="316958" y="63706"/>
                    <a:pt x="310198" y="70359"/>
                    <a:pt x="301859" y="70359"/>
                  </a:cubicBezTo>
                  <a:cubicBezTo>
                    <a:pt x="293664" y="70433"/>
                    <a:pt x="286961" y="63956"/>
                    <a:pt x="286885" y="55893"/>
                  </a:cubicBezTo>
                  <a:cubicBezTo>
                    <a:pt x="286883" y="55718"/>
                    <a:pt x="286885" y="55544"/>
                    <a:pt x="286890" y="55370"/>
                  </a:cubicBezTo>
                  <a:cubicBezTo>
                    <a:pt x="286743" y="47379"/>
                    <a:pt x="293207" y="40783"/>
                    <a:pt x="301329" y="40638"/>
                  </a:cubicBezTo>
                  <a:close/>
                  <a:moveTo>
                    <a:pt x="468871" y="39863"/>
                  </a:moveTo>
                  <a:cubicBezTo>
                    <a:pt x="480066" y="38933"/>
                    <a:pt x="490621" y="45114"/>
                    <a:pt x="495131" y="55240"/>
                  </a:cubicBezTo>
                  <a:cubicBezTo>
                    <a:pt x="501466" y="45339"/>
                    <a:pt x="512660" y="39487"/>
                    <a:pt x="524542" y="39863"/>
                  </a:cubicBezTo>
                  <a:cubicBezTo>
                    <a:pt x="540599" y="38721"/>
                    <a:pt x="554556" y="50605"/>
                    <a:pt x="555716" y="66406"/>
                  </a:cubicBezTo>
                  <a:cubicBezTo>
                    <a:pt x="555772" y="67162"/>
                    <a:pt x="555797" y="67920"/>
                    <a:pt x="555792" y="68678"/>
                  </a:cubicBezTo>
                  <a:lnTo>
                    <a:pt x="555792" y="126954"/>
                  </a:lnTo>
                  <a:lnTo>
                    <a:pt x="530582" y="126954"/>
                  </a:lnTo>
                  <a:lnTo>
                    <a:pt x="530582" y="75914"/>
                  </a:lnTo>
                  <a:cubicBezTo>
                    <a:pt x="531848" y="68888"/>
                    <a:pt x="527086" y="62181"/>
                    <a:pt x="519946" y="60936"/>
                  </a:cubicBezTo>
                  <a:cubicBezTo>
                    <a:pt x="518776" y="60732"/>
                    <a:pt x="517584" y="60685"/>
                    <a:pt x="516402" y="60796"/>
                  </a:cubicBezTo>
                  <a:cubicBezTo>
                    <a:pt x="505898" y="60796"/>
                    <a:pt x="499858" y="69324"/>
                    <a:pt x="499858" y="83150"/>
                  </a:cubicBezTo>
                  <a:lnTo>
                    <a:pt x="499858" y="126954"/>
                  </a:lnTo>
                  <a:lnTo>
                    <a:pt x="474780" y="126954"/>
                  </a:lnTo>
                  <a:lnTo>
                    <a:pt x="474780" y="75914"/>
                  </a:lnTo>
                  <a:cubicBezTo>
                    <a:pt x="476033" y="68885"/>
                    <a:pt x="471259" y="62187"/>
                    <a:pt x="464116" y="60954"/>
                  </a:cubicBezTo>
                  <a:cubicBezTo>
                    <a:pt x="463043" y="60769"/>
                    <a:pt x="461949" y="60716"/>
                    <a:pt x="460862" y="60796"/>
                  </a:cubicBezTo>
                  <a:cubicBezTo>
                    <a:pt x="450489" y="60796"/>
                    <a:pt x="444318" y="69454"/>
                    <a:pt x="444318" y="83150"/>
                  </a:cubicBezTo>
                  <a:lnTo>
                    <a:pt x="444318" y="126954"/>
                  </a:lnTo>
                  <a:lnTo>
                    <a:pt x="418977" y="126954"/>
                  </a:lnTo>
                  <a:lnTo>
                    <a:pt x="418977" y="41285"/>
                  </a:lnTo>
                  <a:lnTo>
                    <a:pt x="444318" y="41285"/>
                  </a:lnTo>
                  <a:lnTo>
                    <a:pt x="444318" y="52785"/>
                  </a:lnTo>
                  <a:cubicBezTo>
                    <a:pt x="449587" y="44489"/>
                    <a:pt x="458935" y="39570"/>
                    <a:pt x="468871" y="39863"/>
                  </a:cubicBezTo>
                  <a:close/>
                  <a:moveTo>
                    <a:pt x="364489" y="39863"/>
                  </a:moveTo>
                  <a:cubicBezTo>
                    <a:pt x="389455" y="39935"/>
                    <a:pt x="409656" y="59873"/>
                    <a:pt x="409656" y="84443"/>
                  </a:cubicBezTo>
                  <a:cubicBezTo>
                    <a:pt x="409656" y="84486"/>
                    <a:pt x="409656" y="84529"/>
                    <a:pt x="409656" y="84572"/>
                  </a:cubicBezTo>
                  <a:cubicBezTo>
                    <a:pt x="409583" y="109192"/>
                    <a:pt x="389244" y="129093"/>
                    <a:pt x="364227" y="129021"/>
                  </a:cubicBezTo>
                  <a:cubicBezTo>
                    <a:pt x="339208" y="128950"/>
                    <a:pt x="318986" y="108934"/>
                    <a:pt x="319059" y="84313"/>
                  </a:cubicBezTo>
                  <a:cubicBezTo>
                    <a:pt x="319131" y="59693"/>
                    <a:pt x="339471" y="39792"/>
                    <a:pt x="364489" y="39863"/>
                  </a:cubicBezTo>
                  <a:close/>
                  <a:moveTo>
                    <a:pt x="0" y="7947"/>
                  </a:moveTo>
                  <a:lnTo>
                    <a:pt x="27179" y="7947"/>
                  </a:lnTo>
                  <a:lnTo>
                    <a:pt x="27179" y="54206"/>
                  </a:lnTo>
                  <a:lnTo>
                    <a:pt x="75236" y="54206"/>
                  </a:lnTo>
                  <a:lnTo>
                    <a:pt x="75236" y="7947"/>
                  </a:lnTo>
                  <a:lnTo>
                    <a:pt x="102678" y="7947"/>
                  </a:lnTo>
                  <a:lnTo>
                    <a:pt x="102678" y="126954"/>
                  </a:lnTo>
                  <a:lnTo>
                    <a:pt x="75236" y="126954"/>
                  </a:lnTo>
                  <a:lnTo>
                    <a:pt x="75236" y="77207"/>
                  </a:lnTo>
                  <a:lnTo>
                    <a:pt x="27179" y="77207"/>
                  </a:lnTo>
                  <a:lnTo>
                    <a:pt x="27179" y="126954"/>
                  </a:lnTo>
                  <a:lnTo>
                    <a:pt x="0" y="126954"/>
                  </a:lnTo>
                  <a:close/>
                  <a:moveTo>
                    <a:pt x="210736" y="6526"/>
                  </a:moveTo>
                  <a:lnTo>
                    <a:pt x="236078" y="6526"/>
                  </a:lnTo>
                  <a:lnTo>
                    <a:pt x="236078" y="126955"/>
                  </a:lnTo>
                  <a:lnTo>
                    <a:pt x="210736" y="126955"/>
                  </a:lnTo>
                  <a:close/>
                  <a:moveTo>
                    <a:pt x="166619" y="6526"/>
                  </a:moveTo>
                  <a:lnTo>
                    <a:pt x="192093" y="6526"/>
                  </a:lnTo>
                  <a:lnTo>
                    <a:pt x="192093" y="126955"/>
                  </a:lnTo>
                  <a:lnTo>
                    <a:pt x="166619" y="126955"/>
                  </a:lnTo>
                  <a:close/>
                  <a:moveTo>
                    <a:pt x="134188" y="66"/>
                  </a:moveTo>
                  <a:cubicBezTo>
                    <a:pt x="134276" y="65"/>
                    <a:pt x="134364" y="65"/>
                    <a:pt x="134452" y="66"/>
                  </a:cubicBezTo>
                  <a:cubicBezTo>
                    <a:pt x="142828" y="-702"/>
                    <a:pt x="150250" y="5357"/>
                    <a:pt x="151030" y="13600"/>
                  </a:cubicBezTo>
                  <a:cubicBezTo>
                    <a:pt x="151810" y="21842"/>
                    <a:pt x="145653" y="29148"/>
                    <a:pt x="137277" y="29915"/>
                  </a:cubicBezTo>
                  <a:cubicBezTo>
                    <a:pt x="136338" y="30002"/>
                    <a:pt x="135392" y="30002"/>
                    <a:pt x="134452" y="29915"/>
                  </a:cubicBezTo>
                  <a:cubicBezTo>
                    <a:pt x="126185" y="29988"/>
                    <a:pt x="119424" y="23451"/>
                    <a:pt x="119350" y="15316"/>
                  </a:cubicBezTo>
                  <a:cubicBezTo>
                    <a:pt x="119349" y="15186"/>
                    <a:pt x="119349" y="15056"/>
                    <a:pt x="119352" y="14926"/>
                  </a:cubicBezTo>
                  <a:cubicBezTo>
                    <a:pt x="119279" y="6790"/>
                    <a:pt x="125921" y="137"/>
                    <a:pt x="134188" y="66"/>
                  </a:cubicBezTo>
                  <a:close/>
                </a:path>
              </a:pathLst>
            </a:custGeom>
            <a:solidFill>
              <a:srgbClr val="000839"/>
            </a:solidFill>
            <a:ln w="9525" cap="flat">
              <a:noFill/>
              <a:prstDash val="solid"/>
              <a:miter/>
            </a:ln>
          </p:spPr>
          <p:txBody>
            <a:bodyPr wrap="square" rtlCol="0" anchor="ctr">
              <a:noAutofit/>
            </a:bodyPr>
            <a:lstStyle/>
            <a:p>
              <a:endParaRPr lang="en-US"/>
            </a:p>
          </p:txBody>
        </p:sp>
      </p:grpSp>
    </p:spTree>
    <p:extLst>
      <p:ext uri="{BB962C8B-B14F-4D97-AF65-F5344CB8AC3E}">
        <p14:creationId xmlns:p14="http://schemas.microsoft.com/office/powerpoint/2010/main" val="27856566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Body - Two Thirds">
    <p:spTree>
      <p:nvGrpSpPr>
        <p:cNvPr id="1" name=""/>
        <p:cNvGrpSpPr/>
        <p:nvPr/>
      </p:nvGrpSpPr>
      <p:grpSpPr>
        <a:xfrm>
          <a:off x="0" y="0"/>
          <a:ext cx="0" cy="0"/>
          <a:chOff x="0" y="0"/>
          <a:chExt cx="0" cy="0"/>
        </a:xfrm>
      </p:grpSpPr>
      <p:sp>
        <p:nvSpPr>
          <p:cNvPr id="26" name="Slide Number Placeholder 5">
            <a:extLst>
              <a:ext uri="{FF2B5EF4-FFF2-40B4-BE49-F238E27FC236}">
                <a16:creationId xmlns:a16="http://schemas.microsoft.com/office/drawing/2014/main" id="{6AA0B4D3-F1D5-E840-816A-8B71734B0CEE}"/>
              </a:ext>
            </a:extLst>
          </p:cNvPr>
          <p:cNvSpPr>
            <a:spLocks noGrp="1"/>
          </p:cNvSpPr>
          <p:nvPr>
            <p:ph type="sldNum" sz="quarter" idx="4"/>
          </p:nvPr>
        </p:nvSpPr>
        <p:spPr>
          <a:xfrm>
            <a:off x="11537879" y="6325527"/>
            <a:ext cx="370726" cy="365125"/>
          </a:xfrm>
          <a:prstGeom prst="rect">
            <a:avLst/>
          </a:prstGeom>
        </p:spPr>
        <p:txBody>
          <a:bodyPr vert="horz" lIns="91440" tIns="45720" rIns="91440" bIns="45720" rtlCol="0" anchor="b"/>
          <a:lstStyle>
            <a:lvl1pPr algn="r">
              <a:defRPr sz="800" b="1" i="0">
                <a:solidFill>
                  <a:schemeClr val="tx1">
                    <a:tint val="75000"/>
                  </a:schemeClr>
                </a:solidFill>
                <a:latin typeface="+mj-lt"/>
              </a:defRPr>
            </a:lvl1pPr>
          </a:lstStyle>
          <a:p>
            <a:fld id="{EB3C441C-A16D-4531-8F9E-BFE4D57FBC82}" type="slidenum">
              <a:rPr lang="en-US" smtClean="0"/>
              <a:t>‹N°›</a:t>
            </a:fld>
            <a:endParaRPr lang="en-US"/>
          </a:p>
        </p:txBody>
      </p:sp>
      <p:sp>
        <p:nvSpPr>
          <p:cNvPr id="30" name="Footer Placeholder 54">
            <a:extLst>
              <a:ext uri="{FF2B5EF4-FFF2-40B4-BE49-F238E27FC236}">
                <a16:creationId xmlns:a16="http://schemas.microsoft.com/office/drawing/2014/main" id="{FBF5E17B-C670-4E4D-BB7F-743CB1137D68}"/>
              </a:ext>
            </a:extLst>
          </p:cNvPr>
          <p:cNvSpPr>
            <a:spLocks noGrp="1"/>
          </p:cNvSpPr>
          <p:nvPr>
            <p:ph type="ftr" sz="quarter" idx="15"/>
          </p:nvPr>
        </p:nvSpPr>
        <p:spPr>
          <a:xfrm>
            <a:off x="1819551" y="6340392"/>
            <a:ext cx="4114800" cy="365125"/>
          </a:xfrm>
          <a:prstGeom prst="rect">
            <a:avLst/>
          </a:prstGeom>
        </p:spPr>
        <p:txBody>
          <a:bodyPr anchor="b" anchorCtr="0"/>
          <a:lstStyle>
            <a:lvl1pPr>
              <a:defRPr sz="700">
                <a:solidFill>
                  <a:schemeClr val="accent2"/>
                </a:solidFill>
              </a:defRPr>
            </a:lvl1pPr>
          </a:lstStyle>
          <a:p>
            <a:endParaRPr lang="en-US"/>
          </a:p>
        </p:txBody>
      </p:sp>
      <p:sp>
        <p:nvSpPr>
          <p:cNvPr id="31" name="Title 8">
            <a:extLst>
              <a:ext uri="{FF2B5EF4-FFF2-40B4-BE49-F238E27FC236}">
                <a16:creationId xmlns:a16="http://schemas.microsoft.com/office/drawing/2014/main" id="{9577566B-579A-F64E-8ABD-A539C8592B64}"/>
              </a:ext>
            </a:extLst>
          </p:cNvPr>
          <p:cNvSpPr>
            <a:spLocks noGrp="1"/>
          </p:cNvSpPr>
          <p:nvPr>
            <p:ph type="title"/>
          </p:nvPr>
        </p:nvSpPr>
        <p:spPr>
          <a:xfrm>
            <a:off x="594812" y="1600200"/>
            <a:ext cx="3886200" cy="2019328"/>
          </a:xfrm>
          <a:prstGeom prst="rect">
            <a:avLst/>
          </a:prstGeom>
        </p:spPr>
        <p:txBody>
          <a:bodyPr/>
          <a:lstStyle>
            <a:lvl1pPr marL="0" algn="l" defTabSz="914400" rtl="0" eaLnBrk="1" latinLnBrk="0" hangingPunct="1">
              <a:lnSpc>
                <a:spcPct val="90000"/>
              </a:lnSpc>
              <a:spcBef>
                <a:spcPct val="0"/>
              </a:spcBef>
              <a:buNone/>
              <a:defRPr lang="en-US" sz="3200" b="1" i="0" kern="1200" cap="none" spc="0" baseline="0" dirty="0">
                <a:solidFill>
                  <a:schemeClr val="tx1"/>
                </a:solidFill>
                <a:latin typeface="+mj-lt"/>
                <a:ea typeface="+mj-ea"/>
                <a:cs typeface="+mj-cs"/>
              </a:defRPr>
            </a:lvl1pPr>
          </a:lstStyle>
          <a:p>
            <a:r>
              <a:rPr lang="en-US"/>
              <a:t>Click to edit Master title style</a:t>
            </a:r>
          </a:p>
        </p:txBody>
      </p:sp>
      <p:sp>
        <p:nvSpPr>
          <p:cNvPr id="32" name="Text Placeholder 3">
            <a:extLst>
              <a:ext uri="{FF2B5EF4-FFF2-40B4-BE49-F238E27FC236}">
                <a16:creationId xmlns:a16="http://schemas.microsoft.com/office/drawing/2014/main" id="{3606CC7C-51D7-CB4C-BD40-BF0542709FEA}"/>
              </a:ext>
            </a:extLst>
          </p:cNvPr>
          <p:cNvSpPr>
            <a:spLocks noGrp="1"/>
          </p:cNvSpPr>
          <p:nvPr>
            <p:ph type="body" sz="quarter" idx="13"/>
          </p:nvPr>
        </p:nvSpPr>
        <p:spPr>
          <a:xfrm>
            <a:off x="688350" y="498222"/>
            <a:ext cx="1997663" cy="244682"/>
          </a:xfrm>
          <a:prstGeom prst="rect">
            <a:avLst/>
          </a:prstGeom>
          <a:solidFill>
            <a:schemeClr val="accent1"/>
          </a:solidFill>
          <a:ln>
            <a:noFill/>
          </a:ln>
        </p:spPr>
        <p:txBody>
          <a:bodyPr wrap="none" anchor="ctr">
            <a:spAutoFit/>
          </a:bodyPr>
          <a:lstStyle>
            <a:lvl1pPr marL="0" indent="0">
              <a:buNone/>
              <a:defRPr sz="1100" b="1" cap="all" spc="50" baseline="0">
                <a:solidFill>
                  <a:schemeClr val="bg1"/>
                </a:solidFill>
                <a:latin typeface="+mj-lt"/>
              </a:defRPr>
            </a:lvl1pPr>
          </a:lstStyle>
          <a:p>
            <a:pPr lvl="0"/>
            <a:r>
              <a:rPr lang="en-US"/>
              <a:t>Edit Master text styles</a:t>
            </a:r>
          </a:p>
        </p:txBody>
      </p:sp>
      <p:sp>
        <p:nvSpPr>
          <p:cNvPr id="27" name="Content Placeholder 49">
            <a:extLst>
              <a:ext uri="{FF2B5EF4-FFF2-40B4-BE49-F238E27FC236}">
                <a16:creationId xmlns:a16="http://schemas.microsoft.com/office/drawing/2014/main" id="{E8AED944-72B2-3148-825E-53E287715444}"/>
              </a:ext>
            </a:extLst>
          </p:cNvPr>
          <p:cNvSpPr>
            <a:spLocks noGrp="1"/>
          </p:cNvSpPr>
          <p:nvPr>
            <p:ph sz="quarter" idx="18"/>
          </p:nvPr>
        </p:nvSpPr>
        <p:spPr>
          <a:xfrm>
            <a:off x="4624752" y="1600201"/>
            <a:ext cx="7252173" cy="4343296"/>
          </a:xfrm>
          <a:prstGeom prst="rect">
            <a:avLst/>
          </a:prstGeom>
        </p:spPr>
        <p:txBody>
          <a:bodyPr/>
          <a:lstStyle>
            <a:lvl1pPr marL="0" indent="0">
              <a:lnSpc>
                <a:spcPct val="125000"/>
              </a:lnSpc>
              <a:spcBef>
                <a:spcPts val="0"/>
              </a:spcBef>
              <a:buNone/>
              <a:defRPr sz="1400"/>
            </a:lvl1pPr>
            <a:lvl2pPr marL="11113" indent="0">
              <a:lnSpc>
                <a:spcPct val="110000"/>
              </a:lnSpc>
              <a:spcBef>
                <a:spcPts val="0"/>
              </a:spcBef>
              <a:buNone/>
              <a:tabLst/>
              <a:defRPr sz="1400"/>
            </a:lvl2pPr>
            <a:lvl3pPr marL="230188" indent="-219075">
              <a:lnSpc>
                <a:spcPct val="110000"/>
              </a:lnSpc>
              <a:spcBef>
                <a:spcPts val="0"/>
              </a:spcBef>
              <a:spcAft>
                <a:spcPts val="0"/>
              </a:spcAft>
              <a:buFont typeface="System Font Regular"/>
              <a:buChar char="–"/>
              <a:tabLst/>
              <a:defRPr sz="1400"/>
            </a:lvl3pPr>
            <a:lvl4pPr marL="342900" indent="-176213">
              <a:lnSpc>
                <a:spcPct val="110000"/>
              </a:lnSpc>
              <a:spcBef>
                <a:spcPts val="0"/>
              </a:spcBef>
              <a:buFont typeface="System Font Regular"/>
              <a:buChar char="+"/>
              <a:tabLst/>
              <a:defRPr sz="1400"/>
            </a:lvl4pPr>
            <a:lvl5pPr marL="574675" indent="-176213">
              <a:lnSpc>
                <a:spcPct val="110000"/>
              </a:lnSpc>
              <a:spcBef>
                <a:spcPts val="0"/>
              </a:spcBef>
              <a:buFont typeface="System Font Regular"/>
              <a:buChar char="–"/>
              <a:tabLst/>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49">
            <a:extLst>
              <a:ext uri="{FF2B5EF4-FFF2-40B4-BE49-F238E27FC236}">
                <a16:creationId xmlns:a16="http://schemas.microsoft.com/office/drawing/2014/main" id="{E98EAA7F-FC38-EE4B-B588-97EDBABDCD3E}"/>
              </a:ext>
            </a:extLst>
          </p:cNvPr>
          <p:cNvSpPr>
            <a:spLocks noGrp="1"/>
          </p:cNvSpPr>
          <p:nvPr>
            <p:ph sz="quarter" idx="19"/>
          </p:nvPr>
        </p:nvSpPr>
        <p:spPr>
          <a:xfrm>
            <a:off x="603852" y="3627475"/>
            <a:ext cx="3886200" cy="2316021"/>
          </a:xfrm>
          <a:prstGeom prst="rect">
            <a:avLst/>
          </a:prstGeom>
        </p:spPr>
        <p:txBody>
          <a:bodyPr/>
          <a:lstStyle>
            <a:lvl1pPr marL="0" indent="0">
              <a:lnSpc>
                <a:spcPct val="125000"/>
              </a:lnSpc>
              <a:spcBef>
                <a:spcPts val="0"/>
              </a:spcBef>
              <a:buNone/>
              <a:defRPr sz="1400"/>
            </a:lvl1pPr>
            <a:lvl2pPr marL="11113" indent="0">
              <a:lnSpc>
                <a:spcPct val="110000"/>
              </a:lnSpc>
              <a:spcBef>
                <a:spcPts val="0"/>
              </a:spcBef>
              <a:buNone/>
              <a:tabLst/>
              <a:defRPr sz="1400"/>
            </a:lvl2pPr>
            <a:lvl3pPr marL="230188" indent="-219075">
              <a:lnSpc>
                <a:spcPct val="110000"/>
              </a:lnSpc>
              <a:spcBef>
                <a:spcPts val="0"/>
              </a:spcBef>
              <a:spcAft>
                <a:spcPts val="0"/>
              </a:spcAft>
              <a:buFont typeface="System Font Regular"/>
              <a:buChar char="–"/>
              <a:tabLst/>
              <a:defRPr sz="1400"/>
            </a:lvl3pPr>
            <a:lvl4pPr marL="342900" indent="-176213">
              <a:lnSpc>
                <a:spcPct val="110000"/>
              </a:lnSpc>
              <a:spcBef>
                <a:spcPts val="0"/>
              </a:spcBef>
              <a:buFont typeface="System Font Regular"/>
              <a:buChar char="+"/>
              <a:tabLst/>
              <a:defRPr sz="1400"/>
            </a:lvl4pPr>
            <a:lvl5pPr marL="574675" indent="-176213">
              <a:lnSpc>
                <a:spcPct val="110000"/>
              </a:lnSpc>
              <a:spcBef>
                <a:spcPts val="0"/>
              </a:spcBef>
              <a:buFont typeface="System Font Regular"/>
              <a:buChar char="–"/>
              <a:tabLst/>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4" name="Group 33">
            <a:extLst>
              <a:ext uri="{FF2B5EF4-FFF2-40B4-BE49-F238E27FC236}">
                <a16:creationId xmlns:a16="http://schemas.microsoft.com/office/drawing/2014/main" id="{20F06C99-43DF-2445-A642-3E3132E9DFB9}"/>
              </a:ext>
            </a:extLst>
          </p:cNvPr>
          <p:cNvGrpSpPr/>
          <p:nvPr/>
        </p:nvGrpSpPr>
        <p:grpSpPr>
          <a:xfrm>
            <a:off x="3047" y="6305605"/>
            <a:ext cx="1254409" cy="552395"/>
            <a:chOff x="3047" y="6305605"/>
            <a:chExt cx="1254409" cy="552395"/>
          </a:xfrm>
        </p:grpSpPr>
        <p:grpSp>
          <p:nvGrpSpPr>
            <p:cNvPr id="49" name="Group 48">
              <a:extLst>
                <a:ext uri="{FF2B5EF4-FFF2-40B4-BE49-F238E27FC236}">
                  <a16:creationId xmlns:a16="http://schemas.microsoft.com/office/drawing/2014/main" id="{076AB9C6-7E9E-D44A-A896-79E4B915C8BF}"/>
                </a:ext>
              </a:extLst>
            </p:cNvPr>
            <p:cNvGrpSpPr/>
            <p:nvPr/>
          </p:nvGrpSpPr>
          <p:grpSpPr>
            <a:xfrm>
              <a:off x="3047" y="6305605"/>
              <a:ext cx="551693" cy="552395"/>
              <a:chOff x="3047" y="6305605"/>
              <a:chExt cx="551693" cy="552395"/>
            </a:xfrm>
          </p:grpSpPr>
          <p:sp>
            <p:nvSpPr>
              <p:cNvPr id="51" name="Rectangle 50">
                <a:extLst>
                  <a:ext uri="{FF2B5EF4-FFF2-40B4-BE49-F238E27FC236}">
                    <a16:creationId xmlns:a16="http://schemas.microsoft.com/office/drawing/2014/main" id="{D93925DE-E998-AE4C-8E39-2243727E747D}"/>
                  </a:ext>
                </a:extLst>
              </p:cNvPr>
              <p:cNvSpPr/>
              <p:nvPr/>
            </p:nvSpPr>
            <p:spPr>
              <a:xfrm>
                <a:off x="3047" y="6305605"/>
                <a:ext cx="551693" cy="552395"/>
              </a:xfrm>
              <a:prstGeom prst="rect">
                <a:avLst/>
              </a:prstGeom>
              <a:solidFill>
                <a:srgbClr val="5369E4"/>
              </a:solidFill>
              <a:ln w="9525" cap="flat">
                <a:noFill/>
                <a:prstDash val="solid"/>
                <a:miter/>
              </a:ln>
            </p:spPr>
            <p:txBody>
              <a:bodyPr rtlCol="0" anchor="ctr"/>
              <a:lstStyle/>
              <a:p>
                <a:endParaRPr lang="en-US"/>
              </a:p>
            </p:txBody>
          </p:sp>
          <p:sp>
            <p:nvSpPr>
              <p:cNvPr id="52" name="Freeform 51">
                <a:extLst>
                  <a:ext uri="{FF2B5EF4-FFF2-40B4-BE49-F238E27FC236}">
                    <a16:creationId xmlns:a16="http://schemas.microsoft.com/office/drawing/2014/main" id="{975C6015-9268-314C-B9FA-E0D76B2B05A6}"/>
                  </a:ext>
                </a:extLst>
              </p:cNvPr>
              <p:cNvSpPr/>
              <p:nvPr/>
            </p:nvSpPr>
            <p:spPr>
              <a:xfrm>
                <a:off x="173577" y="6501753"/>
                <a:ext cx="279408" cy="175345"/>
              </a:xfrm>
              <a:custGeom>
                <a:avLst/>
                <a:gdLst>
                  <a:gd name="connsiteX0" fmla="*/ 102941 w 279408"/>
                  <a:gd name="connsiteY0" fmla="*/ 59439 h 175345"/>
                  <a:gd name="connsiteX1" fmla="*/ 132352 w 279408"/>
                  <a:gd name="connsiteY1" fmla="*/ 88384 h 175345"/>
                  <a:gd name="connsiteX2" fmla="*/ 102941 w 279408"/>
                  <a:gd name="connsiteY2" fmla="*/ 117329 h 175345"/>
                  <a:gd name="connsiteX3" fmla="*/ 73528 w 279408"/>
                  <a:gd name="connsiteY3" fmla="*/ 88384 h 175345"/>
                  <a:gd name="connsiteX4" fmla="*/ 102941 w 279408"/>
                  <a:gd name="connsiteY4" fmla="*/ 59439 h 175345"/>
                  <a:gd name="connsiteX5" fmla="*/ 147056 w 279408"/>
                  <a:gd name="connsiteY5" fmla="*/ 1809 h 175345"/>
                  <a:gd name="connsiteX6" fmla="*/ 205880 w 279408"/>
                  <a:gd name="connsiteY6" fmla="*/ 1809 h 175345"/>
                  <a:gd name="connsiteX7" fmla="*/ 205880 w 279408"/>
                  <a:gd name="connsiteY7" fmla="*/ 59698 h 175345"/>
                  <a:gd name="connsiteX8" fmla="*/ 205880 w 279408"/>
                  <a:gd name="connsiteY8" fmla="*/ 117457 h 175345"/>
                  <a:gd name="connsiteX9" fmla="*/ 205880 w 279408"/>
                  <a:gd name="connsiteY9" fmla="*/ 175345 h 175345"/>
                  <a:gd name="connsiteX10" fmla="*/ 147056 w 279408"/>
                  <a:gd name="connsiteY10" fmla="*/ 175345 h 175345"/>
                  <a:gd name="connsiteX11" fmla="*/ 147056 w 279408"/>
                  <a:gd name="connsiteY11" fmla="*/ 117457 h 175345"/>
                  <a:gd name="connsiteX12" fmla="*/ 147056 w 279408"/>
                  <a:gd name="connsiteY12" fmla="*/ 59698 h 175345"/>
                  <a:gd name="connsiteX13" fmla="*/ 0 w 279408"/>
                  <a:gd name="connsiteY13" fmla="*/ 1809 h 175345"/>
                  <a:gd name="connsiteX14" fmla="*/ 58824 w 279408"/>
                  <a:gd name="connsiteY14" fmla="*/ 1809 h 175345"/>
                  <a:gd name="connsiteX15" fmla="*/ 58824 w 279408"/>
                  <a:gd name="connsiteY15" fmla="*/ 59698 h 175345"/>
                  <a:gd name="connsiteX16" fmla="*/ 58824 w 279408"/>
                  <a:gd name="connsiteY16" fmla="*/ 117457 h 175345"/>
                  <a:gd name="connsiteX17" fmla="*/ 58824 w 279408"/>
                  <a:gd name="connsiteY17" fmla="*/ 175345 h 175345"/>
                  <a:gd name="connsiteX18" fmla="*/ 0 w 279408"/>
                  <a:gd name="connsiteY18" fmla="*/ 175345 h 175345"/>
                  <a:gd name="connsiteX19" fmla="*/ 0 w 279408"/>
                  <a:gd name="connsiteY19" fmla="*/ 117457 h 175345"/>
                  <a:gd name="connsiteX20" fmla="*/ 0 w 279408"/>
                  <a:gd name="connsiteY20" fmla="*/ 59698 h 175345"/>
                  <a:gd name="connsiteX21" fmla="*/ 249997 w 279408"/>
                  <a:gd name="connsiteY21" fmla="*/ 0 h 175345"/>
                  <a:gd name="connsiteX22" fmla="*/ 279408 w 279408"/>
                  <a:gd name="connsiteY22" fmla="*/ 28945 h 175345"/>
                  <a:gd name="connsiteX23" fmla="*/ 249997 w 279408"/>
                  <a:gd name="connsiteY23" fmla="*/ 57890 h 175345"/>
                  <a:gd name="connsiteX24" fmla="*/ 220584 w 279408"/>
                  <a:gd name="connsiteY24" fmla="*/ 28945 h 175345"/>
                  <a:gd name="connsiteX25" fmla="*/ 249997 w 279408"/>
                  <a:gd name="connsiteY25" fmla="*/ 0 h 175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79408" h="175345">
                    <a:moveTo>
                      <a:pt x="102941" y="59439"/>
                    </a:moveTo>
                    <a:cubicBezTo>
                      <a:pt x="119184" y="59439"/>
                      <a:pt x="132352" y="72399"/>
                      <a:pt x="132352" y="88384"/>
                    </a:cubicBezTo>
                    <a:cubicBezTo>
                      <a:pt x="132352" y="104370"/>
                      <a:pt x="119184" y="117329"/>
                      <a:pt x="102941" y="117329"/>
                    </a:cubicBezTo>
                    <a:cubicBezTo>
                      <a:pt x="86696" y="117329"/>
                      <a:pt x="73528" y="104370"/>
                      <a:pt x="73528" y="88384"/>
                    </a:cubicBezTo>
                    <a:cubicBezTo>
                      <a:pt x="73528" y="72399"/>
                      <a:pt x="86696" y="59439"/>
                      <a:pt x="102941" y="59439"/>
                    </a:cubicBezTo>
                    <a:close/>
                    <a:moveTo>
                      <a:pt x="147056" y="1809"/>
                    </a:moveTo>
                    <a:lnTo>
                      <a:pt x="205880" y="1809"/>
                    </a:lnTo>
                    <a:lnTo>
                      <a:pt x="205880" y="59698"/>
                    </a:lnTo>
                    <a:lnTo>
                      <a:pt x="205880" y="117457"/>
                    </a:lnTo>
                    <a:lnTo>
                      <a:pt x="205880" y="175345"/>
                    </a:lnTo>
                    <a:lnTo>
                      <a:pt x="147056" y="175345"/>
                    </a:lnTo>
                    <a:lnTo>
                      <a:pt x="147056" y="117457"/>
                    </a:lnTo>
                    <a:lnTo>
                      <a:pt x="147056" y="59698"/>
                    </a:lnTo>
                    <a:close/>
                    <a:moveTo>
                      <a:pt x="0" y="1809"/>
                    </a:moveTo>
                    <a:lnTo>
                      <a:pt x="58824" y="1809"/>
                    </a:lnTo>
                    <a:lnTo>
                      <a:pt x="58824" y="59698"/>
                    </a:lnTo>
                    <a:lnTo>
                      <a:pt x="58824" y="117457"/>
                    </a:lnTo>
                    <a:lnTo>
                      <a:pt x="58824" y="175345"/>
                    </a:lnTo>
                    <a:lnTo>
                      <a:pt x="0" y="175345"/>
                    </a:lnTo>
                    <a:lnTo>
                      <a:pt x="0" y="117457"/>
                    </a:lnTo>
                    <a:lnTo>
                      <a:pt x="0" y="59698"/>
                    </a:lnTo>
                    <a:close/>
                    <a:moveTo>
                      <a:pt x="249997" y="0"/>
                    </a:moveTo>
                    <a:cubicBezTo>
                      <a:pt x="266240" y="0"/>
                      <a:pt x="279408" y="12960"/>
                      <a:pt x="279408" y="28945"/>
                    </a:cubicBezTo>
                    <a:cubicBezTo>
                      <a:pt x="279408" y="44931"/>
                      <a:pt x="266240" y="57890"/>
                      <a:pt x="249997" y="57890"/>
                    </a:cubicBezTo>
                    <a:cubicBezTo>
                      <a:pt x="233752" y="57890"/>
                      <a:pt x="220584" y="44931"/>
                      <a:pt x="220584" y="28945"/>
                    </a:cubicBezTo>
                    <a:cubicBezTo>
                      <a:pt x="220584" y="12960"/>
                      <a:pt x="233752" y="0"/>
                      <a:pt x="249997" y="0"/>
                    </a:cubicBezTo>
                    <a:close/>
                  </a:path>
                </a:pathLst>
              </a:custGeom>
              <a:solidFill>
                <a:srgbClr val="FFFFFF"/>
              </a:solidFill>
              <a:ln w="9525" cap="flat">
                <a:noFill/>
                <a:prstDash val="solid"/>
                <a:miter/>
              </a:ln>
            </p:spPr>
            <p:txBody>
              <a:bodyPr wrap="square" rtlCol="0" anchor="ctr">
                <a:noAutofit/>
              </a:bodyPr>
              <a:lstStyle/>
              <a:p>
                <a:endParaRPr lang="en-US"/>
              </a:p>
            </p:txBody>
          </p:sp>
        </p:grpSp>
        <p:sp>
          <p:nvSpPr>
            <p:cNvPr id="50" name="Freeform 49">
              <a:extLst>
                <a:ext uri="{FF2B5EF4-FFF2-40B4-BE49-F238E27FC236}">
                  <a16:creationId xmlns:a16="http://schemas.microsoft.com/office/drawing/2014/main" id="{C6757C26-9875-5646-A064-5B68794AFB15}"/>
                </a:ext>
              </a:extLst>
            </p:cNvPr>
            <p:cNvSpPr/>
            <p:nvPr/>
          </p:nvSpPr>
          <p:spPr>
            <a:xfrm>
              <a:off x="701664" y="6524947"/>
              <a:ext cx="555792" cy="129021"/>
            </a:xfrm>
            <a:custGeom>
              <a:avLst/>
              <a:gdLst>
                <a:gd name="connsiteX0" fmla="*/ 364489 w 555792"/>
                <a:gd name="connsiteY0" fmla="*/ 61830 h 129021"/>
                <a:gd name="connsiteX1" fmla="*/ 343312 w 555792"/>
                <a:gd name="connsiteY1" fmla="*/ 82670 h 129021"/>
                <a:gd name="connsiteX2" fmla="*/ 364489 w 555792"/>
                <a:gd name="connsiteY2" fmla="*/ 106926 h 129021"/>
                <a:gd name="connsiteX3" fmla="*/ 367960 w 555792"/>
                <a:gd name="connsiteY3" fmla="*/ 106926 h 129021"/>
                <a:gd name="connsiteX4" fmla="*/ 389136 w 555792"/>
                <a:gd name="connsiteY4" fmla="*/ 82670 h 129021"/>
                <a:gd name="connsiteX5" fmla="*/ 364489 w 555792"/>
                <a:gd name="connsiteY5" fmla="*/ 61830 h 129021"/>
                <a:gd name="connsiteX6" fmla="*/ 255246 w 555792"/>
                <a:gd name="connsiteY6" fmla="*/ 41285 h 129021"/>
                <a:gd name="connsiteX7" fmla="*/ 280588 w 555792"/>
                <a:gd name="connsiteY7" fmla="*/ 41285 h 129021"/>
                <a:gd name="connsiteX8" fmla="*/ 280588 w 555792"/>
                <a:gd name="connsiteY8" fmla="*/ 126955 h 129021"/>
                <a:gd name="connsiteX9" fmla="*/ 255246 w 555792"/>
                <a:gd name="connsiteY9" fmla="*/ 126955 h 129021"/>
                <a:gd name="connsiteX10" fmla="*/ 121846 w 555792"/>
                <a:gd name="connsiteY10" fmla="*/ 40770 h 129021"/>
                <a:gd name="connsiteX11" fmla="*/ 147188 w 555792"/>
                <a:gd name="connsiteY11" fmla="*/ 40770 h 129021"/>
                <a:gd name="connsiteX12" fmla="*/ 147188 w 555792"/>
                <a:gd name="connsiteY12" fmla="*/ 126439 h 129021"/>
                <a:gd name="connsiteX13" fmla="*/ 121846 w 555792"/>
                <a:gd name="connsiteY13" fmla="*/ 126439 h 129021"/>
                <a:gd name="connsiteX14" fmla="*/ 301329 w 555792"/>
                <a:gd name="connsiteY14" fmla="*/ 40638 h 129021"/>
                <a:gd name="connsiteX15" fmla="*/ 301859 w 555792"/>
                <a:gd name="connsiteY15" fmla="*/ 40638 h 129021"/>
                <a:gd name="connsiteX16" fmla="*/ 316958 w 555792"/>
                <a:gd name="connsiteY16" fmla="*/ 55499 h 129021"/>
                <a:gd name="connsiteX17" fmla="*/ 301859 w 555792"/>
                <a:gd name="connsiteY17" fmla="*/ 70359 h 129021"/>
                <a:gd name="connsiteX18" fmla="*/ 286885 w 555792"/>
                <a:gd name="connsiteY18" fmla="*/ 55893 h 129021"/>
                <a:gd name="connsiteX19" fmla="*/ 286890 w 555792"/>
                <a:gd name="connsiteY19" fmla="*/ 55370 h 129021"/>
                <a:gd name="connsiteX20" fmla="*/ 301329 w 555792"/>
                <a:gd name="connsiteY20" fmla="*/ 40638 h 129021"/>
                <a:gd name="connsiteX21" fmla="*/ 468871 w 555792"/>
                <a:gd name="connsiteY21" fmla="*/ 39863 h 129021"/>
                <a:gd name="connsiteX22" fmla="*/ 495131 w 555792"/>
                <a:gd name="connsiteY22" fmla="*/ 55240 h 129021"/>
                <a:gd name="connsiteX23" fmla="*/ 524542 w 555792"/>
                <a:gd name="connsiteY23" fmla="*/ 39863 h 129021"/>
                <a:gd name="connsiteX24" fmla="*/ 555716 w 555792"/>
                <a:gd name="connsiteY24" fmla="*/ 66406 h 129021"/>
                <a:gd name="connsiteX25" fmla="*/ 555792 w 555792"/>
                <a:gd name="connsiteY25" fmla="*/ 68678 h 129021"/>
                <a:gd name="connsiteX26" fmla="*/ 555792 w 555792"/>
                <a:gd name="connsiteY26" fmla="*/ 126954 h 129021"/>
                <a:gd name="connsiteX27" fmla="*/ 530582 w 555792"/>
                <a:gd name="connsiteY27" fmla="*/ 126954 h 129021"/>
                <a:gd name="connsiteX28" fmla="*/ 530582 w 555792"/>
                <a:gd name="connsiteY28" fmla="*/ 75914 h 129021"/>
                <a:gd name="connsiteX29" fmla="*/ 519946 w 555792"/>
                <a:gd name="connsiteY29" fmla="*/ 60936 h 129021"/>
                <a:gd name="connsiteX30" fmla="*/ 516402 w 555792"/>
                <a:gd name="connsiteY30" fmla="*/ 60796 h 129021"/>
                <a:gd name="connsiteX31" fmla="*/ 499858 w 555792"/>
                <a:gd name="connsiteY31" fmla="*/ 83150 h 129021"/>
                <a:gd name="connsiteX32" fmla="*/ 499858 w 555792"/>
                <a:gd name="connsiteY32" fmla="*/ 126954 h 129021"/>
                <a:gd name="connsiteX33" fmla="*/ 474780 w 555792"/>
                <a:gd name="connsiteY33" fmla="*/ 126954 h 129021"/>
                <a:gd name="connsiteX34" fmla="*/ 474780 w 555792"/>
                <a:gd name="connsiteY34" fmla="*/ 75914 h 129021"/>
                <a:gd name="connsiteX35" fmla="*/ 464116 w 555792"/>
                <a:gd name="connsiteY35" fmla="*/ 60954 h 129021"/>
                <a:gd name="connsiteX36" fmla="*/ 460862 w 555792"/>
                <a:gd name="connsiteY36" fmla="*/ 60796 h 129021"/>
                <a:gd name="connsiteX37" fmla="*/ 444318 w 555792"/>
                <a:gd name="connsiteY37" fmla="*/ 83150 h 129021"/>
                <a:gd name="connsiteX38" fmla="*/ 444318 w 555792"/>
                <a:gd name="connsiteY38" fmla="*/ 126954 h 129021"/>
                <a:gd name="connsiteX39" fmla="*/ 418977 w 555792"/>
                <a:gd name="connsiteY39" fmla="*/ 126954 h 129021"/>
                <a:gd name="connsiteX40" fmla="*/ 418977 w 555792"/>
                <a:gd name="connsiteY40" fmla="*/ 41285 h 129021"/>
                <a:gd name="connsiteX41" fmla="*/ 444318 w 555792"/>
                <a:gd name="connsiteY41" fmla="*/ 41285 h 129021"/>
                <a:gd name="connsiteX42" fmla="*/ 444318 w 555792"/>
                <a:gd name="connsiteY42" fmla="*/ 52785 h 129021"/>
                <a:gd name="connsiteX43" fmla="*/ 468871 w 555792"/>
                <a:gd name="connsiteY43" fmla="*/ 39863 h 129021"/>
                <a:gd name="connsiteX44" fmla="*/ 364489 w 555792"/>
                <a:gd name="connsiteY44" fmla="*/ 39863 h 129021"/>
                <a:gd name="connsiteX45" fmla="*/ 409656 w 555792"/>
                <a:gd name="connsiteY45" fmla="*/ 84443 h 129021"/>
                <a:gd name="connsiteX46" fmla="*/ 409656 w 555792"/>
                <a:gd name="connsiteY46" fmla="*/ 84572 h 129021"/>
                <a:gd name="connsiteX47" fmla="*/ 364227 w 555792"/>
                <a:gd name="connsiteY47" fmla="*/ 129021 h 129021"/>
                <a:gd name="connsiteX48" fmla="*/ 319059 w 555792"/>
                <a:gd name="connsiteY48" fmla="*/ 84313 h 129021"/>
                <a:gd name="connsiteX49" fmla="*/ 364489 w 555792"/>
                <a:gd name="connsiteY49" fmla="*/ 39863 h 129021"/>
                <a:gd name="connsiteX50" fmla="*/ 0 w 555792"/>
                <a:gd name="connsiteY50" fmla="*/ 7947 h 129021"/>
                <a:gd name="connsiteX51" fmla="*/ 27179 w 555792"/>
                <a:gd name="connsiteY51" fmla="*/ 7947 h 129021"/>
                <a:gd name="connsiteX52" fmla="*/ 27179 w 555792"/>
                <a:gd name="connsiteY52" fmla="*/ 54206 h 129021"/>
                <a:gd name="connsiteX53" fmla="*/ 75236 w 555792"/>
                <a:gd name="connsiteY53" fmla="*/ 54206 h 129021"/>
                <a:gd name="connsiteX54" fmla="*/ 75236 w 555792"/>
                <a:gd name="connsiteY54" fmla="*/ 7947 h 129021"/>
                <a:gd name="connsiteX55" fmla="*/ 102678 w 555792"/>
                <a:gd name="connsiteY55" fmla="*/ 7947 h 129021"/>
                <a:gd name="connsiteX56" fmla="*/ 102678 w 555792"/>
                <a:gd name="connsiteY56" fmla="*/ 126954 h 129021"/>
                <a:gd name="connsiteX57" fmla="*/ 75236 w 555792"/>
                <a:gd name="connsiteY57" fmla="*/ 126954 h 129021"/>
                <a:gd name="connsiteX58" fmla="*/ 75236 w 555792"/>
                <a:gd name="connsiteY58" fmla="*/ 77207 h 129021"/>
                <a:gd name="connsiteX59" fmla="*/ 27179 w 555792"/>
                <a:gd name="connsiteY59" fmla="*/ 77207 h 129021"/>
                <a:gd name="connsiteX60" fmla="*/ 27179 w 555792"/>
                <a:gd name="connsiteY60" fmla="*/ 126954 h 129021"/>
                <a:gd name="connsiteX61" fmla="*/ 0 w 555792"/>
                <a:gd name="connsiteY61" fmla="*/ 126954 h 129021"/>
                <a:gd name="connsiteX62" fmla="*/ 210736 w 555792"/>
                <a:gd name="connsiteY62" fmla="*/ 6526 h 129021"/>
                <a:gd name="connsiteX63" fmla="*/ 236078 w 555792"/>
                <a:gd name="connsiteY63" fmla="*/ 6526 h 129021"/>
                <a:gd name="connsiteX64" fmla="*/ 236078 w 555792"/>
                <a:gd name="connsiteY64" fmla="*/ 126955 h 129021"/>
                <a:gd name="connsiteX65" fmla="*/ 210736 w 555792"/>
                <a:gd name="connsiteY65" fmla="*/ 126955 h 129021"/>
                <a:gd name="connsiteX66" fmla="*/ 166619 w 555792"/>
                <a:gd name="connsiteY66" fmla="*/ 6526 h 129021"/>
                <a:gd name="connsiteX67" fmla="*/ 192093 w 555792"/>
                <a:gd name="connsiteY67" fmla="*/ 6526 h 129021"/>
                <a:gd name="connsiteX68" fmla="*/ 192093 w 555792"/>
                <a:gd name="connsiteY68" fmla="*/ 126955 h 129021"/>
                <a:gd name="connsiteX69" fmla="*/ 166619 w 555792"/>
                <a:gd name="connsiteY69" fmla="*/ 126955 h 129021"/>
                <a:gd name="connsiteX70" fmla="*/ 134188 w 555792"/>
                <a:gd name="connsiteY70" fmla="*/ 66 h 129021"/>
                <a:gd name="connsiteX71" fmla="*/ 134452 w 555792"/>
                <a:gd name="connsiteY71" fmla="*/ 66 h 129021"/>
                <a:gd name="connsiteX72" fmla="*/ 151030 w 555792"/>
                <a:gd name="connsiteY72" fmla="*/ 13600 h 129021"/>
                <a:gd name="connsiteX73" fmla="*/ 137277 w 555792"/>
                <a:gd name="connsiteY73" fmla="*/ 29915 h 129021"/>
                <a:gd name="connsiteX74" fmla="*/ 134452 w 555792"/>
                <a:gd name="connsiteY74" fmla="*/ 29915 h 129021"/>
                <a:gd name="connsiteX75" fmla="*/ 119350 w 555792"/>
                <a:gd name="connsiteY75" fmla="*/ 15316 h 129021"/>
                <a:gd name="connsiteX76" fmla="*/ 119352 w 555792"/>
                <a:gd name="connsiteY76" fmla="*/ 14926 h 129021"/>
                <a:gd name="connsiteX77" fmla="*/ 134188 w 555792"/>
                <a:gd name="connsiteY77" fmla="*/ 66 h 129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555792" h="129021">
                  <a:moveTo>
                    <a:pt x="364489" y="61830"/>
                  </a:moveTo>
                  <a:cubicBezTo>
                    <a:pt x="353167" y="62674"/>
                    <a:pt x="344170" y="71529"/>
                    <a:pt x="343312" y="82670"/>
                  </a:cubicBezTo>
                  <a:cubicBezTo>
                    <a:pt x="342353" y="95123"/>
                    <a:pt x="351834" y="105983"/>
                    <a:pt x="364489" y="106926"/>
                  </a:cubicBezTo>
                  <a:cubicBezTo>
                    <a:pt x="365644" y="107012"/>
                    <a:pt x="366805" y="107012"/>
                    <a:pt x="367960" y="106926"/>
                  </a:cubicBezTo>
                  <a:cubicBezTo>
                    <a:pt x="380614" y="105983"/>
                    <a:pt x="390095" y="95123"/>
                    <a:pt x="389136" y="82670"/>
                  </a:cubicBezTo>
                  <a:cubicBezTo>
                    <a:pt x="388178" y="70217"/>
                    <a:pt x="377143" y="60887"/>
                    <a:pt x="364489" y="61830"/>
                  </a:cubicBezTo>
                  <a:close/>
                  <a:moveTo>
                    <a:pt x="255246" y="41285"/>
                  </a:moveTo>
                  <a:lnTo>
                    <a:pt x="280588" y="41285"/>
                  </a:lnTo>
                  <a:lnTo>
                    <a:pt x="280588" y="126955"/>
                  </a:lnTo>
                  <a:lnTo>
                    <a:pt x="255246" y="126955"/>
                  </a:lnTo>
                  <a:close/>
                  <a:moveTo>
                    <a:pt x="121846" y="40770"/>
                  </a:moveTo>
                  <a:lnTo>
                    <a:pt x="147188" y="40770"/>
                  </a:lnTo>
                  <a:lnTo>
                    <a:pt x="147188" y="126439"/>
                  </a:lnTo>
                  <a:lnTo>
                    <a:pt x="121846" y="126439"/>
                  </a:lnTo>
                  <a:close/>
                  <a:moveTo>
                    <a:pt x="301329" y="40638"/>
                  </a:moveTo>
                  <a:cubicBezTo>
                    <a:pt x="301505" y="40635"/>
                    <a:pt x="301682" y="40635"/>
                    <a:pt x="301859" y="40638"/>
                  </a:cubicBezTo>
                  <a:cubicBezTo>
                    <a:pt x="310198" y="40638"/>
                    <a:pt x="316958" y="47292"/>
                    <a:pt x="316958" y="55499"/>
                  </a:cubicBezTo>
                  <a:cubicBezTo>
                    <a:pt x="316958" y="63706"/>
                    <a:pt x="310198" y="70359"/>
                    <a:pt x="301859" y="70359"/>
                  </a:cubicBezTo>
                  <a:cubicBezTo>
                    <a:pt x="293664" y="70433"/>
                    <a:pt x="286961" y="63956"/>
                    <a:pt x="286885" y="55893"/>
                  </a:cubicBezTo>
                  <a:cubicBezTo>
                    <a:pt x="286883" y="55718"/>
                    <a:pt x="286885" y="55544"/>
                    <a:pt x="286890" y="55370"/>
                  </a:cubicBezTo>
                  <a:cubicBezTo>
                    <a:pt x="286743" y="47379"/>
                    <a:pt x="293207" y="40783"/>
                    <a:pt x="301329" y="40638"/>
                  </a:cubicBezTo>
                  <a:close/>
                  <a:moveTo>
                    <a:pt x="468871" y="39863"/>
                  </a:moveTo>
                  <a:cubicBezTo>
                    <a:pt x="480066" y="38933"/>
                    <a:pt x="490621" y="45114"/>
                    <a:pt x="495131" y="55240"/>
                  </a:cubicBezTo>
                  <a:cubicBezTo>
                    <a:pt x="501466" y="45339"/>
                    <a:pt x="512660" y="39487"/>
                    <a:pt x="524542" y="39863"/>
                  </a:cubicBezTo>
                  <a:cubicBezTo>
                    <a:pt x="540599" y="38721"/>
                    <a:pt x="554556" y="50605"/>
                    <a:pt x="555716" y="66406"/>
                  </a:cubicBezTo>
                  <a:cubicBezTo>
                    <a:pt x="555772" y="67162"/>
                    <a:pt x="555797" y="67920"/>
                    <a:pt x="555792" y="68678"/>
                  </a:cubicBezTo>
                  <a:lnTo>
                    <a:pt x="555792" y="126954"/>
                  </a:lnTo>
                  <a:lnTo>
                    <a:pt x="530582" y="126954"/>
                  </a:lnTo>
                  <a:lnTo>
                    <a:pt x="530582" y="75914"/>
                  </a:lnTo>
                  <a:cubicBezTo>
                    <a:pt x="531848" y="68888"/>
                    <a:pt x="527086" y="62181"/>
                    <a:pt x="519946" y="60936"/>
                  </a:cubicBezTo>
                  <a:cubicBezTo>
                    <a:pt x="518776" y="60732"/>
                    <a:pt x="517584" y="60685"/>
                    <a:pt x="516402" y="60796"/>
                  </a:cubicBezTo>
                  <a:cubicBezTo>
                    <a:pt x="505898" y="60796"/>
                    <a:pt x="499858" y="69324"/>
                    <a:pt x="499858" y="83150"/>
                  </a:cubicBezTo>
                  <a:lnTo>
                    <a:pt x="499858" y="126954"/>
                  </a:lnTo>
                  <a:lnTo>
                    <a:pt x="474780" y="126954"/>
                  </a:lnTo>
                  <a:lnTo>
                    <a:pt x="474780" y="75914"/>
                  </a:lnTo>
                  <a:cubicBezTo>
                    <a:pt x="476033" y="68885"/>
                    <a:pt x="471259" y="62187"/>
                    <a:pt x="464116" y="60954"/>
                  </a:cubicBezTo>
                  <a:cubicBezTo>
                    <a:pt x="463043" y="60769"/>
                    <a:pt x="461949" y="60716"/>
                    <a:pt x="460862" y="60796"/>
                  </a:cubicBezTo>
                  <a:cubicBezTo>
                    <a:pt x="450489" y="60796"/>
                    <a:pt x="444318" y="69454"/>
                    <a:pt x="444318" y="83150"/>
                  </a:cubicBezTo>
                  <a:lnTo>
                    <a:pt x="444318" y="126954"/>
                  </a:lnTo>
                  <a:lnTo>
                    <a:pt x="418977" y="126954"/>
                  </a:lnTo>
                  <a:lnTo>
                    <a:pt x="418977" y="41285"/>
                  </a:lnTo>
                  <a:lnTo>
                    <a:pt x="444318" y="41285"/>
                  </a:lnTo>
                  <a:lnTo>
                    <a:pt x="444318" y="52785"/>
                  </a:lnTo>
                  <a:cubicBezTo>
                    <a:pt x="449587" y="44489"/>
                    <a:pt x="458935" y="39570"/>
                    <a:pt x="468871" y="39863"/>
                  </a:cubicBezTo>
                  <a:close/>
                  <a:moveTo>
                    <a:pt x="364489" y="39863"/>
                  </a:moveTo>
                  <a:cubicBezTo>
                    <a:pt x="389455" y="39935"/>
                    <a:pt x="409656" y="59873"/>
                    <a:pt x="409656" y="84443"/>
                  </a:cubicBezTo>
                  <a:cubicBezTo>
                    <a:pt x="409656" y="84486"/>
                    <a:pt x="409656" y="84529"/>
                    <a:pt x="409656" y="84572"/>
                  </a:cubicBezTo>
                  <a:cubicBezTo>
                    <a:pt x="409583" y="109192"/>
                    <a:pt x="389244" y="129093"/>
                    <a:pt x="364227" y="129021"/>
                  </a:cubicBezTo>
                  <a:cubicBezTo>
                    <a:pt x="339208" y="128950"/>
                    <a:pt x="318986" y="108934"/>
                    <a:pt x="319059" y="84313"/>
                  </a:cubicBezTo>
                  <a:cubicBezTo>
                    <a:pt x="319131" y="59693"/>
                    <a:pt x="339471" y="39792"/>
                    <a:pt x="364489" y="39863"/>
                  </a:cubicBezTo>
                  <a:close/>
                  <a:moveTo>
                    <a:pt x="0" y="7947"/>
                  </a:moveTo>
                  <a:lnTo>
                    <a:pt x="27179" y="7947"/>
                  </a:lnTo>
                  <a:lnTo>
                    <a:pt x="27179" y="54206"/>
                  </a:lnTo>
                  <a:lnTo>
                    <a:pt x="75236" y="54206"/>
                  </a:lnTo>
                  <a:lnTo>
                    <a:pt x="75236" y="7947"/>
                  </a:lnTo>
                  <a:lnTo>
                    <a:pt x="102678" y="7947"/>
                  </a:lnTo>
                  <a:lnTo>
                    <a:pt x="102678" y="126954"/>
                  </a:lnTo>
                  <a:lnTo>
                    <a:pt x="75236" y="126954"/>
                  </a:lnTo>
                  <a:lnTo>
                    <a:pt x="75236" y="77207"/>
                  </a:lnTo>
                  <a:lnTo>
                    <a:pt x="27179" y="77207"/>
                  </a:lnTo>
                  <a:lnTo>
                    <a:pt x="27179" y="126954"/>
                  </a:lnTo>
                  <a:lnTo>
                    <a:pt x="0" y="126954"/>
                  </a:lnTo>
                  <a:close/>
                  <a:moveTo>
                    <a:pt x="210736" y="6526"/>
                  </a:moveTo>
                  <a:lnTo>
                    <a:pt x="236078" y="6526"/>
                  </a:lnTo>
                  <a:lnTo>
                    <a:pt x="236078" y="126955"/>
                  </a:lnTo>
                  <a:lnTo>
                    <a:pt x="210736" y="126955"/>
                  </a:lnTo>
                  <a:close/>
                  <a:moveTo>
                    <a:pt x="166619" y="6526"/>
                  </a:moveTo>
                  <a:lnTo>
                    <a:pt x="192093" y="6526"/>
                  </a:lnTo>
                  <a:lnTo>
                    <a:pt x="192093" y="126955"/>
                  </a:lnTo>
                  <a:lnTo>
                    <a:pt x="166619" y="126955"/>
                  </a:lnTo>
                  <a:close/>
                  <a:moveTo>
                    <a:pt x="134188" y="66"/>
                  </a:moveTo>
                  <a:cubicBezTo>
                    <a:pt x="134276" y="65"/>
                    <a:pt x="134364" y="65"/>
                    <a:pt x="134452" y="66"/>
                  </a:cubicBezTo>
                  <a:cubicBezTo>
                    <a:pt x="142828" y="-702"/>
                    <a:pt x="150250" y="5357"/>
                    <a:pt x="151030" y="13600"/>
                  </a:cubicBezTo>
                  <a:cubicBezTo>
                    <a:pt x="151810" y="21842"/>
                    <a:pt x="145653" y="29148"/>
                    <a:pt x="137277" y="29915"/>
                  </a:cubicBezTo>
                  <a:cubicBezTo>
                    <a:pt x="136338" y="30002"/>
                    <a:pt x="135392" y="30002"/>
                    <a:pt x="134452" y="29915"/>
                  </a:cubicBezTo>
                  <a:cubicBezTo>
                    <a:pt x="126185" y="29988"/>
                    <a:pt x="119424" y="23451"/>
                    <a:pt x="119350" y="15316"/>
                  </a:cubicBezTo>
                  <a:cubicBezTo>
                    <a:pt x="119349" y="15186"/>
                    <a:pt x="119349" y="15056"/>
                    <a:pt x="119352" y="14926"/>
                  </a:cubicBezTo>
                  <a:cubicBezTo>
                    <a:pt x="119279" y="6790"/>
                    <a:pt x="125921" y="137"/>
                    <a:pt x="134188" y="66"/>
                  </a:cubicBezTo>
                  <a:close/>
                </a:path>
              </a:pathLst>
            </a:custGeom>
            <a:solidFill>
              <a:srgbClr val="000839"/>
            </a:solidFill>
            <a:ln w="9525" cap="flat">
              <a:noFill/>
              <a:prstDash val="solid"/>
              <a:miter/>
            </a:ln>
          </p:spPr>
          <p:txBody>
            <a:bodyPr wrap="square" rtlCol="0" anchor="ctr">
              <a:noAutofit/>
            </a:bodyPr>
            <a:lstStyle/>
            <a:p>
              <a:endParaRPr lang="en-US"/>
            </a:p>
          </p:txBody>
        </p:sp>
      </p:grpSp>
    </p:spTree>
    <p:extLst>
      <p:ext uri="{BB962C8B-B14F-4D97-AF65-F5344CB8AC3E}">
        <p14:creationId xmlns:p14="http://schemas.microsoft.com/office/powerpoint/2010/main" val="8500980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Body - Quarter">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0B5AF54-99FD-4244-B5A3-BB0E7B8353D2}"/>
              </a:ext>
            </a:extLst>
          </p:cNvPr>
          <p:cNvSpPr>
            <a:spLocks noGrp="1"/>
          </p:cNvSpPr>
          <p:nvPr>
            <p:ph type="pic" sz="quarter" idx="16"/>
          </p:nvPr>
        </p:nvSpPr>
        <p:spPr>
          <a:xfrm>
            <a:off x="0" y="1317"/>
            <a:ext cx="12192000" cy="2570950"/>
          </a:xfrm>
          <a:prstGeom prst="rect">
            <a:avLst/>
          </a:prstGeom>
          <a:solidFill>
            <a:schemeClr val="accent5">
              <a:lumMod val="20000"/>
              <a:lumOff val="80000"/>
            </a:schemeClr>
          </a:solidFill>
        </p:spPr>
        <p:txBody>
          <a:bodyPr anchor="ctr"/>
          <a:lstStyle>
            <a:lvl1pPr marL="0" indent="0" algn="ctr">
              <a:buNone/>
              <a:defRPr/>
            </a:lvl1pPr>
          </a:lstStyle>
          <a:p>
            <a:r>
              <a:rPr lang="en-US"/>
              <a:t>Click icon to add picture</a:t>
            </a:r>
          </a:p>
        </p:txBody>
      </p:sp>
      <p:sp>
        <p:nvSpPr>
          <p:cNvPr id="3" name="Subtitle 2">
            <a:extLst>
              <a:ext uri="{FF2B5EF4-FFF2-40B4-BE49-F238E27FC236}">
                <a16:creationId xmlns:a16="http://schemas.microsoft.com/office/drawing/2014/main" id="{99C2B2A5-C177-4445-AF46-3ED43A1CC4CB}"/>
              </a:ext>
            </a:extLst>
          </p:cNvPr>
          <p:cNvSpPr>
            <a:spLocks noGrp="1"/>
          </p:cNvSpPr>
          <p:nvPr>
            <p:ph type="subTitle" idx="1"/>
          </p:nvPr>
        </p:nvSpPr>
        <p:spPr>
          <a:xfrm>
            <a:off x="594812" y="3710100"/>
            <a:ext cx="7958879" cy="380487"/>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lang="en-US" sz="1600" b="1" i="0" kern="1200" cap="all" spc="50" baseline="0" dirty="0">
                <a:solidFill>
                  <a:schemeClr val="accent1"/>
                </a:solidFill>
                <a:latin typeface="+mj-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8">
            <a:extLst>
              <a:ext uri="{FF2B5EF4-FFF2-40B4-BE49-F238E27FC236}">
                <a16:creationId xmlns:a16="http://schemas.microsoft.com/office/drawing/2014/main" id="{FD3B8154-5856-0144-90B5-3564DC77E658}"/>
              </a:ext>
            </a:extLst>
          </p:cNvPr>
          <p:cNvSpPr>
            <a:spLocks noGrp="1"/>
          </p:cNvSpPr>
          <p:nvPr>
            <p:ph type="title"/>
          </p:nvPr>
        </p:nvSpPr>
        <p:spPr>
          <a:xfrm>
            <a:off x="594812" y="3077789"/>
            <a:ext cx="7958879" cy="575250"/>
          </a:xfrm>
          <a:prstGeom prst="rect">
            <a:avLst/>
          </a:prstGeom>
        </p:spPr>
        <p:txBody>
          <a:bodyPr/>
          <a:lstStyle>
            <a:lvl1pPr marL="0" algn="l" defTabSz="914400" rtl="0" eaLnBrk="1" latinLnBrk="0" hangingPunct="1">
              <a:lnSpc>
                <a:spcPct val="90000"/>
              </a:lnSpc>
              <a:spcBef>
                <a:spcPct val="0"/>
              </a:spcBef>
              <a:buNone/>
              <a:defRPr lang="en-US" sz="3200" b="1" i="0" kern="1200" cap="none" spc="0" baseline="0" dirty="0">
                <a:solidFill>
                  <a:schemeClr val="tx1"/>
                </a:solidFill>
                <a:latin typeface="+mj-lt"/>
                <a:ea typeface="+mj-ea"/>
                <a:cs typeface="+mj-cs"/>
              </a:defRPr>
            </a:lvl1pPr>
          </a:lstStyle>
          <a:p>
            <a:r>
              <a:rPr lang="en-US"/>
              <a:t>Click to edit Master title style</a:t>
            </a:r>
          </a:p>
        </p:txBody>
      </p:sp>
      <p:sp>
        <p:nvSpPr>
          <p:cNvPr id="25" name="Slide Number Placeholder 5">
            <a:extLst>
              <a:ext uri="{FF2B5EF4-FFF2-40B4-BE49-F238E27FC236}">
                <a16:creationId xmlns:a16="http://schemas.microsoft.com/office/drawing/2014/main" id="{67D1DBF5-3FAD-C943-A2B4-E0629269A9BF}"/>
              </a:ext>
            </a:extLst>
          </p:cNvPr>
          <p:cNvSpPr>
            <a:spLocks noGrp="1"/>
          </p:cNvSpPr>
          <p:nvPr>
            <p:ph type="sldNum" sz="quarter" idx="4"/>
          </p:nvPr>
        </p:nvSpPr>
        <p:spPr>
          <a:xfrm>
            <a:off x="11537879" y="6325527"/>
            <a:ext cx="370726" cy="365125"/>
          </a:xfrm>
          <a:prstGeom prst="rect">
            <a:avLst/>
          </a:prstGeom>
        </p:spPr>
        <p:txBody>
          <a:bodyPr vert="horz" lIns="91440" tIns="45720" rIns="91440" bIns="45720" rtlCol="0" anchor="b"/>
          <a:lstStyle>
            <a:lvl1pPr algn="r">
              <a:defRPr sz="700" b="1" i="0">
                <a:solidFill>
                  <a:schemeClr val="tx1">
                    <a:tint val="75000"/>
                  </a:schemeClr>
                </a:solidFill>
                <a:latin typeface="+mj-lt"/>
              </a:defRPr>
            </a:lvl1pPr>
          </a:lstStyle>
          <a:p>
            <a:fld id="{EB3C441C-A16D-4531-8F9E-BFE4D57FBC82}" type="slidenum">
              <a:rPr lang="en-US" smtClean="0"/>
              <a:t>‹N°›</a:t>
            </a:fld>
            <a:endParaRPr lang="en-US"/>
          </a:p>
        </p:txBody>
      </p:sp>
      <p:sp>
        <p:nvSpPr>
          <p:cNvPr id="26" name="Footer Placeholder 54">
            <a:extLst>
              <a:ext uri="{FF2B5EF4-FFF2-40B4-BE49-F238E27FC236}">
                <a16:creationId xmlns:a16="http://schemas.microsoft.com/office/drawing/2014/main" id="{272C5E26-BD0B-C64B-BC2B-FB6C9C417EBF}"/>
              </a:ext>
            </a:extLst>
          </p:cNvPr>
          <p:cNvSpPr>
            <a:spLocks noGrp="1"/>
          </p:cNvSpPr>
          <p:nvPr>
            <p:ph type="ftr" sz="quarter" idx="15"/>
          </p:nvPr>
        </p:nvSpPr>
        <p:spPr>
          <a:xfrm>
            <a:off x="1819551" y="6340392"/>
            <a:ext cx="4114800" cy="365125"/>
          </a:xfrm>
          <a:prstGeom prst="rect">
            <a:avLst/>
          </a:prstGeom>
        </p:spPr>
        <p:txBody>
          <a:bodyPr anchor="b" anchorCtr="0"/>
          <a:lstStyle>
            <a:lvl1pPr>
              <a:defRPr sz="700">
                <a:solidFill>
                  <a:schemeClr val="accent2"/>
                </a:solidFill>
              </a:defRPr>
            </a:lvl1pPr>
          </a:lstStyle>
          <a:p>
            <a:endParaRPr lang="en-US"/>
          </a:p>
        </p:txBody>
      </p:sp>
      <p:sp>
        <p:nvSpPr>
          <p:cNvPr id="27" name="Picture Placeholder 3">
            <a:extLst>
              <a:ext uri="{FF2B5EF4-FFF2-40B4-BE49-F238E27FC236}">
                <a16:creationId xmlns:a16="http://schemas.microsoft.com/office/drawing/2014/main" id="{321382BC-AC06-8E42-8D9E-9DDFE80D876B}"/>
              </a:ext>
            </a:extLst>
          </p:cNvPr>
          <p:cNvSpPr>
            <a:spLocks noGrp="1"/>
          </p:cNvSpPr>
          <p:nvPr>
            <p:ph type="pic" sz="quarter" idx="17"/>
          </p:nvPr>
        </p:nvSpPr>
        <p:spPr>
          <a:xfrm>
            <a:off x="8646289" y="2572267"/>
            <a:ext cx="3545711" cy="4284416"/>
          </a:xfrm>
          <a:prstGeom prst="rect">
            <a:avLst/>
          </a:prstGeom>
          <a:solidFill>
            <a:schemeClr val="accent5">
              <a:lumMod val="20000"/>
              <a:lumOff val="80000"/>
            </a:schemeClr>
          </a:solidFill>
        </p:spPr>
        <p:txBody>
          <a:bodyPr anchor="ctr"/>
          <a:lstStyle>
            <a:lvl1pPr marL="0" indent="0" algn="ctr">
              <a:buNone/>
              <a:defRPr/>
            </a:lvl1pPr>
          </a:lstStyle>
          <a:p>
            <a:r>
              <a:rPr lang="en-US"/>
              <a:t>Click icon to add picture</a:t>
            </a:r>
          </a:p>
        </p:txBody>
      </p:sp>
      <p:sp>
        <p:nvSpPr>
          <p:cNvPr id="28" name="Text Placeholder 3">
            <a:extLst>
              <a:ext uri="{FF2B5EF4-FFF2-40B4-BE49-F238E27FC236}">
                <a16:creationId xmlns:a16="http://schemas.microsoft.com/office/drawing/2014/main" id="{9F47C85B-362F-9A40-B90F-EBA933850A88}"/>
              </a:ext>
            </a:extLst>
          </p:cNvPr>
          <p:cNvSpPr>
            <a:spLocks noGrp="1"/>
          </p:cNvSpPr>
          <p:nvPr>
            <p:ph type="body" sz="quarter" idx="13"/>
          </p:nvPr>
        </p:nvSpPr>
        <p:spPr>
          <a:xfrm>
            <a:off x="688350" y="498222"/>
            <a:ext cx="1997663" cy="244682"/>
          </a:xfrm>
          <a:prstGeom prst="rect">
            <a:avLst/>
          </a:prstGeom>
          <a:solidFill>
            <a:schemeClr val="accent1"/>
          </a:solidFill>
          <a:ln>
            <a:noFill/>
          </a:ln>
        </p:spPr>
        <p:txBody>
          <a:bodyPr wrap="none" anchor="ctr">
            <a:spAutoFit/>
          </a:bodyPr>
          <a:lstStyle>
            <a:lvl1pPr marL="0" indent="0">
              <a:buNone/>
              <a:defRPr sz="1100" b="1" cap="all" spc="50" baseline="0">
                <a:solidFill>
                  <a:schemeClr val="bg1"/>
                </a:solidFill>
                <a:latin typeface="+mj-lt"/>
              </a:defRPr>
            </a:lvl1pPr>
          </a:lstStyle>
          <a:p>
            <a:pPr lvl="0"/>
            <a:r>
              <a:rPr lang="en-US"/>
              <a:t>Edit Master text styles</a:t>
            </a:r>
          </a:p>
        </p:txBody>
      </p:sp>
      <p:sp>
        <p:nvSpPr>
          <p:cNvPr id="31" name="Content Placeholder 49">
            <a:extLst>
              <a:ext uri="{FF2B5EF4-FFF2-40B4-BE49-F238E27FC236}">
                <a16:creationId xmlns:a16="http://schemas.microsoft.com/office/drawing/2014/main" id="{B216380A-1197-124B-9D97-47CBF40F2FAB}"/>
              </a:ext>
            </a:extLst>
          </p:cNvPr>
          <p:cNvSpPr>
            <a:spLocks noGrp="1"/>
          </p:cNvSpPr>
          <p:nvPr>
            <p:ph sz="quarter" idx="19"/>
          </p:nvPr>
        </p:nvSpPr>
        <p:spPr>
          <a:xfrm>
            <a:off x="594812" y="4109013"/>
            <a:ext cx="3919070" cy="1834483"/>
          </a:xfrm>
          <a:prstGeom prst="rect">
            <a:avLst/>
          </a:prstGeom>
        </p:spPr>
        <p:txBody>
          <a:bodyPr/>
          <a:lstStyle>
            <a:lvl1pPr marL="0" indent="0">
              <a:lnSpc>
                <a:spcPct val="125000"/>
              </a:lnSpc>
              <a:spcBef>
                <a:spcPts val="0"/>
              </a:spcBef>
              <a:buNone/>
              <a:defRPr sz="1400"/>
            </a:lvl1pPr>
            <a:lvl2pPr marL="11113" indent="0">
              <a:lnSpc>
                <a:spcPct val="110000"/>
              </a:lnSpc>
              <a:spcBef>
                <a:spcPts val="0"/>
              </a:spcBef>
              <a:buNone/>
              <a:tabLst/>
              <a:defRPr sz="1400"/>
            </a:lvl2pPr>
            <a:lvl3pPr marL="230188" indent="-219075">
              <a:lnSpc>
                <a:spcPct val="110000"/>
              </a:lnSpc>
              <a:spcBef>
                <a:spcPts val="0"/>
              </a:spcBef>
              <a:spcAft>
                <a:spcPts val="0"/>
              </a:spcAft>
              <a:buFont typeface="System Font Regular"/>
              <a:buChar char="–"/>
              <a:tabLst/>
              <a:defRPr sz="1400"/>
            </a:lvl3pPr>
            <a:lvl4pPr marL="342900" indent="-176213">
              <a:lnSpc>
                <a:spcPct val="110000"/>
              </a:lnSpc>
              <a:spcBef>
                <a:spcPts val="0"/>
              </a:spcBef>
              <a:buFont typeface="System Font Regular"/>
              <a:buChar char="+"/>
              <a:tabLst/>
              <a:defRPr sz="1400"/>
            </a:lvl4pPr>
            <a:lvl5pPr marL="574675" indent="-176213">
              <a:lnSpc>
                <a:spcPct val="110000"/>
              </a:lnSpc>
              <a:spcBef>
                <a:spcPts val="0"/>
              </a:spcBef>
              <a:buFont typeface="System Font Regular"/>
              <a:buChar char="–"/>
              <a:tabLst/>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49">
            <a:extLst>
              <a:ext uri="{FF2B5EF4-FFF2-40B4-BE49-F238E27FC236}">
                <a16:creationId xmlns:a16="http://schemas.microsoft.com/office/drawing/2014/main" id="{1BB0A463-6652-E846-BD4B-C5EBA2B80ED5}"/>
              </a:ext>
            </a:extLst>
          </p:cNvPr>
          <p:cNvSpPr>
            <a:spLocks noGrp="1"/>
          </p:cNvSpPr>
          <p:nvPr>
            <p:ph sz="quarter" idx="20"/>
          </p:nvPr>
        </p:nvSpPr>
        <p:spPr>
          <a:xfrm>
            <a:off x="4636460" y="4109013"/>
            <a:ext cx="3919070" cy="1834483"/>
          </a:xfrm>
          <a:prstGeom prst="rect">
            <a:avLst/>
          </a:prstGeom>
        </p:spPr>
        <p:txBody>
          <a:bodyPr/>
          <a:lstStyle>
            <a:lvl1pPr marL="0" indent="0">
              <a:lnSpc>
                <a:spcPct val="125000"/>
              </a:lnSpc>
              <a:spcBef>
                <a:spcPts val="0"/>
              </a:spcBef>
              <a:buNone/>
              <a:defRPr sz="1400"/>
            </a:lvl1pPr>
            <a:lvl2pPr marL="11113" indent="0">
              <a:lnSpc>
                <a:spcPct val="110000"/>
              </a:lnSpc>
              <a:spcBef>
                <a:spcPts val="0"/>
              </a:spcBef>
              <a:buNone/>
              <a:tabLst/>
              <a:defRPr sz="1400"/>
            </a:lvl2pPr>
            <a:lvl3pPr marL="230188" indent="-219075">
              <a:lnSpc>
                <a:spcPct val="110000"/>
              </a:lnSpc>
              <a:spcBef>
                <a:spcPts val="0"/>
              </a:spcBef>
              <a:spcAft>
                <a:spcPts val="0"/>
              </a:spcAft>
              <a:buFont typeface="System Font Regular"/>
              <a:buChar char="–"/>
              <a:tabLst/>
              <a:defRPr sz="1400"/>
            </a:lvl3pPr>
            <a:lvl4pPr marL="342900" indent="-176213">
              <a:lnSpc>
                <a:spcPct val="110000"/>
              </a:lnSpc>
              <a:spcBef>
                <a:spcPts val="0"/>
              </a:spcBef>
              <a:buFont typeface="System Font Regular"/>
              <a:buChar char="+"/>
              <a:tabLst/>
              <a:defRPr sz="1400"/>
            </a:lvl4pPr>
            <a:lvl5pPr marL="574675" indent="-176213">
              <a:lnSpc>
                <a:spcPct val="110000"/>
              </a:lnSpc>
              <a:spcBef>
                <a:spcPts val="0"/>
              </a:spcBef>
              <a:buFont typeface="System Font Regular"/>
              <a:buChar char="–"/>
              <a:tabLst/>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4" name="Group 33">
            <a:extLst>
              <a:ext uri="{FF2B5EF4-FFF2-40B4-BE49-F238E27FC236}">
                <a16:creationId xmlns:a16="http://schemas.microsoft.com/office/drawing/2014/main" id="{4C3D346F-4AD4-614B-A25B-D98292276DF5}"/>
              </a:ext>
            </a:extLst>
          </p:cNvPr>
          <p:cNvGrpSpPr/>
          <p:nvPr/>
        </p:nvGrpSpPr>
        <p:grpSpPr>
          <a:xfrm>
            <a:off x="3047" y="6305605"/>
            <a:ext cx="1254409" cy="552395"/>
            <a:chOff x="3047" y="6305605"/>
            <a:chExt cx="1254409" cy="552395"/>
          </a:xfrm>
        </p:grpSpPr>
        <p:grpSp>
          <p:nvGrpSpPr>
            <p:cNvPr id="49" name="Group 48">
              <a:extLst>
                <a:ext uri="{FF2B5EF4-FFF2-40B4-BE49-F238E27FC236}">
                  <a16:creationId xmlns:a16="http://schemas.microsoft.com/office/drawing/2014/main" id="{BDFF7DEF-CA6B-4D49-9FDA-6FDA5FB61A32}"/>
                </a:ext>
              </a:extLst>
            </p:cNvPr>
            <p:cNvGrpSpPr/>
            <p:nvPr/>
          </p:nvGrpSpPr>
          <p:grpSpPr>
            <a:xfrm>
              <a:off x="3047" y="6305605"/>
              <a:ext cx="551693" cy="552395"/>
              <a:chOff x="3047" y="6305605"/>
              <a:chExt cx="551693" cy="552395"/>
            </a:xfrm>
          </p:grpSpPr>
          <p:sp>
            <p:nvSpPr>
              <p:cNvPr id="52" name="Rectangle 51">
                <a:extLst>
                  <a:ext uri="{FF2B5EF4-FFF2-40B4-BE49-F238E27FC236}">
                    <a16:creationId xmlns:a16="http://schemas.microsoft.com/office/drawing/2014/main" id="{84726350-BA0C-0C4D-ACC4-B6BB3514E4E5}"/>
                  </a:ext>
                </a:extLst>
              </p:cNvPr>
              <p:cNvSpPr/>
              <p:nvPr/>
            </p:nvSpPr>
            <p:spPr>
              <a:xfrm>
                <a:off x="3047" y="6305605"/>
                <a:ext cx="551693" cy="552395"/>
              </a:xfrm>
              <a:prstGeom prst="rect">
                <a:avLst/>
              </a:prstGeom>
              <a:solidFill>
                <a:srgbClr val="5369E4"/>
              </a:solidFill>
              <a:ln w="9525" cap="flat">
                <a:noFill/>
                <a:prstDash val="solid"/>
                <a:miter/>
              </a:ln>
            </p:spPr>
            <p:txBody>
              <a:bodyPr rtlCol="0" anchor="ctr"/>
              <a:lstStyle/>
              <a:p>
                <a:endParaRPr lang="en-US"/>
              </a:p>
            </p:txBody>
          </p:sp>
          <p:sp>
            <p:nvSpPr>
              <p:cNvPr id="53" name="Freeform 52">
                <a:extLst>
                  <a:ext uri="{FF2B5EF4-FFF2-40B4-BE49-F238E27FC236}">
                    <a16:creationId xmlns:a16="http://schemas.microsoft.com/office/drawing/2014/main" id="{E45B9D57-09A3-354A-8F6B-0F80265960DD}"/>
                  </a:ext>
                </a:extLst>
              </p:cNvPr>
              <p:cNvSpPr/>
              <p:nvPr/>
            </p:nvSpPr>
            <p:spPr>
              <a:xfrm>
                <a:off x="173577" y="6501753"/>
                <a:ext cx="279408" cy="175345"/>
              </a:xfrm>
              <a:custGeom>
                <a:avLst/>
                <a:gdLst>
                  <a:gd name="connsiteX0" fmla="*/ 102941 w 279408"/>
                  <a:gd name="connsiteY0" fmla="*/ 59439 h 175345"/>
                  <a:gd name="connsiteX1" fmla="*/ 132352 w 279408"/>
                  <a:gd name="connsiteY1" fmla="*/ 88384 h 175345"/>
                  <a:gd name="connsiteX2" fmla="*/ 102941 w 279408"/>
                  <a:gd name="connsiteY2" fmla="*/ 117329 h 175345"/>
                  <a:gd name="connsiteX3" fmla="*/ 73528 w 279408"/>
                  <a:gd name="connsiteY3" fmla="*/ 88384 h 175345"/>
                  <a:gd name="connsiteX4" fmla="*/ 102941 w 279408"/>
                  <a:gd name="connsiteY4" fmla="*/ 59439 h 175345"/>
                  <a:gd name="connsiteX5" fmla="*/ 147056 w 279408"/>
                  <a:gd name="connsiteY5" fmla="*/ 1809 h 175345"/>
                  <a:gd name="connsiteX6" fmla="*/ 205880 w 279408"/>
                  <a:gd name="connsiteY6" fmla="*/ 1809 h 175345"/>
                  <a:gd name="connsiteX7" fmla="*/ 205880 w 279408"/>
                  <a:gd name="connsiteY7" fmla="*/ 59698 h 175345"/>
                  <a:gd name="connsiteX8" fmla="*/ 205880 w 279408"/>
                  <a:gd name="connsiteY8" fmla="*/ 117457 h 175345"/>
                  <a:gd name="connsiteX9" fmla="*/ 205880 w 279408"/>
                  <a:gd name="connsiteY9" fmla="*/ 175345 h 175345"/>
                  <a:gd name="connsiteX10" fmla="*/ 147056 w 279408"/>
                  <a:gd name="connsiteY10" fmla="*/ 175345 h 175345"/>
                  <a:gd name="connsiteX11" fmla="*/ 147056 w 279408"/>
                  <a:gd name="connsiteY11" fmla="*/ 117457 h 175345"/>
                  <a:gd name="connsiteX12" fmla="*/ 147056 w 279408"/>
                  <a:gd name="connsiteY12" fmla="*/ 59698 h 175345"/>
                  <a:gd name="connsiteX13" fmla="*/ 0 w 279408"/>
                  <a:gd name="connsiteY13" fmla="*/ 1809 h 175345"/>
                  <a:gd name="connsiteX14" fmla="*/ 58824 w 279408"/>
                  <a:gd name="connsiteY14" fmla="*/ 1809 h 175345"/>
                  <a:gd name="connsiteX15" fmla="*/ 58824 w 279408"/>
                  <a:gd name="connsiteY15" fmla="*/ 59698 h 175345"/>
                  <a:gd name="connsiteX16" fmla="*/ 58824 w 279408"/>
                  <a:gd name="connsiteY16" fmla="*/ 117457 h 175345"/>
                  <a:gd name="connsiteX17" fmla="*/ 58824 w 279408"/>
                  <a:gd name="connsiteY17" fmla="*/ 175345 h 175345"/>
                  <a:gd name="connsiteX18" fmla="*/ 0 w 279408"/>
                  <a:gd name="connsiteY18" fmla="*/ 175345 h 175345"/>
                  <a:gd name="connsiteX19" fmla="*/ 0 w 279408"/>
                  <a:gd name="connsiteY19" fmla="*/ 117457 h 175345"/>
                  <a:gd name="connsiteX20" fmla="*/ 0 w 279408"/>
                  <a:gd name="connsiteY20" fmla="*/ 59698 h 175345"/>
                  <a:gd name="connsiteX21" fmla="*/ 249997 w 279408"/>
                  <a:gd name="connsiteY21" fmla="*/ 0 h 175345"/>
                  <a:gd name="connsiteX22" fmla="*/ 279408 w 279408"/>
                  <a:gd name="connsiteY22" fmla="*/ 28945 h 175345"/>
                  <a:gd name="connsiteX23" fmla="*/ 249997 w 279408"/>
                  <a:gd name="connsiteY23" fmla="*/ 57890 h 175345"/>
                  <a:gd name="connsiteX24" fmla="*/ 220584 w 279408"/>
                  <a:gd name="connsiteY24" fmla="*/ 28945 h 175345"/>
                  <a:gd name="connsiteX25" fmla="*/ 249997 w 279408"/>
                  <a:gd name="connsiteY25" fmla="*/ 0 h 175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79408" h="175345">
                    <a:moveTo>
                      <a:pt x="102941" y="59439"/>
                    </a:moveTo>
                    <a:cubicBezTo>
                      <a:pt x="119184" y="59439"/>
                      <a:pt x="132352" y="72399"/>
                      <a:pt x="132352" y="88384"/>
                    </a:cubicBezTo>
                    <a:cubicBezTo>
                      <a:pt x="132352" y="104370"/>
                      <a:pt x="119184" y="117329"/>
                      <a:pt x="102941" y="117329"/>
                    </a:cubicBezTo>
                    <a:cubicBezTo>
                      <a:pt x="86696" y="117329"/>
                      <a:pt x="73528" y="104370"/>
                      <a:pt x="73528" y="88384"/>
                    </a:cubicBezTo>
                    <a:cubicBezTo>
                      <a:pt x="73528" y="72399"/>
                      <a:pt x="86696" y="59439"/>
                      <a:pt x="102941" y="59439"/>
                    </a:cubicBezTo>
                    <a:close/>
                    <a:moveTo>
                      <a:pt x="147056" y="1809"/>
                    </a:moveTo>
                    <a:lnTo>
                      <a:pt x="205880" y="1809"/>
                    </a:lnTo>
                    <a:lnTo>
                      <a:pt x="205880" y="59698"/>
                    </a:lnTo>
                    <a:lnTo>
                      <a:pt x="205880" y="117457"/>
                    </a:lnTo>
                    <a:lnTo>
                      <a:pt x="205880" y="175345"/>
                    </a:lnTo>
                    <a:lnTo>
                      <a:pt x="147056" y="175345"/>
                    </a:lnTo>
                    <a:lnTo>
                      <a:pt x="147056" y="117457"/>
                    </a:lnTo>
                    <a:lnTo>
                      <a:pt x="147056" y="59698"/>
                    </a:lnTo>
                    <a:close/>
                    <a:moveTo>
                      <a:pt x="0" y="1809"/>
                    </a:moveTo>
                    <a:lnTo>
                      <a:pt x="58824" y="1809"/>
                    </a:lnTo>
                    <a:lnTo>
                      <a:pt x="58824" y="59698"/>
                    </a:lnTo>
                    <a:lnTo>
                      <a:pt x="58824" y="117457"/>
                    </a:lnTo>
                    <a:lnTo>
                      <a:pt x="58824" y="175345"/>
                    </a:lnTo>
                    <a:lnTo>
                      <a:pt x="0" y="175345"/>
                    </a:lnTo>
                    <a:lnTo>
                      <a:pt x="0" y="117457"/>
                    </a:lnTo>
                    <a:lnTo>
                      <a:pt x="0" y="59698"/>
                    </a:lnTo>
                    <a:close/>
                    <a:moveTo>
                      <a:pt x="249997" y="0"/>
                    </a:moveTo>
                    <a:cubicBezTo>
                      <a:pt x="266240" y="0"/>
                      <a:pt x="279408" y="12960"/>
                      <a:pt x="279408" y="28945"/>
                    </a:cubicBezTo>
                    <a:cubicBezTo>
                      <a:pt x="279408" y="44931"/>
                      <a:pt x="266240" y="57890"/>
                      <a:pt x="249997" y="57890"/>
                    </a:cubicBezTo>
                    <a:cubicBezTo>
                      <a:pt x="233752" y="57890"/>
                      <a:pt x="220584" y="44931"/>
                      <a:pt x="220584" y="28945"/>
                    </a:cubicBezTo>
                    <a:cubicBezTo>
                      <a:pt x="220584" y="12960"/>
                      <a:pt x="233752" y="0"/>
                      <a:pt x="249997" y="0"/>
                    </a:cubicBezTo>
                    <a:close/>
                  </a:path>
                </a:pathLst>
              </a:custGeom>
              <a:solidFill>
                <a:srgbClr val="FFFFFF"/>
              </a:solidFill>
              <a:ln w="9525" cap="flat">
                <a:noFill/>
                <a:prstDash val="solid"/>
                <a:miter/>
              </a:ln>
            </p:spPr>
            <p:txBody>
              <a:bodyPr wrap="square" rtlCol="0" anchor="ctr">
                <a:noAutofit/>
              </a:bodyPr>
              <a:lstStyle/>
              <a:p>
                <a:endParaRPr lang="en-US"/>
              </a:p>
            </p:txBody>
          </p:sp>
        </p:grpSp>
        <p:sp>
          <p:nvSpPr>
            <p:cNvPr id="51" name="Freeform 50">
              <a:extLst>
                <a:ext uri="{FF2B5EF4-FFF2-40B4-BE49-F238E27FC236}">
                  <a16:creationId xmlns:a16="http://schemas.microsoft.com/office/drawing/2014/main" id="{42E26924-5A42-CC47-AB72-C208AC3D9FAC}"/>
                </a:ext>
              </a:extLst>
            </p:cNvPr>
            <p:cNvSpPr/>
            <p:nvPr/>
          </p:nvSpPr>
          <p:spPr>
            <a:xfrm>
              <a:off x="701664" y="6524947"/>
              <a:ext cx="555792" cy="129021"/>
            </a:xfrm>
            <a:custGeom>
              <a:avLst/>
              <a:gdLst>
                <a:gd name="connsiteX0" fmla="*/ 364489 w 555792"/>
                <a:gd name="connsiteY0" fmla="*/ 61830 h 129021"/>
                <a:gd name="connsiteX1" fmla="*/ 343312 w 555792"/>
                <a:gd name="connsiteY1" fmla="*/ 82670 h 129021"/>
                <a:gd name="connsiteX2" fmla="*/ 364489 w 555792"/>
                <a:gd name="connsiteY2" fmla="*/ 106926 h 129021"/>
                <a:gd name="connsiteX3" fmla="*/ 367960 w 555792"/>
                <a:gd name="connsiteY3" fmla="*/ 106926 h 129021"/>
                <a:gd name="connsiteX4" fmla="*/ 389136 w 555792"/>
                <a:gd name="connsiteY4" fmla="*/ 82670 h 129021"/>
                <a:gd name="connsiteX5" fmla="*/ 364489 w 555792"/>
                <a:gd name="connsiteY5" fmla="*/ 61830 h 129021"/>
                <a:gd name="connsiteX6" fmla="*/ 255246 w 555792"/>
                <a:gd name="connsiteY6" fmla="*/ 41285 h 129021"/>
                <a:gd name="connsiteX7" fmla="*/ 280588 w 555792"/>
                <a:gd name="connsiteY7" fmla="*/ 41285 h 129021"/>
                <a:gd name="connsiteX8" fmla="*/ 280588 w 555792"/>
                <a:gd name="connsiteY8" fmla="*/ 126955 h 129021"/>
                <a:gd name="connsiteX9" fmla="*/ 255246 w 555792"/>
                <a:gd name="connsiteY9" fmla="*/ 126955 h 129021"/>
                <a:gd name="connsiteX10" fmla="*/ 121846 w 555792"/>
                <a:gd name="connsiteY10" fmla="*/ 40770 h 129021"/>
                <a:gd name="connsiteX11" fmla="*/ 147188 w 555792"/>
                <a:gd name="connsiteY11" fmla="*/ 40770 h 129021"/>
                <a:gd name="connsiteX12" fmla="*/ 147188 w 555792"/>
                <a:gd name="connsiteY12" fmla="*/ 126439 h 129021"/>
                <a:gd name="connsiteX13" fmla="*/ 121846 w 555792"/>
                <a:gd name="connsiteY13" fmla="*/ 126439 h 129021"/>
                <a:gd name="connsiteX14" fmla="*/ 301329 w 555792"/>
                <a:gd name="connsiteY14" fmla="*/ 40638 h 129021"/>
                <a:gd name="connsiteX15" fmla="*/ 301859 w 555792"/>
                <a:gd name="connsiteY15" fmla="*/ 40638 h 129021"/>
                <a:gd name="connsiteX16" fmla="*/ 316958 w 555792"/>
                <a:gd name="connsiteY16" fmla="*/ 55499 h 129021"/>
                <a:gd name="connsiteX17" fmla="*/ 301859 w 555792"/>
                <a:gd name="connsiteY17" fmla="*/ 70359 h 129021"/>
                <a:gd name="connsiteX18" fmla="*/ 286885 w 555792"/>
                <a:gd name="connsiteY18" fmla="*/ 55893 h 129021"/>
                <a:gd name="connsiteX19" fmla="*/ 286890 w 555792"/>
                <a:gd name="connsiteY19" fmla="*/ 55370 h 129021"/>
                <a:gd name="connsiteX20" fmla="*/ 301329 w 555792"/>
                <a:gd name="connsiteY20" fmla="*/ 40638 h 129021"/>
                <a:gd name="connsiteX21" fmla="*/ 468871 w 555792"/>
                <a:gd name="connsiteY21" fmla="*/ 39863 h 129021"/>
                <a:gd name="connsiteX22" fmla="*/ 495131 w 555792"/>
                <a:gd name="connsiteY22" fmla="*/ 55240 h 129021"/>
                <a:gd name="connsiteX23" fmla="*/ 524542 w 555792"/>
                <a:gd name="connsiteY23" fmla="*/ 39863 h 129021"/>
                <a:gd name="connsiteX24" fmla="*/ 555716 w 555792"/>
                <a:gd name="connsiteY24" fmla="*/ 66406 h 129021"/>
                <a:gd name="connsiteX25" fmla="*/ 555792 w 555792"/>
                <a:gd name="connsiteY25" fmla="*/ 68678 h 129021"/>
                <a:gd name="connsiteX26" fmla="*/ 555792 w 555792"/>
                <a:gd name="connsiteY26" fmla="*/ 126954 h 129021"/>
                <a:gd name="connsiteX27" fmla="*/ 530582 w 555792"/>
                <a:gd name="connsiteY27" fmla="*/ 126954 h 129021"/>
                <a:gd name="connsiteX28" fmla="*/ 530582 w 555792"/>
                <a:gd name="connsiteY28" fmla="*/ 75914 h 129021"/>
                <a:gd name="connsiteX29" fmla="*/ 519946 w 555792"/>
                <a:gd name="connsiteY29" fmla="*/ 60936 h 129021"/>
                <a:gd name="connsiteX30" fmla="*/ 516402 w 555792"/>
                <a:gd name="connsiteY30" fmla="*/ 60796 h 129021"/>
                <a:gd name="connsiteX31" fmla="*/ 499858 w 555792"/>
                <a:gd name="connsiteY31" fmla="*/ 83150 h 129021"/>
                <a:gd name="connsiteX32" fmla="*/ 499858 w 555792"/>
                <a:gd name="connsiteY32" fmla="*/ 126954 h 129021"/>
                <a:gd name="connsiteX33" fmla="*/ 474780 w 555792"/>
                <a:gd name="connsiteY33" fmla="*/ 126954 h 129021"/>
                <a:gd name="connsiteX34" fmla="*/ 474780 w 555792"/>
                <a:gd name="connsiteY34" fmla="*/ 75914 h 129021"/>
                <a:gd name="connsiteX35" fmla="*/ 464116 w 555792"/>
                <a:gd name="connsiteY35" fmla="*/ 60954 h 129021"/>
                <a:gd name="connsiteX36" fmla="*/ 460862 w 555792"/>
                <a:gd name="connsiteY36" fmla="*/ 60796 h 129021"/>
                <a:gd name="connsiteX37" fmla="*/ 444318 w 555792"/>
                <a:gd name="connsiteY37" fmla="*/ 83150 h 129021"/>
                <a:gd name="connsiteX38" fmla="*/ 444318 w 555792"/>
                <a:gd name="connsiteY38" fmla="*/ 126954 h 129021"/>
                <a:gd name="connsiteX39" fmla="*/ 418977 w 555792"/>
                <a:gd name="connsiteY39" fmla="*/ 126954 h 129021"/>
                <a:gd name="connsiteX40" fmla="*/ 418977 w 555792"/>
                <a:gd name="connsiteY40" fmla="*/ 41285 h 129021"/>
                <a:gd name="connsiteX41" fmla="*/ 444318 w 555792"/>
                <a:gd name="connsiteY41" fmla="*/ 41285 h 129021"/>
                <a:gd name="connsiteX42" fmla="*/ 444318 w 555792"/>
                <a:gd name="connsiteY42" fmla="*/ 52785 h 129021"/>
                <a:gd name="connsiteX43" fmla="*/ 468871 w 555792"/>
                <a:gd name="connsiteY43" fmla="*/ 39863 h 129021"/>
                <a:gd name="connsiteX44" fmla="*/ 364489 w 555792"/>
                <a:gd name="connsiteY44" fmla="*/ 39863 h 129021"/>
                <a:gd name="connsiteX45" fmla="*/ 409656 w 555792"/>
                <a:gd name="connsiteY45" fmla="*/ 84443 h 129021"/>
                <a:gd name="connsiteX46" fmla="*/ 409656 w 555792"/>
                <a:gd name="connsiteY46" fmla="*/ 84572 h 129021"/>
                <a:gd name="connsiteX47" fmla="*/ 364227 w 555792"/>
                <a:gd name="connsiteY47" fmla="*/ 129021 h 129021"/>
                <a:gd name="connsiteX48" fmla="*/ 319059 w 555792"/>
                <a:gd name="connsiteY48" fmla="*/ 84313 h 129021"/>
                <a:gd name="connsiteX49" fmla="*/ 364489 w 555792"/>
                <a:gd name="connsiteY49" fmla="*/ 39863 h 129021"/>
                <a:gd name="connsiteX50" fmla="*/ 0 w 555792"/>
                <a:gd name="connsiteY50" fmla="*/ 7947 h 129021"/>
                <a:gd name="connsiteX51" fmla="*/ 27179 w 555792"/>
                <a:gd name="connsiteY51" fmla="*/ 7947 h 129021"/>
                <a:gd name="connsiteX52" fmla="*/ 27179 w 555792"/>
                <a:gd name="connsiteY52" fmla="*/ 54206 h 129021"/>
                <a:gd name="connsiteX53" fmla="*/ 75236 w 555792"/>
                <a:gd name="connsiteY53" fmla="*/ 54206 h 129021"/>
                <a:gd name="connsiteX54" fmla="*/ 75236 w 555792"/>
                <a:gd name="connsiteY54" fmla="*/ 7947 h 129021"/>
                <a:gd name="connsiteX55" fmla="*/ 102678 w 555792"/>
                <a:gd name="connsiteY55" fmla="*/ 7947 h 129021"/>
                <a:gd name="connsiteX56" fmla="*/ 102678 w 555792"/>
                <a:gd name="connsiteY56" fmla="*/ 126954 h 129021"/>
                <a:gd name="connsiteX57" fmla="*/ 75236 w 555792"/>
                <a:gd name="connsiteY57" fmla="*/ 126954 h 129021"/>
                <a:gd name="connsiteX58" fmla="*/ 75236 w 555792"/>
                <a:gd name="connsiteY58" fmla="*/ 77207 h 129021"/>
                <a:gd name="connsiteX59" fmla="*/ 27179 w 555792"/>
                <a:gd name="connsiteY59" fmla="*/ 77207 h 129021"/>
                <a:gd name="connsiteX60" fmla="*/ 27179 w 555792"/>
                <a:gd name="connsiteY60" fmla="*/ 126954 h 129021"/>
                <a:gd name="connsiteX61" fmla="*/ 0 w 555792"/>
                <a:gd name="connsiteY61" fmla="*/ 126954 h 129021"/>
                <a:gd name="connsiteX62" fmla="*/ 210736 w 555792"/>
                <a:gd name="connsiteY62" fmla="*/ 6526 h 129021"/>
                <a:gd name="connsiteX63" fmla="*/ 236078 w 555792"/>
                <a:gd name="connsiteY63" fmla="*/ 6526 h 129021"/>
                <a:gd name="connsiteX64" fmla="*/ 236078 w 555792"/>
                <a:gd name="connsiteY64" fmla="*/ 126955 h 129021"/>
                <a:gd name="connsiteX65" fmla="*/ 210736 w 555792"/>
                <a:gd name="connsiteY65" fmla="*/ 126955 h 129021"/>
                <a:gd name="connsiteX66" fmla="*/ 166619 w 555792"/>
                <a:gd name="connsiteY66" fmla="*/ 6526 h 129021"/>
                <a:gd name="connsiteX67" fmla="*/ 192093 w 555792"/>
                <a:gd name="connsiteY67" fmla="*/ 6526 h 129021"/>
                <a:gd name="connsiteX68" fmla="*/ 192093 w 555792"/>
                <a:gd name="connsiteY68" fmla="*/ 126955 h 129021"/>
                <a:gd name="connsiteX69" fmla="*/ 166619 w 555792"/>
                <a:gd name="connsiteY69" fmla="*/ 126955 h 129021"/>
                <a:gd name="connsiteX70" fmla="*/ 134188 w 555792"/>
                <a:gd name="connsiteY70" fmla="*/ 66 h 129021"/>
                <a:gd name="connsiteX71" fmla="*/ 134452 w 555792"/>
                <a:gd name="connsiteY71" fmla="*/ 66 h 129021"/>
                <a:gd name="connsiteX72" fmla="*/ 151030 w 555792"/>
                <a:gd name="connsiteY72" fmla="*/ 13600 h 129021"/>
                <a:gd name="connsiteX73" fmla="*/ 137277 w 555792"/>
                <a:gd name="connsiteY73" fmla="*/ 29915 h 129021"/>
                <a:gd name="connsiteX74" fmla="*/ 134452 w 555792"/>
                <a:gd name="connsiteY74" fmla="*/ 29915 h 129021"/>
                <a:gd name="connsiteX75" fmla="*/ 119350 w 555792"/>
                <a:gd name="connsiteY75" fmla="*/ 15316 h 129021"/>
                <a:gd name="connsiteX76" fmla="*/ 119352 w 555792"/>
                <a:gd name="connsiteY76" fmla="*/ 14926 h 129021"/>
                <a:gd name="connsiteX77" fmla="*/ 134188 w 555792"/>
                <a:gd name="connsiteY77" fmla="*/ 66 h 129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555792" h="129021">
                  <a:moveTo>
                    <a:pt x="364489" y="61830"/>
                  </a:moveTo>
                  <a:cubicBezTo>
                    <a:pt x="353167" y="62674"/>
                    <a:pt x="344170" y="71529"/>
                    <a:pt x="343312" y="82670"/>
                  </a:cubicBezTo>
                  <a:cubicBezTo>
                    <a:pt x="342353" y="95123"/>
                    <a:pt x="351834" y="105983"/>
                    <a:pt x="364489" y="106926"/>
                  </a:cubicBezTo>
                  <a:cubicBezTo>
                    <a:pt x="365644" y="107012"/>
                    <a:pt x="366805" y="107012"/>
                    <a:pt x="367960" y="106926"/>
                  </a:cubicBezTo>
                  <a:cubicBezTo>
                    <a:pt x="380614" y="105983"/>
                    <a:pt x="390095" y="95123"/>
                    <a:pt x="389136" y="82670"/>
                  </a:cubicBezTo>
                  <a:cubicBezTo>
                    <a:pt x="388178" y="70217"/>
                    <a:pt x="377143" y="60887"/>
                    <a:pt x="364489" y="61830"/>
                  </a:cubicBezTo>
                  <a:close/>
                  <a:moveTo>
                    <a:pt x="255246" y="41285"/>
                  </a:moveTo>
                  <a:lnTo>
                    <a:pt x="280588" y="41285"/>
                  </a:lnTo>
                  <a:lnTo>
                    <a:pt x="280588" y="126955"/>
                  </a:lnTo>
                  <a:lnTo>
                    <a:pt x="255246" y="126955"/>
                  </a:lnTo>
                  <a:close/>
                  <a:moveTo>
                    <a:pt x="121846" y="40770"/>
                  </a:moveTo>
                  <a:lnTo>
                    <a:pt x="147188" y="40770"/>
                  </a:lnTo>
                  <a:lnTo>
                    <a:pt x="147188" y="126439"/>
                  </a:lnTo>
                  <a:lnTo>
                    <a:pt x="121846" y="126439"/>
                  </a:lnTo>
                  <a:close/>
                  <a:moveTo>
                    <a:pt x="301329" y="40638"/>
                  </a:moveTo>
                  <a:cubicBezTo>
                    <a:pt x="301505" y="40635"/>
                    <a:pt x="301682" y="40635"/>
                    <a:pt x="301859" y="40638"/>
                  </a:cubicBezTo>
                  <a:cubicBezTo>
                    <a:pt x="310198" y="40638"/>
                    <a:pt x="316958" y="47292"/>
                    <a:pt x="316958" y="55499"/>
                  </a:cubicBezTo>
                  <a:cubicBezTo>
                    <a:pt x="316958" y="63706"/>
                    <a:pt x="310198" y="70359"/>
                    <a:pt x="301859" y="70359"/>
                  </a:cubicBezTo>
                  <a:cubicBezTo>
                    <a:pt x="293664" y="70433"/>
                    <a:pt x="286961" y="63956"/>
                    <a:pt x="286885" y="55893"/>
                  </a:cubicBezTo>
                  <a:cubicBezTo>
                    <a:pt x="286883" y="55718"/>
                    <a:pt x="286885" y="55544"/>
                    <a:pt x="286890" y="55370"/>
                  </a:cubicBezTo>
                  <a:cubicBezTo>
                    <a:pt x="286743" y="47379"/>
                    <a:pt x="293207" y="40783"/>
                    <a:pt x="301329" y="40638"/>
                  </a:cubicBezTo>
                  <a:close/>
                  <a:moveTo>
                    <a:pt x="468871" y="39863"/>
                  </a:moveTo>
                  <a:cubicBezTo>
                    <a:pt x="480066" y="38933"/>
                    <a:pt x="490621" y="45114"/>
                    <a:pt x="495131" y="55240"/>
                  </a:cubicBezTo>
                  <a:cubicBezTo>
                    <a:pt x="501466" y="45339"/>
                    <a:pt x="512660" y="39487"/>
                    <a:pt x="524542" y="39863"/>
                  </a:cubicBezTo>
                  <a:cubicBezTo>
                    <a:pt x="540599" y="38721"/>
                    <a:pt x="554556" y="50605"/>
                    <a:pt x="555716" y="66406"/>
                  </a:cubicBezTo>
                  <a:cubicBezTo>
                    <a:pt x="555772" y="67162"/>
                    <a:pt x="555797" y="67920"/>
                    <a:pt x="555792" y="68678"/>
                  </a:cubicBezTo>
                  <a:lnTo>
                    <a:pt x="555792" y="126954"/>
                  </a:lnTo>
                  <a:lnTo>
                    <a:pt x="530582" y="126954"/>
                  </a:lnTo>
                  <a:lnTo>
                    <a:pt x="530582" y="75914"/>
                  </a:lnTo>
                  <a:cubicBezTo>
                    <a:pt x="531848" y="68888"/>
                    <a:pt x="527086" y="62181"/>
                    <a:pt x="519946" y="60936"/>
                  </a:cubicBezTo>
                  <a:cubicBezTo>
                    <a:pt x="518776" y="60732"/>
                    <a:pt x="517584" y="60685"/>
                    <a:pt x="516402" y="60796"/>
                  </a:cubicBezTo>
                  <a:cubicBezTo>
                    <a:pt x="505898" y="60796"/>
                    <a:pt x="499858" y="69324"/>
                    <a:pt x="499858" y="83150"/>
                  </a:cubicBezTo>
                  <a:lnTo>
                    <a:pt x="499858" y="126954"/>
                  </a:lnTo>
                  <a:lnTo>
                    <a:pt x="474780" y="126954"/>
                  </a:lnTo>
                  <a:lnTo>
                    <a:pt x="474780" y="75914"/>
                  </a:lnTo>
                  <a:cubicBezTo>
                    <a:pt x="476033" y="68885"/>
                    <a:pt x="471259" y="62187"/>
                    <a:pt x="464116" y="60954"/>
                  </a:cubicBezTo>
                  <a:cubicBezTo>
                    <a:pt x="463043" y="60769"/>
                    <a:pt x="461949" y="60716"/>
                    <a:pt x="460862" y="60796"/>
                  </a:cubicBezTo>
                  <a:cubicBezTo>
                    <a:pt x="450489" y="60796"/>
                    <a:pt x="444318" y="69454"/>
                    <a:pt x="444318" y="83150"/>
                  </a:cubicBezTo>
                  <a:lnTo>
                    <a:pt x="444318" y="126954"/>
                  </a:lnTo>
                  <a:lnTo>
                    <a:pt x="418977" y="126954"/>
                  </a:lnTo>
                  <a:lnTo>
                    <a:pt x="418977" y="41285"/>
                  </a:lnTo>
                  <a:lnTo>
                    <a:pt x="444318" y="41285"/>
                  </a:lnTo>
                  <a:lnTo>
                    <a:pt x="444318" y="52785"/>
                  </a:lnTo>
                  <a:cubicBezTo>
                    <a:pt x="449587" y="44489"/>
                    <a:pt x="458935" y="39570"/>
                    <a:pt x="468871" y="39863"/>
                  </a:cubicBezTo>
                  <a:close/>
                  <a:moveTo>
                    <a:pt x="364489" y="39863"/>
                  </a:moveTo>
                  <a:cubicBezTo>
                    <a:pt x="389455" y="39935"/>
                    <a:pt x="409656" y="59873"/>
                    <a:pt x="409656" y="84443"/>
                  </a:cubicBezTo>
                  <a:cubicBezTo>
                    <a:pt x="409656" y="84486"/>
                    <a:pt x="409656" y="84529"/>
                    <a:pt x="409656" y="84572"/>
                  </a:cubicBezTo>
                  <a:cubicBezTo>
                    <a:pt x="409583" y="109192"/>
                    <a:pt x="389244" y="129093"/>
                    <a:pt x="364227" y="129021"/>
                  </a:cubicBezTo>
                  <a:cubicBezTo>
                    <a:pt x="339208" y="128950"/>
                    <a:pt x="318986" y="108934"/>
                    <a:pt x="319059" y="84313"/>
                  </a:cubicBezTo>
                  <a:cubicBezTo>
                    <a:pt x="319131" y="59693"/>
                    <a:pt x="339471" y="39792"/>
                    <a:pt x="364489" y="39863"/>
                  </a:cubicBezTo>
                  <a:close/>
                  <a:moveTo>
                    <a:pt x="0" y="7947"/>
                  </a:moveTo>
                  <a:lnTo>
                    <a:pt x="27179" y="7947"/>
                  </a:lnTo>
                  <a:lnTo>
                    <a:pt x="27179" y="54206"/>
                  </a:lnTo>
                  <a:lnTo>
                    <a:pt x="75236" y="54206"/>
                  </a:lnTo>
                  <a:lnTo>
                    <a:pt x="75236" y="7947"/>
                  </a:lnTo>
                  <a:lnTo>
                    <a:pt x="102678" y="7947"/>
                  </a:lnTo>
                  <a:lnTo>
                    <a:pt x="102678" y="126954"/>
                  </a:lnTo>
                  <a:lnTo>
                    <a:pt x="75236" y="126954"/>
                  </a:lnTo>
                  <a:lnTo>
                    <a:pt x="75236" y="77207"/>
                  </a:lnTo>
                  <a:lnTo>
                    <a:pt x="27179" y="77207"/>
                  </a:lnTo>
                  <a:lnTo>
                    <a:pt x="27179" y="126954"/>
                  </a:lnTo>
                  <a:lnTo>
                    <a:pt x="0" y="126954"/>
                  </a:lnTo>
                  <a:close/>
                  <a:moveTo>
                    <a:pt x="210736" y="6526"/>
                  </a:moveTo>
                  <a:lnTo>
                    <a:pt x="236078" y="6526"/>
                  </a:lnTo>
                  <a:lnTo>
                    <a:pt x="236078" y="126955"/>
                  </a:lnTo>
                  <a:lnTo>
                    <a:pt x="210736" y="126955"/>
                  </a:lnTo>
                  <a:close/>
                  <a:moveTo>
                    <a:pt x="166619" y="6526"/>
                  </a:moveTo>
                  <a:lnTo>
                    <a:pt x="192093" y="6526"/>
                  </a:lnTo>
                  <a:lnTo>
                    <a:pt x="192093" y="126955"/>
                  </a:lnTo>
                  <a:lnTo>
                    <a:pt x="166619" y="126955"/>
                  </a:lnTo>
                  <a:close/>
                  <a:moveTo>
                    <a:pt x="134188" y="66"/>
                  </a:moveTo>
                  <a:cubicBezTo>
                    <a:pt x="134276" y="65"/>
                    <a:pt x="134364" y="65"/>
                    <a:pt x="134452" y="66"/>
                  </a:cubicBezTo>
                  <a:cubicBezTo>
                    <a:pt x="142828" y="-702"/>
                    <a:pt x="150250" y="5357"/>
                    <a:pt x="151030" y="13600"/>
                  </a:cubicBezTo>
                  <a:cubicBezTo>
                    <a:pt x="151810" y="21842"/>
                    <a:pt x="145653" y="29148"/>
                    <a:pt x="137277" y="29915"/>
                  </a:cubicBezTo>
                  <a:cubicBezTo>
                    <a:pt x="136338" y="30002"/>
                    <a:pt x="135392" y="30002"/>
                    <a:pt x="134452" y="29915"/>
                  </a:cubicBezTo>
                  <a:cubicBezTo>
                    <a:pt x="126185" y="29988"/>
                    <a:pt x="119424" y="23451"/>
                    <a:pt x="119350" y="15316"/>
                  </a:cubicBezTo>
                  <a:cubicBezTo>
                    <a:pt x="119349" y="15186"/>
                    <a:pt x="119349" y="15056"/>
                    <a:pt x="119352" y="14926"/>
                  </a:cubicBezTo>
                  <a:cubicBezTo>
                    <a:pt x="119279" y="6790"/>
                    <a:pt x="125921" y="137"/>
                    <a:pt x="134188" y="66"/>
                  </a:cubicBezTo>
                  <a:close/>
                </a:path>
              </a:pathLst>
            </a:custGeom>
            <a:solidFill>
              <a:srgbClr val="000839"/>
            </a:solidFill>
            <a:ln w="9525" cap="flat">
              <a:noFill/>
              <a:prstDash val="solid"/>
              <a:miter/>
            </a:ln>
          </p:spPr>
          <p:txBody>
            <a:bodyPr wrap="square" rtlCol="0" anchor="ctr">
              <a:noAutofit/>
            </a:bodyPr>
            <a:lstStyle/>
            <a:p>
              <a:endParaRPr lang="en-US"/>
            </a:p>
          </p:txBody>
        </p:sp>
      </p:grpSp>
    </p:spTree>
    <p:extLst>
      <p:ext uri="{BB962C8B-B14F-4D97-AF65-F5344CB8AC3E}">
        <p14:creationId xmlns:p14="http://schemas.microsoft.com/office/powerpoint/2010/main" val="32356185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Body - Circles">
    <p:spTree>
      <p:nvGrpSpPr>
        <p:cNvPr id="1" name=""/>
        <p:cNvGrpSpPr/>
        <p:nvPr/>
      </p:nvGrpSpPr>
      <p:grpSpPr>
        <a:xfrm>
          <a:off x="0" y="0"/>
          <a:ext cx="0" cy="0"/>
          <a:chOff x="0" y="0"/>
          <a:chExt cx="0" cy="0"/>
        </a:xfrm>
      </p:grpSpPr>
      <p:sp>
        <p:nvSpPr>
          <p:cNvPr id="25" name="Title 8">
            <a:extLst>
              <a:ext uri="{FF2B5EF4-FFF2-40B4-BE49-F238E27FC236}">
                <a16:creationId xmlns:a16="http://schemas.microsoft.com/office/drawing/2014/main" id="{BA15B838-6368-4E40-9C24-1FC5BBDB7E13}"/>
              </a:ext>
            </a:extLst>
          </p:cNvPr>
          <p:cNvSpPr>
            <a:spLocks noGrp="1"/>
          </p:cNvSpPr>
          <p:nvPr>
            <p:ph type="title"/>
          </p:nvPr>
        </p:nvSpPr>
        <p:spPr>
          <a:xfrm>
            <a:off x="594812" y="914504"/>
            <a:ext cx="6854203" cy="1099898"/>
          </a:xfrm>
          <a:prstGeom prst="rect">
            <a:avLst/>
          </a:prstGeom>
        </p:spPr>
        <p:txBody>
          <a:bodyPr/>
          <a:lstStyle>
            <a:lvl1pPr marL="0" algn="l" defTabSz="914400" rtl="0" eaLnBrk="1" latinLnBrk="0" hangingPunct="1">
              <a:lnSpc>
                <a:spcPct val="90000"/>
              </a:lnSpc>
              <a:spcBef>
                <a:spcPct val="0"/>
              </a:spcBef>
              <a:buNone/>
              <a:defRPr lang="en-US" sz="3200" b="1" i="0" kern="1200" cap="none" spc="0" baseline="0" dirty="0">
                <a:solidFill>
                  <a:schemeClr val="tx1"/>
                </a:solidFill>
                <a:latin typeface="+mj-lt"/>
                <a:ea typeface="+mj-ea"/>
                <a:cs typeface="+mj-cs"/>
              </a:defRPr>
            </a:lvl1pPr>
          </a:lstStyle>
          <a:p>
            <a:r>
              <a:rPr lang="en-US"/>
              <a:t>Click to edit Master title style</a:t>
            </a:r>
          </a:p>
        </p:txBody>
      </p:sp>
      <p:sp>
        <p:nvSpPr>
          <p:cNvPr id="26" name="Slide Number Placeholder 5">
            <a:extLst>
              <a:ext uri="{FF2B5EF4-FFF2-40B4-BE49-F238E27FC236}">
                <a16:creationId xmlns:a16="http://schemas.microsoft.com/office/drawing/2014/main" id="{6AA0B4D3-F1D5-E840-816A-8B71734B0CEE}"/>
              </a:ext>
            </a:extLst>
          </p:cNvPr>
          <p:cNvSpPr>
            <a:spLocks noGrp="1"/>
          </p:cNvSpPr>
          <p:nvPr>
            <p:ph type="sldNum" sz="quarter" idx="4"/>
          </p:nvPr>
        </p:nvSpPr>
        <p:spPr>
          <a:xfrm>
            <a:off x="11537879" y="6325527"/>
            <a:ext cx="370726" cy="365125"/>
          </a:xfrm>
          <a:prstGeom prst="rect">
            <a:avLst/>
          </a:prstGeom>
        </p:spPr>
        <p:txBody>
          <a:bodyPr vert="horz" lIns="91440" tIns="45720" rIns="91440" bIns="45720" rtlCol="0" anchor="b"/>
          <a:lstStyle>
            <a:lvl1pPr algn="r">
              <a:defRPr sz="800" b="1" i="0">
                <a:solidFill>
                  <a:schemeClr val="tx1">
                    <a:tint val="75000"/>
                  </a:schemeClr>
                </a:solidFill>
                <a:latin typeface="+mj-lt"/>
              </a:defRPr>
            </a:lvl1pPr>
          </a:lstStyle>
          <a:p>
            <a:fld id="{EB3C441C-A16D-4531-8F9E-BFE4D57FBC82}" type="slidenum">
              <a:rPr lang="en-US" smtClean="0"/>
              <a:t>‹N°›</a:t>
            </a:fld>
            <a:endParaRPr lang="en-US"/>
          </a:p>
        </p:txBody>
      </p:sp>
      <p:sp>
        <p:nvSpPr>
          <p:cNvPr id="30" name="Footer Placeholder 54">
            <a:extLst>
              <a:ext uri="{FF2B5EF4-FFF2-40B4-BE49-F238E27FC236}">
                <a16:creationId xmlns:a16="http://schemas.microsoft.com/office/drawing/2014/main" id="{FBF5E17B-C670-4E4D-BB7F-743CB1137D68}"/>
              </a:ext>
            </a:extLst>
          </p:cNvPr>
          <p:cNvSpPr>
            <a:spLocks noGrp="1"/>
          </p:cNvSpPr>
          <p:nvPr>
            <p:ph type="ftr" sz="quarter" idx="15"/>
          </p:nvPr>
        </p:nvSpPr>
        <p:spPr>
          <a:xfrm>
            <a:off x="1819551" y="6340392"/>
            <a:ext cx="4114800" cy="365125"/>
          </a:xfrm>
          <a:prstGeom prst="rect">
            <a:avLst/>
          </a:prstGeom>
        </p:spPr>
        <p:txBody>
          <a:bodyPr anchor="b" anchorCtr="0"/>
          <a:lstStyle>
            <a:lvl1pPr>
              <a:defRPr sz="700">
                <a:solidFill>
                  <a:schemeClr val="accent2"/>
                </a:solidFill>
              </a:defRPr>
            </a:lvl1pPr>
          </a:lstStyle>
          <a:p>
            <a:endParaRPr lang="en-US"/>
          </a:p>
        </p:txBody>
      </p:sp>
      <p:sp>
        <p:nvSpPr>
          <p:cNvPr id="5" name="Text Placeholder 4">
            <a:extLst>
              <a:ext uri="{FF2B5EF4-FFF2-40B4-BE49-F238E27FC236}">
                <a16:creationId xmlns:a16="http://schemas.microsoft.com/office/drawing/2014/main" id="{6E2BF9C6-3A8B-7C4A-BE93-6BD6751D54DB}"/>
              </a:ext>
            </a:extLst>
          </p:cNvPr>
          <p:cNvSpPr>
            <a:spLocks noGrp="1"/>
          </p:cNvSpPr>
          <p:nvPr>
            <p:ph type="body" sz="quarter" idx="16"/>
          </p:nvPr>
        </p:nvSpPr>
        <p:spPr>
          <a:xfrm>
            <a:off x="688350" y="2641272"/>
            <a:ext cx="2040330" cy="2038833"/>
          </a:xfrm>
          <a:prstGeom prst="ellipse">
            <a:avLst/>
          </a:prstGeom>
          <a:solidFill>
            <a:schemeClr val="accent1"/>
          </a:solidFill>
          <a:ln>
            <a:noFill/>
          </a:ln>
        </p:spPr>
        <p:txBody>
          <a:bodyPr anchor="ctr"/>
          <a:lstStyle>
            <a:lvl1pPr marL="0" indent="0" algn="ctr">
              <a:buNone/>
              <a:defRPr sz="1800" b="1">
                <a:solidFill>
                  <a:schemeClr val="bg1"/>
                </a:solidFill>
                <a:latin typeface="+mj-lt"/>
              </a:defRPr>
            </a:lvl1pPr>
          </a:lstStyle>
          <a:p>
            <a:pPr lvl="0"/>
            <a:r>
              <a:rPr lang="en-US"/>
              <a:t>Edit Master text styles</a:t>
            </a:r>
          </a:p>
        </p:txBody>
      </p:sp>
      <p:sp>
        <p:nvSpPr>
          <p:cNvPr id="33" name="Text Placeholder 4">
            <a:extLst>
              <a:ext uri="{FF2B5EF4-FFF2-40B4-BE49-F238E27FC236}">
                <a16:creationId xmlns:a16="http://schemas.microsoft.com/office/drawing/2014/main" id="{893F76FC-CC6A-7649-ADB8-D472E816CECB}"/>
              </a:ext>
            </a:extLst>
          </p:cNvPr>
          <p:cNvSpPr>
            <a:spLocks noGrp="1"/>
          </p:cNvSpPr>
          <p:nvPr>
            <p:ph type="body" sz="quarter" idx="18"/>
          </p:nvPr>
        </p:nvSpPr>
        <p:spPr>
          <a:xfrm>
            <a:off x="3396826" y="2641272"/>
            <a:ext cx="2040330" cy="2038833"/>
          </a:xfrm>
          <a:prstGeom prst="ellipse">
            <a:avLst/>
          </a:prstGeom>
          <a:solidFill>
            <a:schemeClr val="accent1"/>
          </a:solidFill>
        </p:spPr>
        <p:txBody>
          <a:bodyPr anchor="ctr"/>
          <a:lstStyle>
            <a:lvl1pPr marL="0" indent="0" algn="ctr">
              <a:buNone/>
              <a:defRPr sz="1800" b="1">
                <a:solidFill>
                  <a:schemeClr val="bg1"/>
                </a:solidFill>
                <a:latin typeface="+mj-lt"/>
              </a:defRPr>
            </a:lvl1pPr>
          </a:lstStyle>
          <a:p>
            <a:pPr lvl="0"/>
            <a:r>
              <a:rPr lang="en-US"/>
              <a:t>Edit Master text styles</a:t>
            </a:r>
          </a:p>
        </p:txBody>
      </p:sp>
      <p:sp>
        <p:nvSpPr>
          <p:cNvPr id="49" name="Text Placeholder 4">
            <a:extLst>
              <a:ext uri="{FF2B5EF4-FFF2-40B4-BE49-F238E27FC236}">
                <a16:creationId xmlns:a16="http://schemas.microsoft.com/office/drawing/2014/main" id="{5B75C199-CF87-2F4C-85B7-37306B5C2798}"/>
              </a:ext>
            </a:extLst>
          </p:cNvPr>
          <p:cNvSpPr>
            <a:spLocks noGrp="1"/>
          </p:cNvSpPr>
          <p:nvPr>
            <p:ph type="body" sz="quarter" idx="20"/>
          </p:nvPr>
        </p:nvSpPr>
        <p:spPr>
          <a:xfrm>
            <a:off x="6105302" y="2641272"/>
            <a:ext cx="2040330" cy="2038833"/>
          </a:xfrm>
          <a:prstGeom prst="ellipse">
            <a:avLst/>
          </a:prstGeom>
          <a:solidFill>
            <a:schemeClr val="accent1"/>
          </a:solidFill>
        </p:spPr>
        <p:txBody>
          <a:bodyPr anchor="ctr"/>
          <a:lstStyle>
            <a:lvl1pPr marL="0" indent="0" algn="ctr">
              <a:buNone/>
              <a:defRPr sz="1800" b="1">
                <a:solidFill>
                  <a:schemeClr val="bg1"/>
                </a:solidFill>
                <a:latin typeface="+mj-lt"/>
              </a:defRPr>
            </a:lvl1pPr>
          </a:lstStyle>
          <a:p>
            <a:pPr lvl="0"/>
            <a:r>
              <a:rPr lang="en-US"/>
              <a:t>Edit Master text styles</a:t>
            </a:r>
          </a:p>
        </p:txBody>
      </p:sp>
      <p:sp>
        <p:nvSpPr>
          <p:cNvPr id="51" name="Text Placeholder 4">
            <a:extLst>
              <a:ext uri="{FF2B5EF4-FFF2-40B4-BE49-F238E27FC236}">
                <a16:creationId xmlns:a16="http://schemas.microsoft.com/office/drawing/2014/main" id="{0DD9B3BA-D897-9C46-9673-B34B7D256E63}"/>
              </a:ext>
            </a:extLst>
          </p:cNvPr>
          <p:cNvSpPr>
            <a:spLocks noGrp="1"/>
          </p:cNvSpPr>
          <p:nvPr>
            <p:ph type="body" sz="quarter" idx="22"/>
          </p:nvPr>
        </p:nvSpPr>
        <p:spPr>
          <a:xfrm>
            <a:off x="8813778" y="2641272"/>
            <a:ext cx="2040330" cy="2038833"/>
          </a:xfrm>
          <a:prstGeom prst="ellipse">
            <a:avLst/>
          </a:prstGeom>
          <a:solidFill>
            <a:schemeClr val="accent1"/>
          </a:solidFill>
        </p:spPr>
        <p:txBody>
          <a:bodyPr anchor="ctr"/>
          <a:lstStyle>
            <a:lvl1pPr marL="0" indent="0" algn="ctr">
              <a:buNone/>
              <a:defRPr sz="1800" b="1">
                <a:solidFill>
                  <a:schemeClr val="bg1"/>
                </a:solidFill>
                <a:latin typeface="+mj-lt"/>
              </a:defRPr>
            </a:lvl1pPr>
          </a:lstStyle>
          <a:p>
            <a:pPr lvl="0"/>
            <a:r>
              <a:rPr lang="en-US"/>
              <a:t>Edit Master text styles</a:t>
            </a:r>
          </a:p>
        </p:txBody>
      </p:sp>
      <p:sp>
        <p:nvSpPr>
          <p:cNvPr id="29" name="Text Placeholder 3">
            <a:extLst>
              <a:ext uri="{FF2B5EF4-FFF2-40B4-BE49-F238E27FC236}">
                <a16:creationId xmlns:a16="http://schemas.microsoft.com/office/drawing/2014/main" id="{EC6A013C-01B7-D040-91FD-14F45A3E971E}"/>
              </a:ext>
            </a:extLst>
          </p:cNvPr>
          <p:cNvSpPr>
            <a:spLocks noGrp="1"/>
          </p:cNvSpPr>
          <p:nvPr>
            <p:ph type="body" sz="quarter" idx="13"/>
          </p:nvPr>
        </p:nvSpPr>
        <p:spPr>
          <a:xfrm>
            <a:off x="688350" y="498222"/>
            <a:ext cx="1997663" cy="244682"/>
          </a:xfrm>
          <a:prstGeom prst="rect">
            <a:avLst/>
          </a:prstGeom>
          <a:solidFill>
            <a:schemeClr val="accent1"/>
          </a:solidFill>
          <a:ln>
            <a:noFill/>
          </a:ln>
        </p:spPr>
        <p:txBody>
          <a:bodyPr wrap="none" anchor="ctr">
            <a:spAutoFit/>
          </a:bodyPr>
          <a:lstStyle>
            <a:lvl1pPr marL="0" indent="0">
              <a:buNone/>
              <a:defRPr sz="1100" b="1" cap="all" spc="50" baseline="0">
                <a:solidFill>
                  <a:schemeClr val="bg1"/>
                </a:solidFill>
                <a:latin typeface="+mj-lt"/>
              </a:defRPr>
            </a:lvl1pPr>
          </a:lstStyle>
          <a:p>
            <a:pPr lvl="0"/>
            <a:r>
              <a:rPr lang="en-US"/>
              <a:t>Edit Master text styles</a:t>
            </a:r>
          </a:p>
        </p:txBody>
      </p:sp>
      <p:sp>
        <p:nvSpPr>
          <p:cNvPr id="50" name="Text Placeholder 7">
            <a:extLst>
              <a:ext uri="{FF2B5EF4-FFF2-40B4-BE49-F238E27FC236}">
                <a16:creationId xmlns:a16="http://schemas.microsoft.com/office/drawing/2014/main" id="{909287F2-5641-EF4C-A60B-4850B42AA233}"/>
              </a:ext>
            </a:extLst>
          </p:cNvPr>
          <p:cNvSpPr>
            <a:spLocks noGrp="1"/>
          </p:cNvSpPr>
          <p:nvPr>
            <p:ph type="body" sz="quarter" idx="27"/>
          </p:nvPr>
        </p:nvSpPr>
        <p:spPr>
          <a:xfrm>
            <a:off x="594812" y="4843599"/>
            <a:ext cx="2240985" cy="1099897"/>
          </a:xfrm>
          <a:prstGeom prst="rect">
            <a:avLst/>
          </a:prstGeom>
        </p:spPr>
        <p:txBody>
          <a:bodyPr/>
          <a:lstStyle>
            <a:lvl1pPr marL="0" indent="0">
              <a:lnSpc>
                <a:spcPct val="120000"/>
              </a:lnSpc>
              <a:buNone/>
              <a:defRPr sz="1200" b="1" kern="1100" cap="all" spc="20" baseline="0">
                <a:solidFill>
                  <a:schemeClr val="accent1"/>
                </a:solidFill>
                <a:latin typeface="+mj-lt"/>
              </a:defRPr>
            </a:lvl1pPr>
            <a:lvl2pPr marL="11113" indent="0">
              <a:lnSpc>
                <a:spcPct val="110000"/>
              </a:lnSpc>
              <a:spcBef>
                <a:spcPts val="0"/>
              </a:spcBef>
              <a:buNone/>
              <a:tabLst/>
              <a:defRPr sz="1200" baseline="0"/>
            </a:lvl2pPr>
            <a:lvl3pPr marL="230188" indent="-219075">
              <a:lnSpc>
                <a:spcPct val="110000"/>
              </a:lnSpc>
              <a:spcBef>
                <a:spcPts val="0"/>
              </a:spcBef>
              <a:buFont typeface="System Font Regular"/>
              <a:buChar char="–"/>
              <a:tabLst/>
              <a:defRPr sz="1200" baseline="0"/>
            </a:lvl3pPr>
            <a:lvl4pPr>
              <a:defRPr sz="1200" baseline="0"/>
            </a:lvl4pPr>
            <a:lvl5pPr>
              <a:defRPr sz="1200" baseline="0"/>
            </a:lvl5pPr>
          </a:lstStyle>
          <a:p>
            <a:pPr lvl="0"/>
            <a:r>
              <a:rPr lang="en-US"/>
              <a:t>Edit Master text styles</a:t>
            </a:r>
          </a:p>
          <a:p>
            <a:pPr lvl="1"/>
            <a:r>
              <a:rPr lang="en-US"/>
              <a:t>Second level</a:t>
            </a:r>
          </a:p>
          <a:p>
            <a:pPr lvl="2"/>
            <a:r>
              <a:rPr lang="en-US"/>
              <a:t>Third level</a:t>
            </a:r>
          </a:p>
        </p:txBody>
      </p:sp>
      <p:sp>
        <p:nvSpPr>
          <p:cNvPr id="56" name="Text Placeholder 7">
            <a:extLst>
              <a:ext uri="{FF2B5EF4-FFF2-40B4-BE49-F238E27FC236}">
                <a16:creationId xmlns:a16="http://schemas.microsoft.com/office/drawing/2014/main" id="{BAED8C6D-89F6-5B47-893C-94F7DAD18EFB}"/>
              </a:ext>
            </a:extLst>
          </p:cNvPr>
          <p:cNvSpPr>
            <a:spLocks noGrp="1"/>
          </p:cNvSpPr>
          <p:nvPr>
            <p:ph type="body" sz="quarter" idx="28"/>
          </p:nvPr>
        </p:nvSpPr>
        <p:spPr>
          <a:xfrm>
            <a:off x="3303288" y="4843599"/>
            <a:ext cx="2240985" cy="1099897"/>
          </a:xfrm>
          <a:prstGeom prst="rect">
            <a:avLst/>
          </a:prstGeom>
        </p:spPr>
        <p:txBody>
          <a:bodyPr/>
          <a:lstStyle>
            <a:lvl1pPr marL="0" indent="0">
              <a:lnSpc>
                <a:spcPct val="120000"/>
              </a:lnSpc>
              <a:buNone/>
              <a:defRPr sz="1200" b="1" kern="1100" cap="all" spc="20" baseline="0">
                <a:solidFill>
                  <a:schemeClr val="accent1"/>
                </a:solidFill>
                <a:latin typeface="+mj-lt"/>
              </a:defRPr>
            </a:lvl1pPr>
            <a:lvl2pPr marL="11113" indent="0">
              <a:lnSpc>
                <a:spcPct val="110000"/>
              </a:lnSpc>
              <a:spcBef>
                <a:spcPts val="0"/>
              </a:spcBef>
              <a:buNone/>
              <a:tabLst/>
              <a:defRPr sz="1200" baseline="0"/>
            </a:lvl2pPr>
            <a:lvl3pPr marL="230188" indent="-219075">
              <a:lnSpc>
                <a:spcPct val="110000"/>
              </a:lnSpc>
              <a:spcBef>
                <a:spcPts val="0"/>
              </a:spcBef>
              <a:buFont typeface="System Font Regular"/>
              <a:buChar char="–"/>
              <a:tabLst/>
              <a:defRPr sz="1200" baseline="0"/>
            </a:lvl3pPr>
            <a:lvl4pPr>
              <a:defRPr sz="1200" baseline="0"/>
            </a:lvl4pPr>
            <a:lvl5pPr>
              <a:defRPr sz="1200" baseline="0"/>
            </a:lvl5pPr>
          </a:lstStyle>
          <a:p>
            <a:pPr lvl="0"/>
            <a:r>
              <a:rPr lang="en-US"/>
              <a:t>Edit Master text styles</a:t>
            </a:r>
          </a:p>
          <a:p>
            <a:pPr lvl="1"/>
            <a:r>
              <a:rPr lang="en-US"/>
              <a:t>Second level</a:t>
            </a:r>
          </a:p>
          <a:p>
            <a:pPr lvl="2"/>
            <a:r>
              <a:rPr lang="en-US"/>
              <a:t>Third level</a:t>
            </a:r>
          </a:p>
        </p:txBody>
      </p:sp>
      <p:sp>
        <p:nvSpPr>
          <p:cNvPr id="60" name="Text Placeholder 7">
            <a:extLst>
              <a:ext uri="{FF2B5EF4-FFF2-40B4-BE49-F238E27FC236}">
                <a16:creationId xmlns:a16="http://schemas.microsoft.com/office/drawing/2014/main" id="{A6B39E38-2A68-DC47-9878-2497ED7B158C}"/>
              </a:ext>
            </a:extLst>
          </p:cNvPr>
          <p:cNvSpPr>
            <a:spLocks noGrp="1"/>
          </p:cNvSpPr>
          <p:nvPr>
            <p:ph type="body" sz="quarter" idx="29"/>
          </p:nvPr>
        </p:nvSpPr>
        <p:spPr>
          <a:xfrm>
            <a:off x="6011764" y="4843599"/>
            <a:ext cx="2240985" cy="1099897"/>
          </a:xfrm>
          <a:prstGeom prst="rect">
            <a:avLst/>
          </a:prstGeom>
        </p:spPr>
        <p:txBody>
          <a:bodyPr/>
          <a:lstStyle>
            <a:lvl1pPr marL="0" indent="0">
              <a:lnSpc>
                <a:spcPct val="120000"/>
              </a:lnSpc>
              <a:buNone/>
              <a:defRPr sz="1200" b="1" kern="1100" cap="all" spc="20" baseline="0">
                <a:solidFill>
                  <a:schemeClr val="accent1"/>
                </a:solidFill>
                <a:latin typeface="+mj-lt"/>
              </a:defRPr>
            </a:lvl1pPr>
            <a:lvl2pPr marL="11113" indent="0">
              <a:lnSpc>
                <a:spcPct val="110000"/>
              </a:lnSpc>
              <a:spcBef>
                <a:spcPts val="0"/>
              </a:spcBef>
              <a:buNone/>
              <a:tabLst/>
              <a:defRPr sz="1200" baseline="0"/>
            </a:lvl2pPr>
            <a:lvl3pPr marL="230188" indent="-219075">
              <a:lnSpc>
                <a:spcPct val="110000"/>
              </a:lnSpc>
              <a:spcBef>
                <a:spcPts val="0"/>
              </a:spcBef>
              <a:buFont typeface="System Font Regular"/>
              <a:buChar char="–"/>
              <a:tabLst/>
              <a:defRPr sz="1200" baseline="0"/>
            </a:lvl3pPr>
            <a:lvl4pPr>
              <a:defRPr sz="1200" baseline="0"/>
            </a:lvl4pPr>
            <a:lvl5pPr>
              <a:defRPr sz="1200" baseline="0"/>
            </a:lvl5pPr>
          </a:lstStyle>
          <a:p>
            <a:pPr lvl="0"/>
            <a:r>
              <a:rPr lang="en-US"/>
              <a:t>Edit Master text styles</a:t>
            </a:r>
          </a:p>
          <a:p>
            <a:pPr lvl="1"/>
            <a:r>
              <a:rPr lang="en-US"/>
              <a:t>Second level</a:t>
            </a:r>
          </a:p>
          <a:p>
            <a:pPr lvl="2"/>
            <a:r>
              <a:rPr lang="en-US"/>
              <a:t>Third level</a:t>
            </a:r>
          </a:p>
        </p:txBody>
      </p:sp>
      <p:sp>
        <p:nvSpPr>
          <p:cNvPr id="61" name="Text Placeholder 7">
            <a:extLst>
              <a:ext uri="{FF2B5EF4-FFF2-40B4-BE49-F238E27FC236}">
                <a16:creationId xmlns:a16="http://schemas.microsoft.com/office/drawing/2014/main" id="{123C51CB-5127-C447-87F0-E7F64D5EB84C}"/>
              </a:ext>
            </a:extLst>
          </p:cNvPr>
          <p:cNvSpPr>
            <a:spLocks noGrp="1"/>
          </p:cNvSpPr>
          <p:nvPr>
            <p:ph type="body" sz="quarter" idx="30"/>
          </p:nvPr>
        </p:nvSpPr>
        <p:spPr>
          <a:xfrm>
            <a:off x="8720240" y="4843599"/>
            <a:ext cx="2240985" cy="1099897"/>
          </a:xfrm>
          <a:prstGeom prst="rect">
            <a:avLst/>
          </a:prstGeom>
        </p:spPr>
        <p:txBody>
          <a:bodyPr/>
          <a:lstStyle>
            <a:lvl1pPr marL="0" indent="0">
              <a:lnSpc>
                <a:spcPct val="120000"/>
              </a:lnSpc>
              <a:buNone/>
              <a:defRPr sz="1200" b="1" kern="1100" cap="all" spc="20" baseline="0">
                <a:solidFill>
                  <a:schemeClr val="accent1"/>
                </a:solidFill>
                <a:latin typeface="+mj-lt"/>
              </a:defRPr>
            </a:lvl1pPr>
            <a:lvl2pPr marL="11113" indent="0">
              <a:lnSpc>
                <a:spcPct val="110000"/>
              </a:lnSpc>
              <a:spcBef>
                <a:spcPts val="0"/>
              </a:spcBef>
              <a:buNone/>
              <a:tabLst/>
              <a:defRPr sz="1200" baseline="0"/>
            </a:lvl2pPr>
            <a:lvl3pPr marL="230188" indent="-219075">
              <a:lnSpc>
                <a:spcPct val="110000"/>
              </a:lnSpc>
              <a:spcBef>
                <a:spcPts val="0"/>
              </a:spcBef>
              <a:buFont typeface="System Font Regular"/>
              <a:buChar char="–"/>
              <a:tabLst/>
              <a:defRPr sz="1200" baseline="0"/>
            </a:lvl3pPr>
            <a:lvl4pPr>
              <a:defRPr sz="1200" baseline="0"/>
            </a:lvl4pPr>
            <a:lvl5pPr>
              <a:defRPr sz="1200" baseline="0"/>
            </a:lvl5pPr>
          </a:lstStyle>
          <a:p>
            <a:pPr lvl="0"/>
            <a:r>
              <a:rPr lang="en-US"/>
              <a:t>Edit Master text styles</a:t>
            </a:r>
          </a:p>
          <a:p>
            <a:pPr lvl="1"/>
            <a:r>
              <a:rPr lang="en-US"/>
              <a:t>Second level</a:t>
            </a:r>
          </a:p>
          <a:p>
            <a:pPr lvl="2"/>
            <a:r>
              <a:rPr lang="en-US"/>
              <a:t>Third level</a:t>
            </a:r>
          </a:p>
        </p:txBody>
      </p:sp>
      <p:grpSp>
        <p:nvGrpSpPr>
          <p:cNvPr id="39" name="Group 38">
            <a:extLst>
              <a:ext uri="{FF2B5EF4-FFF2-40B4-BE49-F238E27FC236}">
                <a16:creationId xmlns:a16="http://schemas.microsoft.com/office/drawing/2014/main" id="{086B54EB-6F5B-0048-B393-9AF26D386B36}"/>
              </a:ext>
            </a:extLst>
          </p:cNvPr>
          <p:cNvGrpSpPr/>
          <p:nvPr/>
        </p:nvGrpSpPr>
        <p:grpSpPr>
          <a:xfrm>
            <a:off x="3047" y="6305605"/>
            <a:ext cx="1254409" cy="552395"/>
            <a:chOff x="3047" y="6305605"/>
            <a:chExt cx="1254409" cy="552395"/>
          </a:xfrm>
        </p:grpSpPr>
        <p:grpSp>
          <p:nvGrpSpPr>
            <p:cNvPr id="40" name="Group 39">
              <a:extLst>
                <a:ext uri="{FF2B5EF4-FFF2-40B4-BE49-F238E27FC236}">
                  <a16:creationId xmlns:a16="http://schemas.microsoft.com/office/drawing/2014/main" id="{EA076483-D6C4-6745-B284-19E8710BE309}"/>
                </a:ext>
              </a:extLst>
            </p:cNvPr>
            <p:cNvGrpSpPr/>
            <p:nvPr/>
          </p:nvGrpSpPr>
          <p:grpSpPr>
            <a:xfrm>
              <a:off x="3047" y="6305605"/>
              <a:ext cx="551693" cy="552395"/>
              <a:chOff x="3047" y="6305605"/>
              <a:chExt cx="551693" cy="552395"/>
            </a:xfrm>
          </p:grpSpPr>
          <p:sp>
            <p:nvSpPr>
              <p:cNvPr id="42" name="Rectangle 41">
                <a:extLst>
                  <a:ext uri="{FF2B5EF4-FFF2-40B4-BE49-F238E27FC236}">
                    <a16:creationId xmlns:a16="http://schemas.microsoft.com/office/drawing/2014/main" id="{D0D65945-F3C2-A742-892A-0A7397146FB2}"/>
                  </a:ext>
                </a:extLst>
              </p:cNvPr>
              <p:cNvSpPr/>
              <p:nvPr/>
            </p:nvSpPr>
            <p:spPr>
              <a:xfrm>
                <a:off x="3047" y="6305605"/>
                <a:ext cx="551693" cy="552395"/>
              </a:xfrm>
              <a:prstGeom prst="rect">
                <a:avLst/>
              </a:prstGeom>
              <a:solidFill>
                <a:srgbClr val="5369E4"/>
              </a:solidFill>
              <a:ln w="9525" cap="flat">
                <a:noFill/>
                <a:prstDash val="solid"/>
                <a:miter/>
              </a:ln>
            </p:spPr>
            <p:txBody>
              <a:bodyPr rtlCol="0" anchor="ctr"/>
              <a:lstStyle/>
              <a:p>
                <a:endParaRPr lang="en-US"/>
              </a:p>
            </p:txBody>
          </p:sp>
          <p:sp>
            <p:nvSpPr>
              <p:cNvPr id="43" name="Freeform 42">
                <a:extLst>
                  <a:ext uri="{FF2B5EF4-FFF2-40B4-BE49-F238E27FC236}">
                    <a16:creationId xmlns:a16="http://schemas.microsoft.com/office/drawing/2014/main" id="{20EA76C4-EAB2-D349-B1B2-8C08ED380A8C}"/>
                  </a:ext>
                </a:extLst>
              </p:cNvPr>
              <p:cNvSpPr/>
              <p:nvPr/>
            </p:nvSpPr>
            <p:spPr>
              <a:xfrm>
                <a:off x="173577" y="6501753"/>
                <a:ext cx="279408" cy="175345"/>
              </a:xfrm>
              <a:custGeom>
                <a:avLst/>
                <a:gdLst>
                  <a:gd name="connsiteX0" fmla="*/ 102941 w 279408"/>
                  <a:gd name="connsiteY0" fmla="*/ 59439 h 175345"/>
                  <a:gd name="connsiteX1" fmla="*/ 132352 w 279408"/>
                  <a:gd name="connsiteY1" fmla="*/ 88384 h 175345"/>
                  <a:gd name="connsiteX2" fmla="*/ 102941 w 279408"/>
                  <a:gd name="connsiteY2" fmla="*/ 117329 h 175345"/>
                  <a:gd name="connsiteX3" fmla="*/ 73528 w 279408"/>
                  <a:gd name="connsiteY3" fmla="*/ 88384 h 175345"/>
                  <a:gd name="connsiteX4" fmla="*/ 102941 w 279408"/>
                  <a:gd name="connsiteY4" fmla="*/ 59439 h 175345"/>
                  <a:gd name="connsiteX5" fmla="*/ 147056 w 279408"/>
                  <a:gd name="connsiteY5" fmla="*/ 1809 h 175345"/>
                  <a:gd name="connsiteX6" fmla="*/ 205880 w 279408"/>
                  <a:gd name="connsiteY6" fmla="*/ 1809 h 175345"/>
                  <a:gd name="connsiteX7" fmla="*/ 205880 w 279408"/>
                  <a:gd name="connsiteY7" fmla="*/ 59698 h 175345"/>
                  <a:gd name="connsiteX8" fmla="*/ 205880 w 279408"/>
                  <a:gd name="connsiteY8" fmla="*/ 117457 h 175345"/>
                  <a:gd name="connsiteX9" fmla="*/ 205880 w 279408"/>
                  <a:gd name="connsiteY9" fmla="*/ 175345 h 175345"/>
                  <a:gd name="connsiteX10" fmla="*/ 147056 w 279408"/>
                  <a:gd name="connsiteY10" fmla="*/ 175345 h 175345"/>
                  <a:gd name="connsiteX11" fmla="*/ 147056 w 279408"/>
                  <a:gd name="connsiteY11" fmla="*/ 117457 h 175345"/>
                  <a:gd name="connsiteX12" fmla="*/ 147056 w 279408"/>
                  <a:gd name="connsiteY12" fmla="*/ 59698 h 175345"/>
                  <a:gd name="connsiteX13" fmla="*/ 0 w 279408"/>
                  <a:gd name="connsiteY13" fmla="*/ 1809 h 175345"/>
                  <a:gd name="connsiteX14" fmla="*/ 58824 w 279408"/>
                  <a:gd name="connsiteY14" fmla="*/ 1809 h 175345"/>
                  <a:gd name="connsiteX15" fmla="*/ 58824 w 279408"/>
                  <a:gd name="connsiteY15" fmla="*/ 59698 h 175345"/>
                  <a:gd name="connsiteX16" fmla="*/ 58824 w 279408"/>
                  <a:gd name="connsiteY16" fmla="*/ 117457 h 175345"/>
                  <a:gd name="connsiteX17" fmla="*/ 58824 w 279408"/>
                  <a:gd name="connsiteY17" fmla="*/ 175345 h 175345"/>
                  <a:gd name="connsiteX18" fmla="*/ 0 w 279408"/>
                  <a:gd name="connsiteY18" fmla="*/ 175345 h 175345"/>
                  <a:gd name="connsiteX19" fmla="*/ 0 w 279408"/>
                  <a:gd name="connsiteY19" fmla="*/ 117457 h 175345"/>
                  <a:gd name="connsiteX20" fmla="*/ 0 w 279408"/>
                  <a:gd name="connsiteY20" fmla="*/ 59698 h 175345"/>
                  <a:gd name="connsiteX21" fmla="*/ 249997 w 279408"/>
                  <a:gd name="connsiteY21" fmla="*/ 0 h 175345"/>
                  <a:gd name="connsiteX22" fmla="*/ 279408 w 279408"/>
                  <a:gd name="connsiteY22" fmla="*/ 28945 h 175345"/>
                  <a:gd name="connsiteX23" fmla="*/ 249997 w 279408"/>
                  <a:gd name="connsiteY23" fmla="*/ 57890 h 175345"/>
                  <a:gd name="connsiteX24" fmla="*/ 220584 w 279408"/>
                  <a:gd name="connsiteY24" fmla="*/ 28945 h 175345"/>
                  <a:gd name="connsiteX25" fmla="*/ 249997 w 279408"/>
                  <a:gd name="connsiteY25" fmla="*/ 0 h 175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79408" h="175345">
                    <a:moveTo>
                      <a:pt x="102941" y="59439"/>
                    </a:moveTo>
                    <a:cubicBezTo>
                      <a:pt x="119184" y="59439"/>
                      <a:pt x="132352" y="72399"/>
                      <a:pt x="132352" y="88384"/>
                    </a:cubicBezTo>
                    <a:cubicBezTo>
                      <a:pt x="132352" y="104370"/>
                      <a:pt x="119184" y="117329"/>
                      <a:pt x="102941" y="117329"/>
                    </a:cubicBezTo>
                    <a:cubicBezTo>
                      <a:pt x="86696" y="117329"/>
                      <a:pt x="73528" y="104370"/>
                      <a:pt x="73528" y="88384"/>
                    </a:cubicBezTo>
                    <a:cubicBezTo>
                      <a:pt x="73528" y="72399"/>
                      <a:pt x="86696" y="59439"/>
                      <a:pt x="102941" y="59439"/>
                    </a:cubicBezTo>
                    <a:close/>
                    <a:moveTo>
                      <a:pt x="147056" y="1809"/>
                    </a:moveTo>
                    <a:lnTo>
                      <a:pt x="205880" y="1809"/>
                    </a:lnTo>
                    <a:lnTo>
                      <a:pt x="205880" y="59698"/>
                    </a:lnTo>
                    <a:lnTo>
                      <a:pt x="205880" y="117457"/>
                    </a:lnTo>
                    <a:lnTo>
                      <a:pt x="205880" y="175345"/>
                    </a:lnTo>
                    <a:lnTo>
                      <a:pt x="147056" y="175345"/>
                    </a:lnTo>
                    <a:lnTo>
                      <a:pt x="147056" y="117457"/>
                    </a:lnTo>
                    <a:lnTo>
                      <a:pt x="147056" y="59698"/>
                    </a:lnTo>
                    <a:close/>
                    <a:moveTo>
                      <a:pt x="0" y="1809"/>
                    </a:moveTo>
                    <a:lnTo>
                      <a:pt x="58824" y="1809"/>
                    </a:lnTo>
                    <a:lnTo>
                      <a:pt x="58824" y="59698"/>
                    </a:lnTo>
                    <a:lnTo>
                      <a:pt x="58824" y="117457"/>
                    </a:lnTo>
                    <a:lnTo>
                      <a:pt x="58824" y="175345"/>
                    </a:lnTo>
                    <a:lnTo>
                      <a:pt x="0" y="175345"/>
                    </a:lnTo>
                    <a:lnTo>
                      <a:pt x="0" y="117457"/>
                    </a:lnTo>
                    <a:lnTo>
                      <a:pt x="0" y="59698"/>
                    </a:lnTo>
                    <a:close/>
                    <a:moveTo>
                      <a:pt x="249997" y="0"/>
                    </a:moveTo>
                    <a:cubicBezTo>
                      <a:pt x="266240" y="0"/>
                      <a:pt x="279408" y="12960"/>
                      <a:pt x="279408" y="28945"/>
                    </a:cubicBezTo>
                    <a:cubicBezTo>
                      <a:pt x="279408" y="44931"/>
                      <a:pt x="266240" y="57890"/>
                      <a:pt x="249997" y="57890"/>
                    </a:cubicBezTo>
                    <a:cubicBezTo>
                      <a:pt x="233752" y="57890"/>
                      <a:pt x="220584" y="44931"/>
                      <a:pt x="220584" y="28945"/>
                    </a:cubicBezTo>
                    <a:cubicBezTo>
                      <a:pt x="220584" y="12960"/>
                      <a:pt x="233752" y="0"/>
                      <a:pt x="249997" y="0"/>
                    </a:cubicBezTo>
                    <a:close/>
                  </a:path>
                </a:pathLst>
              </a:custGeom>
              <a:solidFill>
                <a:srgbClr val="FFFFFF"/>
              </a:solidFill>
              <a:ln w="9525" cap="flat">
                <a:noFill/>
                <a:prstDash val="solid"/>
                <a:miter/>
              </a:ln>
            </p:spPr>
            <p:txBody>
              <a:bodyPr wrap="square" rtlCol="0" anchor="ctr">
                <a:noAutofit/>
              </a:bodyPr>
              <a:lstStyle/>
              <a:p>
                <a:endParaRPr lang="en-US"/>
              </a:p>
            </p:txBody>
          </p:sp>
        </p:grpSp>
        <p:sp>
          <p:nvSpPr>
            <p:cNvPr id="41" name="Freeform 40">
              <a:extLst>
                <a:ext uri="{FF2B5EF4-FFF2-40B4-BE49-F238E27FC236}">
                  <a16:creationId xmlns:a16="http://schemas.microsoft.com/office/drawing/2014/main" id="{FD75039A-7DB1-D642-BF2D-CC4425B7617A}"/>
                </a:ext>
              </a:extLst>
            </p:cNvPr>
            <p:cNvSpPr/>
            <p:nvPr/>
          </p:nvSpPr>
          <p:spPr>
            <a:xfrm>
              <a:off x="701664" y="6524947"/>
              <a:ext cx="555792" cy="129021"/>
            </a:xfrm>
            <a:custGeom>
              <a:avLst/>
              <a:gdLst>
                <a:gd name="connsiteX0" fmla="*/ 364489 w 555792"/>
                <a:gd name="connsiteY0" fmla="*/ 61830 h 129021"/>
                <a:gd name="connsiteX1" fmla="*/ 343312 w 555792"/>
                <a:gd name="connsiteY1" fmla="*/ 82670 h 129021"/>
                <a:gd name="connsiteX2" fmla="*/ 364489 w 555792"/>
                <a:gd name="connsiteY2" fmla="*/ 106926 h 129021"/>
                <a:gd name="connsiteX3" fmla="*/ 367960 w 555792"/>
                <a:gd name="connsiteY3" fmla="*/ 106926 h 129021"/>
                <a:gd name="connsiteX4" fmla="*/ 389136 w 555792"/>
                <a:gd name="connsiteY4" fmla="*/ 82670 h 129021"/>
                <a:gd name="connsiteX5" fmla="*/ 364489 w 555792"/>
                <a:gd name="connsiteY5" fmla="*/ 61830 h 129021"/>
                <a:gd name="connsiteX6" fmla="*/ 255246 w 555792"/>
                <a:gd name="connsiteY6" fmla="*/ 41285 h 129021"/>
                <a:gd name="connsiteX7" fmla="*/ 280588 w 555792"/>
                <a:gd name="connsiteY7" fmla="*/ 41285 h 129021"/>
                <a:gd name="connsiteX8" fmla="*/ 280588 w 555792"/>
                <a:gd name="connsiteY8" fmla="*/ 126955 h 129021"/>
                <a:gd name="connsiteX9" fmla="*/ 255246 w 555792"/>
                <a:gd name="connsiteY9" fmla="*/ 126955 h 129021"/>
                <a:gd name="connsiteX10" fmla="*/ 121846 w 555792"/>
                <a:gd name="connsiteY10" fmla="*/ 40770 h 129021"/>
                <a:gd name="connsiteX11" fmla="*/ 147188 w 555792"/>
                <a:gd name="connsiteY11" fmla="*/ 40770 h 129021"/>
                <a:gd name="connsiteX12" fmla="*/ 147188 w 555792"/>
                <a:gd name="connsiteY12" fmla="*/ 126439 h 129021"/>
                <a:gd name="connsiteX13" fmla="*/ 121846 w 555792"/>
                <a:gd name="connsiteY13" fmla="*/ 126439 h 129021"/>
                <a:gd name="connsiteX14" fmla="*/ 301329 w 555792"/>
                <a:gd name="connsiteY14" fmla="*/ 40638 h 129021"/>
                <a:gd name="connsiteX15" fmla="*/ 301859 w 555792"/>
                <a:gd name="connsiteY15" fmla="*/ 40638 h 129021"/>
                <a:gd name="connsiteX16" fmla="*/ 316958 w 555792"/>
                <a:gd name="connsiteY16" fmla="*/ 55499 h 129021"/>
                <a:gd name="connsiteX17" fmla="*/ 301859 w 555792"/>
                <a:gd name="connsiteY17" fmla="*/ 70359 h 129021"/>
                <a:gd name="connsiteX18" fmla="*/ 286885 w 555792"/>
                <a:gd name="connsiteY18" fmla="*/ 55893 h 129021"/>
                <a:gd name="connsiteX19" fmla="*/ 286890 w 555792"/>
                <a:gd name="connsiteY19" fmla="*/ 55370 h 129021"/>
                <a:gd name="connsiteX20" fmla="*/ 301329 w 555792"/>
                <a:gd name="connsiteY20" fmla="*/ 40638 h 129021"/>
                <a:gd name="connsiteX21" fmla="*/ 468871 w 555792"/>
                <a:gd name="connsiteY21" fmla="*/ 39863 h 129021"/>
                <a:gd name="connsiteX22" fmla="*/ 495131 w 555792"/>
                <a:gd name="connsiteY22" fmla="*/ 55240 h 129021"/>
                <a:gd name="connsiteX23" fmla="*/ 524542 w 555792"/>
                <a:gd name="connsiteY23" fmla="*/ 39863 h 129021"/>
                <a:gd name="connsiteX24" fmla="*/ 555716 w 555792"/>
                <a:gd name="connsiteY24" fmla="*/ 66406 h 129021"/>
                <a:gd name="connsiteX25" fmla="*/ 555792 w 555792"/>
                <a:gd name="connsiteY25" fmla="*/ 68678 h 129021"/>
                <a:gd name="connsiteX26" fmla="*/ 555792 w 555792"/>
                <a:gd name="connsiteY26" fmla="*/ 126954 h 129021"/>
                <a:gd name="connsiteX27" fmla="*/ 530582 w 555792"/>
                <a:gd name="connsiteY27" fmla="*/ 126954 h 129021"/>
                <a:gd name="connsiteX28" fmla="*/ 530582 w 555792"/>
                <a:gd name="connsiteY28" fmla="*/ 75914 h 129021"/>
                <a:gd name="connsiteX29" fmla="*/ 519946 w 555792"/>
                <a:gd name="connsiteY29" fmla="*/ 60936 h 129021"/>
                <a:gd name="connsiteX30" fmla="*/ 516402 w 555792"/>
                <a:gd name="connsiteY30" fmla="*/ 60796 h 129021"/>
                <a:gd name="connsiteX31" fmla="*/ 499858 w 555792"/>
                <a:gd name="connsiteY31" fmla="*/ 83150 h 129021"/>
                <a:gd name="connsiteX32" fmla="*/ 499858 w 555792"/>
                <a:gd name="connsiteY32" fmla="*/ 126954 h 129021"/>
                <a:gd name="connsiteX33" fmla="*/ 474780 w 555792"/>
                <a:gd name="connsiteY33" fmla="*/ 126954 h 129021"/>
                <a:gd name="connsiteX34" fmla="*/ 474780 w 555792"/>
                <a:gd name="connsiteY34" fmla="*/ 75914 h 129021"/>
                <a:gd name="connsiteX35" fmla="*/ 464116 w 555792"/>
                <a:gd name="connsiteY35" fmla="*/ 60954 h 129021"/>
                <a:gd name="connsiteX36" fmla="*/ 460862 w 555792"/>
                <a:gd name="connsiteY36" fmla="*/ 60796 h 129021"/>
                <a:gd name="connsiteX37" fmla="*/ 444318 w 555792"/>
                <a:gd name="connsiteY37" fmla="*/ 83150 h 129021"/>
                <a:gd name="connsiteX38" fmla="*/ 444318 w 555792"/>
                <a:gd name="connsiteY38" fmla="*/ 126954 h 129021"/>
                <a:gd name="connsiteX39" fmla="*/ 418977 w 555792"/>
                <a:gd name="connsiteY39" fmla="*/ 126954 h 129021"/>
                <a:gd name="connsiteX40" fmla="*/ 418977 w 555792"/>
                <a:gd name="connsiteY40" fmla="*/ 41285 h 129021"/>
                <a:gd name="connsiteX41" fmla="*/ 444318 w 555792"/>
                <a:gd name="connsiteY41" fmla="*/ 41285 h 129021"/>
                <a:gd name="connsiteX42" fmla="*/ 444318 w 555792"/>
                <a:gd name="connsiteY42" fmla="*/ 52785 h 129021"/>
                <a:gd name="connsiteX43" fmla="*/ 468871 w 555792"/>
                <a:gd name="connsiteY43" fmla="*/ 39863 h 129021"/>
                <a:gd name="connsiteX44" fmla="*/ 364489 w 555792"/>
                <a:gd name="connsiteY44" fmla="*/ 39863 h 129021"/>
                <a:gd name="connsiteX45" fmla="*/ 409656 w 555792"/>
                <a:gd name="connsiteY45" fmla="*/ 84443 h 129021"/>
                <a:gd name="connsiteX46" fmla="*/ 409656 w 555792"/>
                <a:gd name="connsiteY46" fmla="*/ 84572 h 129021"/>
                <a:gd name="connsiteX47" fmla="*/ 364227 w 555792"/>
                <a:gd name="connsiteY47" fmla="*/ 129021 h 129021"/>
                <a:gd name="connsiteX48" fmla="*/ 319059 w 555792"/>
                <a:gd name="connsiteY48" fmla="*/ 84313 h 129021"/>
                <a:gd name="connsiteX49" fmla="*/ 364489 w 555792"/>
                <a:gd name="connsiteY49" fmla="*/ 39863 h 129021"/>
                <a:gd name="connsiteX50" fmla="*/ 0 w 555792"/>
                <a:gd name="connsiteY50" fmla="*/ 7947 h 129021"/>
                <a:gd name="connsiteX51" fmla="*/ 27179 w 555792"/>
                <a:gd name="connsiteY51" fmla="*/ 7947 h 129021"/>
                <a:gd name="connsiteX52" fmla="*/ 27179 w 555792"/>
                <a:gd name="connsiteY52" fmla="*/ 54206 h 129021"/>
                <a:gd name="connsiteX53" fmla="*/ 75236 w 555792"/>
                <a:gd name="connsiteY53" fmla="*/ 54206 h 129021"/>
                <a:gd name="connsiteX54" fmla="*/ 75236 w 555792"/>
                <a:gd name="connsiteY54" fmla="*/ 7947 h 129021"/>
                <a:gd name="connsiteX55" fmla="*/ 102678 w 555792"/>
                <a:gd name="connsiteY55" fmla="*/ 7947 h 129021"/>
                <a:gd name="connsiteX56" fmla="*/ 102678 w 555792"/>
                <a:gd name="connsiteY56" fmla="*/ 126954 h 129021"/>
                <a:gd name="connsiteX57" fmla="*/ 75236 w 555792"/>
                <a:gd name="connsiteY57" fmla="*/ 126954 h 129021"/>
                <a:gd name="connsiteX58" fmla="*/ 75236 w 555792"/>
                <a:gd name="connsiteY58" fmla="*/ 77207 h 129021"/>
                <a:gd name="connsiteX59" fmla="*/ 27179 w 555792"/>
                <a:gd name="connsiteY59" fmla="*/ 77207 h 129021"/>
                <a:gd name="connsiteX60" fmla="*/ 27179 w 555792"/>
                <a:gd name="connsiteY60" fmla="*/ 126954 h 129021"/>
                <a:gd name="connsiteX61" fmla="*/ 0 w 555792"/>
                <a:gd name="connsiteY61" fmla="*/ 126954 h 129021"/>
                <a:gd name="connsiteX62" fmla="*/ 210736 w 555792"/>
                <a:gd name="connsiteY62" fmla="*/ 6526 h 129021"/>
                <a:gd name="connsiteX63" fmla="*/ 236078 w 555792"/>
                <a:gd name="connsiteY63" fmla="*/ 6526 h 129021"/>
                <a:gd name="connsiteX64" fmla="*/ 236078 w 555792"/>
                <a:gd name="connsiteY64" fmla="*/ 126955 h 129021"/>
                <a:gd name="connsiteX65" fmla="*/ 210736 w 555792"/>
                <a:gd name="connsiteY65" fmla="*/ 126955 h 129021"/>
                <a:gd name="connsiteX66" fmla="*/ 166619 w 555792"/>
                <a:gd name="connsiteY66" fmla="*/ 6526 h 129021"/>
                <a:gd name="connsiteX67" fmla="*/ 192093 w 555792"/>
                <a:gd name="connsiteY67" fmla="*/ 6526 h 129021"/>
                <a:gd name="connsiteX68" fmla="*/ 192093 w 555792"/>
                <a:gd name="connsiteY68" fmla="*/ 126955 h 129021"/>
                <a:gd name="connsiteX69" fmla="*/ 166619 w 555792"/>
                <a:gd name="connsiteY69" fmla="*/ 126955 h 129021"/>
                <a:gd name="connsiteX70" fmla="*/ 134188 w 555792"/>
                <a:gd name="connsiteY70" fmla="*/ 66 h 129021"/>
                <a:gd name="connsiteX71" fmla="*/ 134452 w 555792"/>
                <a:gd name="connsiteY71" fmla="*/ 66 h 129021"/>
                <a:gd name="connsiteX72" fmla="*/ 151030 w 555792"/>
                <a:gd name="connsiteY72" fmla="*/ 13600 h 129021"/>
                <a:gd name="connsiteX73" fmla="*/ 137277 w 555792"/>
                <a:gd name="connsiteY73" fmla="*/ 29915 h 129021"/>
                <a:gd name="connsiteX74" fmla="*/ 134452 w 555792"/>
                <a:gd name="connsiteY74" fmla="*/ 29915 h 129021"/>
                <a:gd name="connsiteX75" fmla="*/ 119350 w 555792"/>
                <a:gd name="connsiteY75" fmla="*/ 15316 h 129021"/>
                <a:gd name="connsiteX76" fmla="*/ 119352 w 555792"/>
                <a:gd name="connsiteY76" fmla="*/ 14926 h 129021"/>
                <a:gd name="connsiteX77" fmla="*/ 134188 w 555792"/>
                <a:gd name="connsiteY77" fmla="*/ 66 h 129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555792" h="129021">
                  <a:moveTo>
                    <a:pt x="364489" y="61830"/>
                  </a:moveTo>
                  <a:cubicBezTo>
                    <a:pt x="353167" y="62674"/>
                    <a:pt x="344170" y="71529"/>
                    <a:pt x="343312" y="82670"/>
                  </a:cubicBezTo>
                  <a:cubicBezTo>
                    <a:pt x="342353" y="95123"/>
                    <a:pt x="351834" y="105983"/>
                    <a:pt x="364489" y="106926"/>
                  </a:cubicBezTo>
                  <a:cubicBezTo>
                    <a:pt x="365644" y="107012"/>
                    <a:pt x="366805" y="107012"/>
                    <a:pt x="367960" y="106926"/>
                  </a:cubicBezTo>
                  <a:cubicBezTo>
                    <a:pt x="380614" y="105983"/>
                    <a:pt x="390095" y="95123"/>
                    <a:pt x="389136" y="82670"/>
                  </a:cubicBezTo>
                  <a:cubicBezTo>
                    <a:pt x="388178" y="70217"/>
                    <a:pt x="377143" y="60887"/>
                    <a:pt x="364489" y="61830"/>
                  </a:cubicBezTo>
                  <a:close/>
                  <a:moveTo>
                    <a:pt x="255246" y="41285"/>
                  </a:moveTo>
                  <a:lnTo>
                    <a:pt x="280588" y="41285"/>
                  </a:lnTo>
                  <a:lnTo>
                    <a:pt x="280588" y="126955"/>
                  </a:lnTo>
                  <a:lnTo>
                    <a:pt x="255246" y="126955"/>
                  </a:lnTo>
                  <a:close/>
                  <a:moveTo>
                    <a:pt x="121846" y="40770"/>
                  </a:moveTo>
                  <a:lnTo>
                    <a:pt x="147188" y="40770"/>
                  </a:lnTo>
                  <a:lnTo>
                    <a:pt x="147188" y="126439"/>
                  </a:lnTo>
                  <a:lnTo>
                    <a:pt x="121846" y="126439"/>
                  </a:lnTo>
                  <a:close/>
                  <a:moveTo>
                    <a:pt x="301329" y="40638"/>
                  </a:moveTo>
                  <a:cubicBezTo>
                    <a:pt x="301505" y="40635"/>
                    <a:pt x="301682" y="40635"/>
                    <a:pt x="301859" y="40638"/>
                  </a:cubicBezTo>
                  <a:cubicBezTo>
                    <a:pt x="310198" y="40638"/>
                    <a:pt x="316958" y="47292"/>
                    <a:pt x="316958" y="55499"/>
                  </a:cubicBezTo>
                  <a:cubicBezTo>
                    <a:pt x="316958" y="63706"/>
                    <a:pt x="310198" y="70359"/>
                    <a:pt x="301859" y="70359"/>
                  </a:cubicBezTo>
                  <a:cubicBezTo>
                    <a:pt x="293664" y="70433"/>
                    <a:pt x="286961" y="63956"/>
                    <a:pt x="286885" y="55893"/>
                  </a:cubicBezTo>
                  <a:cubicBezTo>
                    <a:pt x="286883" y="55718"/>
                    <a:pt x="286885" y="55544"/>
                    <a:pt x="286890" y="55370"/>
                  </a:cubicBezTo>
                  <a:cubicBezTo>
                    <a:pt x="286743" y="47379"/>
                    <a:pt x="293207" y="40783"/>
                    <a:pt x="301329" y="40638"/>
                  </a:cubicBezTo>
                  <a:close/>
                  <a:moveTo>
                    <a:pt x="468871" y="39863"/>
                  </a:moveTo>
                  <a:cubicBezTo>
                    <a:pt x="480066" y="38933"/>
                    <a:pt x="490621" y="45114"/>
                    <a:pt x="495131" y="55240"/>
                  </a:cubicBezTo>
                  <a:cubicBezTo>
                    <a:pt x="501466" y="45339"/>
                    <a:pt x="512660" y="39487"/>
                    <a:pt x="524542" y="39863"/>
                  </a:cubicBezTo>
                  <a:cubicBezTo>
                    <a:pt x="540599" y="38721"/>
                    <a:pt x="554556" y="50605"/>
                    <a:pt x="555716" y="66406"/>
                  </a:cubicBezTo>
                  <a:cubicBezTo>
                    <a:pt x="555772" y="67162"/>
                    <a:pt x="555797" y="67920"/>
                    <a:pt x="555792" y="68678"/>
                  </a:cubicBezTo>
                  <a:lnTo>
                    <a:pt x="555792" y="126954"/>
                  </a:lnTo>
                  <a:lnTo>
                    <a:pt x="530582" y="126954"/>
                  </a:lnTo>
                  <a:lnTo>
                    <a:pt x="530582" y="75914"/>
                  </a:lnTo>
                  <a:cubicBezTo>
                    <a:pt x="531848" y="68888"/>
                    <a:pt x="527086" y="62181"/>
                    <a:pt x="519946" y="60936"/>
                  </a:cubicBezTo>
                  <a:cubicBezTo>
                    <a:pt x="518776" y="60732"/>
                    <a:pt x="517584" y="60685"/>
                    <a:pt x="516402" y="60796"/>
                  </a:cubicBezTo>
                  <a:cubicBezTo>
                    <a:pt x="505898" y="60796"/>
                    <a:pt x="499858" y="69324"/>
                    <a:pt x="499858" y="83150"/>
                  </a:cubicBezTo>
                  <a:lnTo>
                    <a:pt x="499858" y="126954"/>
                  </a:lnTo>
                  <a:lnTo>
                    <a:pt x="474780" y="126954"/>
                  </a:lnTo>
                  <a:lnTo>
                    <a:pt x="474780" y="75914"/>
                  </a:lnTo>
                  <a:cubicBezTo>
                    <a:pt x="476033" y="68885"/>
                    <a:pt x="471259" y="62187"/>
                    <a:pt x="464116" y="60954"/>
                  </a:cubicBezTo>
                  <a:cubicBezTo>
                    <a:pt x="463043" y="60769"/>
                    <a:pt x="461949" y="60716"/>
                    <a:pt x="460862" y="60796"/>
                  </a:cubicBezTo>
                  <a:cubicBezTo>
                    <a:pt x="450489" y="60796"/>
                    <a:pt x="444318" y="69454"/>
                    <a:pt x="444318" y="83150"/>
                  </a:cubicBezTo>
                  <a:lnTo>
                    <a:pt x="444318" y="126954"/>
                  </a:lnTo>
                  <a:lnTo>
                    <a:pt x="418977" y="126954"/>
                  </a:lnTo>
                  <a:lnTo>
                    <a:pt x="418977" y="41285"/>
                  </a:lnTo>
                  <a:lnTo>
                    <a:pt x="444318" y="41285"/>
                  </a:lnTo>
                  <a:lnTo>
                    <a:pt x="444318" y="52785"/>
                  </a:lnTo>
                  <a:cubicBezTo>
                    <a:pt x="449587" y="44489"/>
                    <a:pt x="458935" y="39570"/>
                    <a:pt x="468871" y="39863"/>
                  </a:cubicBezTo>
                  <a:close/>
                  <a:moveTo>
                    <a:pt x="364489" y="39863"/>
                  </a:moveTo>
                  <a:cubicBezTo>
                    <a:pt x="389455" y="39935"/>
                    <a:pt x="409656" y="59873"/>
                    <a:pt x="409656" y="84443"/>
                  </a:cubicBezTo>
                  <a:cubicBezTo>
                    <a:pt x="409656" y="84486"/>
                    <a:pt x="409656" y="84529"/>
                    <a:pt x="409656" y="84572"/>
                  </a:cubicBezTo>
                  <a:cubicBezTo>
                    <a:pt x="409583" y="109192"/>
                    <a:pt x="389244" y="129093"/>
                    <a:pt x="364227" y="129021"/>
                  </a:cubicBezTo>
                  <a:cubicBezTo>
                    <a:pt x="339208" y="128950"/>
                    <a:pt x="318986" y="108934"/>
                    <a:pt x="319059" y="84313"/>
                  </a:cubicBezTo>
                  <a:cubicBezTo>
                    <a:pt x="319131" y="59693"/>
                    <a:pt x="339471" y="39792"/>
                    <a:pt x="364489" y="39863"/>
                  </a:cubicBezTo>
                  <a:close/>
                  <a:moveTo>
                    <a:pt x="0" y="7947"/>
                  </a:moveTo>
                  <a:lnTo>
                    <a:pt x="27179" y="7947"/>
                  </a:lnTo>
                  <a:lnTo>
                    <a:pt x="27179" y="54206"/>
                  </a:lnTo>
                  <a:lnTo>
                    <a:pt x="75236" y="54206"/>
                  </a:lnTo>
                  <a:lnTo>
                    <a:pt x="75236" y="7947"/>
                  </a:lnTo>
                  <a:lnTo>
                    <a:pt x="102678" y="7947"/>
                  </a:lnTo>
                  <a:lnTo>
                    <a:pt x="102678" y="126954"/>
                  </a:lnTo>
                  <a:lnTo>
                    <a:pt x="75236" y="126954"/>
                  </a:lnTo>
                  <a:lnTo>
                    <a:pt x="75236" y="77207"/>
                  </a:lnTo>
                  <a:lnTo>
                    <a:pt x="27179" y="77207"/>
                  </a:lnTo>
                  <a:lnTo>
                    <a:pt x="27179" y="126954"/>
                  </a:lnTo>
                  <a:lnTo>
                    <a:pt x="0" y="126954"/>
                  </a:lnTo>
                  <a:close/>
                  <a:moveTo>
                    <a:pt x="210736" y="6526"/>
                  </a:moveTo>
                  <a:lnTo>
                    <a:pt x="236078" y="6526"/>
                  </a:lnTo>
                  <a:lnTo>
                    <a:pt x="236078" y="126955"/>
                  </a:lnTo>
                  <a:lnTo>
                    <a:pt x="210736" y="126955"/>
                  </a:lnTo>
                  <a:close/>
                  <a:moveTo>
                    <a:pt x="166619" y="6526"/>
                  </a:moveTo>
                  <a:lnTo>
                    <a:pt x="192093" y="6526"/>
                  </a:lnTo>
                  <a:lnTo>
                    <a:pt x="192093" y="126955"/>
                  </a:lnTo>
                  <a:lnTo>
                    <a:pt x="166619" y="126955"/>
                  </a:lnTo>
                  <a:close/>
                  <a:moveTo>
                    <a:pt x="134188" y="66"/>
                  </a:moveTo>
                  <a:cubicBezTo>
                    <a:pt x="134276" y="65"/>
                    <a:pt x="134364" y="65"/>
                    <a:pt x="134452" y="66"/>
                  </a:cubicBezTo>
                  <a:cubicBezTo>
                    <a:pt x="142828" y="-702"/>
                    <a:pt x="150250" y="5357"/>
                    <a:pt x="151030" y="13600"/>
                  </a:cubicBezTo>
                  <a:cubicBezTo>
                    <a:pt x="151810" y="21842"/>
                    <a:pt x="145653" y="29148"/>
                    <a:pt x="137277" y="29915"/>
                  </a:cubicBezTo>
                  <a:cubicBezTo>
                    <a:pt x="136338" y="30002"/>
                    <a:pt x="135392" y="30002"/>
                    <a:pt x="134452" y="29915"/>
                  </a:cubicBezTo>
                  <a:cubicBezTo>
                    <a:pt x="126185" y="29988"/>
                    <a:pt x="119424" y="23451"/>
                    <a:pt x="119350" y="15316"/>
                  </a:cubicBezTo>
                  <a:cubicBezTo>
                    <a:pt x="119349" y="15186"/>
                    <a:pt x="119349" y="15056"/>
                    <a:pt x="119352" y="14926"/>
                  </a:cubicBezTo>
                  <a:cubicBezTo>
                    <a:pt x="119279" y="6790"/>
                    <a:pt x="125921" y="137"/>
                    <a:pt x="134188" y="66"/>
                  </a:cubicBezTo>
                  <a:close/>
                </a:path>
              </a:pathLst>
            </a:custGeom>
            <a:solidFill>
              <a:srgbClr val="000839"/>
            </a:solidFill>
            <a:ln w="9525" cap="flat">
              <a:noFill/>
              <a:prstDash val="solid"/>
              <a:miter/>
            </a:ln>
          </p:spPr>
          <p:txBody>
            <a:bodyPr wrap="square" rtlCol="0" anchor="ctr">
              <a:noAutofit/>
            </a:bodyPr>
            <a:lstStyle/>
            <a:p>
              <a:endParaRPr lang="en-US"/>
            </a:p>
          </p:txBody>
        </p:sp>
      </p:grpSp>
    </p:spTree>
    <p:extLst>
      <p:ext uri="{BB962C8B-B14F-4D97-AF65-F5344CB8AC3E}">
        <p14:creationId xmlns:p14="http://schemas.microsoft.com/office/powerpoint/2010/main" val="24710949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Body - Timeline">
    <p:spTree>
      <p:nvGrpSpPr>
        <p:cNvPr id="1" name=""/>
        <p:cNvGrpSpPr/>
        <p:nvPr/>
      </p:nvGrpSpPr>
      <p:grpSpPr>
        <a:xfrm>
          <a:off x="0" y="0"/>
          <a:ext cx="0" cy="0"/>
          <a:chOff x="0" y="0"/>
          <a:chExt cx="0" cy="0"/>
        </a:xfrm>
      </p:grpSpPr>
      <p:sp>
        <p:nvSpPr>
          <p:cNvPr id="19" name="Title 8">
            <a:extLst>
              <a:ext uri="{FF2B5EF4-FFF2-40B4-BE49-F238E27FC236}">
                <a16:creationId xmlns:a16="http://schemas.microsoft.com/office/drawing/2014/main" id="{C19B2AA5-8CA7-5E42-91FF-C3A890D1A1C5}"/>
              </a:ext>
            </a:extLst>
          </p:cNvPr>
          <p:cNvSpPr>
            <a:spLocks noGrp="1"/>
          </p:cNvSpPr>
          <p:nvPr>
            <p:ph type="title"/>
          </p:nvPr>
        </p:nvSpPr>
        <p:spPr>
          <a:xfrm>
            <a:off x="594812" y="914504"/>
            <a:ext cx="6854203" cy="1099898"/>
          </a:xfrm>
          <a:prstGeom prst="rect">
            <a:avLst/>
          </a:prstGeom>
        </p:spPr>
        <p:txBody>
          <a:bodyPr/>
          <a:lstStyle>
            <a:lvl1pPr marL="0" algn="l" defTabSz="914400" rtl="0" eaLnBrk="1" latinLnBrk="0" hangingPunct="1">
              <a:lnSpc>
                <a:spcPct val="90000"/>
              </a:lnSpc>
              <a:spcBef>
                <a:spcPct val="0"/>
              </a:spcBef>
              <a:buNone/>
              <a:defRPr lang="en-US" sz="3200" b="1" i="0" kern="1200" cap="none" spc="0" baseline="0" dirty="0">
                <a:solidFill>
                  <a:schemeClr val="tx1"/>
                </a:solidFill>
                <a:latin typeface="+mj-lt"/>
                <a:ea typeface="+mj-ea"/>
                <a:cs typeface="+mj-cs"/>
              </a:defRPr>
            </a:lvl1pPr>
          </a:lstStyle>
          <a:p>
            <a:r>
              <a:rPr lang="en-US"/>
              <a:t>Click to edit Master title style</a:t>
            </a:r>
          </a:p>
        </p:txBody>
      </p:sp>
      <p:sp>
        <p:nvSpPr>
          <p:cNvPr id="20" name="Slide Number Placeholder 5">
            <a:extLst>
              <a:ext uri="{FF2B5EF4-FFF2-40B4-BE49-F238E27FC236}">
                <a16:creationId xmlns:a16="http://schemas.microsoft.com/office/drawing/2014/main" id="{7EC92E55-F84C-154B-B530-1BC34FA368B4}"/>
              </a:ext>
            </a:extLst>
          </p:cNvPr>
          <p:cNvSpPr>
            <a:spLocks noGrp="1"/>
          </p:cNvSpPr>
          <p:nvPr>
            <p:ph type="sldNum" sz="quarter" idx="4"/>
          </p:nvPr>
        </p:nvSpPr>
        <p:spPr>
          <a:xfrm>
            <a:off x="11537879" y="6325527"/>
            <a:ext cx="370726" cy="365125"/>
          </a:xfrm>
          <a:prstGeom prst="rect">
            <a:avLst/>
          </a:prstGeom>
        </p:spPr>
        <p:txBody>
          <a:bodyPr vert="horz" lIns="91440" tIns="45720" rIns="91440" bIns="45720" rtlCol="0" anchor="b"/>
          <a:lstStyle>
            <a:lvl1pPr algn="r">
              <a:defRPr sz="800" b="1" i="0">
                <a:solidFill>
                  <a:schemeClr val="tx1">
                    <a:tint val="75000"/>
                  </a:schemeClr>
                </a:solidFill>
                <a:latin typeface="+mj-lt"/>
              </a:defRPr>
            </a:lvl1pPr>
          </a:lstStyle>
          <a:p>
            <a:fld id="{EB3C441C-A16D-4531-8F9E-BFE4D57FBC82}" type="slidenum">
              <a:rPr lang="en-US" smtClean="0"/>
              <a:t>‹N°›</a:t>
            </a:fld>
            <a:endParaRPr lang="en-US"/>
          </a:p>
        </p:txBody>
      </p:sp>
      <p:sp>
        <p:nvSpPr>
          <p:cNvPr id="21" name="Footer Placeholder 54">
            <a:extLst>
              <a:ext uri="{FF2B5EF4-FFF2-40B4-BE49-F238E27FC236}">
                <a16:creationId xmlns:a16="http://schemas.microsoft.com/office/drawing/2014/main" id="{5170A5DC-098F-9F4A-B70A-60D863CD8265}"/>
              </a:ext>
            </a:extLst>
          </p:cNvPr>
          <p:cNvSpPr>
            <a:spLocks noGrp="1"/>
          </p:cNvSpPr>
          <p:nvPr>
            <p:ph type="ftr" sz="quarter" idx="15"/>
          </p:nvPr>
        </p:nvSpPr>
        <p:spPr>
          <a:xfrm>
            <a:off x="1819551" y="6340392"/>
            <a:ext cx="4114800" cy="365125"/>
          </a:xfrm>
          <a:prstGeom prst="rect">
            <a:avLst/>
          </a:prstGeom>
        </p:spPr>
        <p:txBody>
          <a:bodyPr anchor="b" anchorCtr="0"/>
          <a:lstStyle>
            <a:lvl1pPr>
              <a:defRPr sz="700">
                <a:solidFill>
                  <a:schemeClr val="accent2"/>
                </a:solidFill>
              </a:defRPr>
            </a:lvl1pPr>
          </a:lstStyle>
          <a:p>
            <a:endParaRPr lang="en-US"/>
          </a:p>
        </p:txBody>
      </p:sp>
      <p:sp>
        <p:nvSpPr>
          <p:cNvPr id="22" name="Text Placeholder 3">
            <a:extLst>
              <a:ext uri="{FF2B5EF4-FFF2-40B4-BE49-F238E27FC236}">
                <a16:creationId xmlns:a16="http://schemas.microsoft.com/office/drawing/2014/main" id="{CE2239FA-8BA9-E046-92C5-7865721A5D61}"/>
              </a:ext>
            </a:extLst>
          </p:cNvPr>
          <p:cNvSpPr>
            <a:spLocks noGrp="1"/>
          </p:cNvSpPr>
          <p:nvPr>
            <p:ph type="body" sz="quarter" idx="13"/>
          </p:nvPr>
        </p:nvSpPr>
        <p:spPr>
          <a:xfrm>
            <a:off x="688350" y="498222"/>
            <a:ext cx="1997663" cy="244682"/>
          </a:xfrm>
          <a:prstGeom prst="rect">
            <a:avLst/>
          </a:prstGeom>
          <a:solidFill>
            <a:schemeClr val="accent1"/>
          </a:solidFill>
          <a:ln>
            <a:noFill/>
          </a:ln>
        </p:spPr>
        <p:txBody>
          <a:bodyPr wrap="none" anchor="ctr">
            <a:spAutoFit/>
          </a:bodyPr>
          <a:lstStyle>
            <a:lvl1pPr marL="0" indent="0">
              <a:buNone/>
              <a:defRPr sz="1100" b="1" cap="all" spc="50" baseline="0">
                <a:solidFill>
                  <a:schemeClr val="bg1"/>
                </a:solidFill>
                <a:latin typeface="+mj-lt"/>
              </a:defRPr>
            </a:lvl1pPr>
          </a:lstStyle>
          <a:p>
            <a:pPr lvl="0"/>
            <a:r>
              <a:rPr lang="en-US"/>
              <a:t>Edit Master text styles</a:t>
            </a:r>
          </a:p>
        </p:txBody>
      </p:sp>
      <p:sp>
        <p:nvSpPr>
          <p:cNvPr id="23" name="Text Placeholder 7">
            <a:extLst>
              <a:ext uri="{FF2B5EF4-FFF2-40B4-BE49-F238E27FC236}">
                <a16:creationId xmlns:a16="http://schemas.microsoft.com/office/drawing/2014/main" id="{2F27A886-0EC3-1844-AD0A-067A945DFA8B}"/>
              </a:ext>
            </a:extLst>
          </p:cNvPr>
          <p:cNvSpPr>
            <a:spLocks noGrp="1"/>
          </p:cNvSpPr>
          <p:nvPr>
            <p:ph type="body" sz="quarter" idx="27"/>
          </p:nvPr>
        </p:nvSpPr>
        <p:spPr>
          <a:xfrm>
            <a:off x="513969" y="5494842"/>
            <a:ext cx="1700910" cy="810763"/>
          </a:xfrm>
          <a:prstGeom prst="rect">
            <a:avLst/>
          </a:prstGeom>
        </p:spPr>
        <p:txBody>
          <a:bodyPr/>
          <a:lstStyle>
            <a:lvl1pPr marL="0" indent="0">
              <a:lnSpc>
                <a:spcPct val="120000"/>
              </a:lnSpc>
              <a:buNone/>
              <a:defRPr sz="1200" b="1" kern="1100" cap="all" spc="20" baseline="0">
                <a:solidFill>
                  <a:schemeClr val="accent1"/>
                </a:solidFill>
                <a:latin typeface="+mj-lt"/>
              </a:defRPr>
            </a:lvl1pPr>
            <a:lvl2pPr marL="11113" indent="0">
              <a:lnSpc>
                <a:spcPct val="110000"/>
              </a:lnSpc>
              <a:spcBef>
                <a:spcPts val="0"/>
              </a:spcBef>
              <a:buNone/>
              <a:tabLst/>
              <a:defRPr sz="1200" baseline="0"/>
            </a:lvl2pPr>
            <a:lvl3pPr marL="230188" indent="-219075">
              <a:lnSpc>
                <a:spcPct val="110000"/>
              </a:lnSpc>
              <a:spcBef>
                <a:spcPts val="0"/>
              </a:spcBef>
              <a:buFont typeface="System Font Regular"/>
              <a:buChar char="–"/>
              <a:tabLst/>
              <a:defRPr sz="1200" baseline="0"/>
            </a:lvl3pPr>
            <a:lvl4pPr>
              <a:defRPr sz="1200" baseline="0"/>
            </a:lvl4pPr>
            <a:lvl5pPr>
              <a:defRPr sz="1200" baseline="0"/>
            </a:lvl5pPr>
          </a:lstStyle>
          <a:p>
            <a:pPr lvl="0"/>
            <a:r>
              <a:rPr lang="en-US"/>
              <a:t>Edit Master text styles</a:t>
            </a:r>
          </a:p>
          <a:p>
            <a:pPr lvl="1"/>
            <a:r>
              <a:rPr lang="en-US"/>
              <a:t>Second level</a:t>
            </a:r>
          </a:p>
          <a:p>
            <a:pPr lvl="2"/>
            <a:r>
              <a:rPr lang="en-US"/>
              <a:t>Third level</a:t>
            </a:r>
          </a:p>
        </p:txBody>
      </p:sp>
      <p:grpSp>
        <p:nvGrpSpPr>
          <p:cNvPr id="24" name="Group 23">
            <a:extLst>
              <a:ext uri="{FF2B5EF4-FFF2-40B4-BE49-F238E27FC236}">
                <a16:creationId xmlns:a16="http://schemas.microsoft.com/office/drawing/2014/main" id="{961530EC-AF19-2D40-AFDF-4584CDF6EBFC}"/>
              </a:ext>
            </a:extLst>
          </p:cNvPr>
          <p:cNvGrpSpPr/>
          <p:nvPr/>
        </p:nvGrpSpPr>
        <p:grpSpPr>
          <a:xfrm>
            <a:off x="3047" y="6305605"/>
            <a:ext cx="1254409" cy="552395"/>
            <a:chOff x="3047" y="6305605"/>
            <a:chExt cx="1254409" cy="552395"/>
          </a:xfrm>
        </p:grpSpPr>
        <p:grpSp>
          <p:nvGrpSpPr>
            <p:cNvPr id="27" name="Group 26">
              <a:extLst>
                <a:ext uri="{FF2B5EF4-FFF2-40B4-BE49-F238E27FC236}">
                  <a16:creationId xmlns:a16="http://schemas.microsoft.com/office/drawing/2014/main" id="{7347B4A5-E693-754A-AF47-950C53470568}"/>
                </a:ext>
              </a:extLst>
            </p:cNvPr>
            <p:cNvGrpSpPr/>
            <p:nvPr/>
          </p:nvGrpSpPr>
          <p:grpSpPr>
            <a:xfrm>
              <a:off x="3047" y="6305605"/>
              <a:ext cx="551693" cy="552395"/>
              <a:chOff x="3047" y="6305605"/>
              <a:chExt cx="551693" cy="552395"/>
            </a:xfrm>
          </p:grpSpPr>
          <p:sp>
            <p:nvSpPr>
              <p:cNvPr id="31" name="Rectangle 30">
                <a:extLst>
                  <a:ext uri="{FF2B5EF4-FFF2-40B4-BE49-F238E27FC236}">
                    <a16:creationId xmlns:a16="http://schemas.microsoft.com/office/drawing/2014/main" id="{201B0FD3-B450-4B46-A089-4C19DED8149A}"/>
                  </a:ext>
                </a:extLst>
              </p:cNvPr>
              <p:cNvSpPr/>
              <p:nvPr/>
            </p:nvSpPr>
            <p:spPr>
              <a:xfrm>
                <a:off x="3047" y="6305605"/>
                <a:ext cx="551693" cy="552395"/>
              </a:xfrm>
              <a:prstGeom prst="rect">
                <a:avLst/>
              </a:prstGeom>
              <a:solidFill>
                <a:srgbClr val="5369E4"/>
              </a:solidFill>
              <a:ln w="9525"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5255D1D5-5DE6-7C43-8D68-09F8CED3516D}"/>
                  </a:ext>
                </a:extLst>
              </p:cNvPr>
              <p:cNvSpPr/>
              <p:nvPr/>
            </p:nvSpPr>
            <p:spPr>
              <a:xfrm>
                <a:off x="173577" y="6501753"/>
                <a:ext cx="279408" cy="175345"/>
              </a:xfrm>
              <a:custGeom>
                <a:avLst/>
                <a:gdLst>
                  <a:gd name="connsiteX0" fmla="*/ 102941 w 279408"/>
                  <a:gd name="connsiteY0" fmla="*/ 59439 h 175345"/>
                  <a:gd name="connsiteX1" fmla="*/ 132352 w 279408"/>
                  <a:gd name="connsiteY1" fmla="*/ 88384 h 175345"/>
                  <a:gd name="connsiteX2" fmla="*/ 102941 w 279408"/>
                  <a:gd name="connsiteY2" fmla="*/ 117329 h 175345"/>
                  <a:gd name="connsiteX3" fmla="*/ 73528 w 279408"/>
                  <a:gd name="connsiteY3" fmla="*/ 88384 h 175345"/>
                  <a:gd name="connsiteX4" fmla="*/ 102941 w 279408"/>
                  <a:gd name="connsiteY4" fmla="*/ 59439 h 175345"/>
                  <a:gd name="connsiteX5" fmla="*/ 147056 w 279408"/>
                  <a:gd name="connsiteY5" fmla="*/ 1809 h 175345"/>
                  <a:gd name="connsiteX6" fmla="*/ 205880 w 279408"/>
                  <a:gd name="connsiteY6" fmla="*/ 1809 h 175345"/>
                  <a:gd name="connsiteX7" fmla="*/ 205880 w 279408"/>
                  <a:gd name="connsiteY7" fmla="*/ 59698 h 175345"/>
                  <a:gd name="connsiteX8" fmla="*/ 205880 w 279408"/>
                  <a:gd name="connsiteY8" fmla="*/ 117457 h 175345"/>
                  <a:gd name="connsiteX9" fmla="*/ 205880 w 279408"/>
                  <a:gd name="connsiteY9" fmla="*/ 175345 h 175345"/>
                  <a:gd name="connsiteX10" fmla="*/ 147056 w 279408"/>
                  <a:gd name="connsiteY10" fmla="*/ 175345 h 175345"/>
                  <a:gd name="connsiteX11" fmla="*/ 147056 w 279408"/>
                  <a:gd name="connsiteY11" fmla="*/ 117457 h 175345"/>
                  <a:gd name="connsiteX12" fmla="*/ 147056 w 279408"/>
                  <a:gd name="connsiteY12" fmla="*/ 59698 h 175345"/>
                  <a:gd name="connsiteX13" fmla="*/ 0 w 279408"/>
                  <a:gd name="connsiteY13" fmla="*/ 1809 h 175345"/>
                  <a:gd name="connsiteX14" fmla="*/ 58824 w 279408"/>
                  <a:gd name="connsiteY14" fmla="*/ 1809 h 175345"/>
                  <a:gd name="connsiteX15" fmla="*/ 58824 w 279408"/>
                  <a:gd name="connsiteY15" fmla="*/ 59698 h 175345"/>
                  <a:gd name="connsiteX16" fmla="*/ 58824 w 279408"/>
                  <a:gd name="connsiteY16" fmla="*/ 117457 h 175345"/>
                  <a:gd name="connsiteX17" fmla="*/ 58824 w 279408"/>
                  <a:gd name="connsiteY17" fmla="*/ 175345 h 175345"/>
                  <a:gd name="connsiteX18" fmla="*/ 0 w 279408"/>
                  <a:gd name="connsiteY18" fmla="*/ 175345 h 175345"/>
                  <a:gd name="connsiteX19" fmla="*/ 0 w 279408"/>
                  <a:gd name="connsiteY19" fmla="*/ 117457 h 175345"/>
                  <a:gd name="connsiteX20" fmla="*/ 0 w 279408"/>
                  <a:gd name="connsiteY20" fmla="*/ 59698 h 175345"/>
                  <a:gd name="connsiteX21" fmla="*/ 249997 w 279408"/>
                  <a:gd name="connsiteY21" fmla="*/ 0 h 175345"/>
                  <a:gd name="connsiteX22" fmla="*/ 279408 w 279408"/>
                  <a:gd name="connsiteY22" fmla="*/ 28945 h 175345"/>
                  <a:gd name="connsiteX23" fmla="*/ 249997 w 279408"/>
                  <a:gd name="connsiteY23" fmla="*/ 57890 h 175345"/>
                  <a:gd name="connsiteX24" fmla="*/ 220584 w 279408"/>
                  <a:gd name="connsiteY24" fmla="*/ 28945 h 175345"/>
                  <a:gd name="connsiteX25" fmla="*/ 249997 w 279408"/>
                  <a:gd name="connsiteY25" fmla="*/ 0 h 175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79408" h="175345">
                    <a:moveTo>
                      <a:pt x="102941" y="59439"/>
                    </a:moveTo>
                    <a:cubicBezTo>
                      <a:pt x="119184" y="59439"/>
                      <a:pt x="132352" y="72399"/>
                      <a:pt x="132352" y="88384"/>
                    </a:cubicBezTo>
                    <a:cubicBezTo>
                      <a:pt x="132352" y="104370"/>
                      <a:pt x="119184" y="117329"/>
                      <a:pt x="102941" y="117329"/>
                    </a:cubicBezTo>
                    <a:cubicBezTo>
                      <a:pt x="86696" y="117329"/>
                      <a:pt x="73528" y="104370"/>
                      <a:pt x="73528" y="88384"/>
                    </a:cubicBezTo>
                    <a:cubicBezTo>
                      <a:pt x="73528" y="72399"/>
                      <a:pt x="86696" y="59439"/>
                      <a:pt x="102941" y="59439"/>
                    </a:cubicBezTo>
                    <a:close/>
                    <a:moveTo>
                      <a:pt x="147056" y="1809"/>
                    </a:moveTo>
                    <a:lnTo>
                      <a:pt x="205880" y="1809"/>
                    </a:lnTo>
                    <a:lnTo>
                      <a:pt x="205880" y="59698"/>
                    </a:lnTo>
                    <a:lnTo>
                      <a:pt x="205880" y="117457"/>
                    </a:lnTo>
                    <a:lnTo>
                      <a:pt x="205880" y="175345"/>
                    </a:lnTo>
                    <a:lnTo>
                      <a:pt x="147056" y="175345"/>
                    </a:lnTo>
                    <a:lnTo>
                      <a:pt x="147056" y="117457"/>
                    </a:lnTo>
                    <a:lnTo>
                      <a:pt x="147056" y="59698"/>
                    </a:lnTo>
                    <a:close/>
                    <a:moveTo>
                      <a:pt x="0" y="1809"/>
                    </a:moveTo>
                    <a:lnTo>
                      <a:pt x="58824" y="1809"/>
                    </a:lnTo>
                    <a:lnTo>
                      <a:pt x="58824" y="59698"/>
                    </a:lnTo>
                    <a:lnTo>
                      <a:pt x="58824" y="117457"/>
                    </a:lnTo>
                    <a:lnTo>
                      <a:pt x="58824" y="175345"/>
                    </a:lnTo>
                    <a:lnTo>
                      <a:pt x="0" y="175345"/>
                    </a:lnTo>
                    <a:lnTo>
                      <a:pt x="0" y="117457"/>
                    </a:lnTo>
                    <a:lnTo>
                      <a:pt x="0" y="59698"/>
                    </a:lnTo>
                    <a:close/>
                    <a:moveTo>
                      <a:pt x="249997" y="0"/>
                    </a:moveTo>
                    <a:cubicBezTo>
                      <a:pt x="266240" y="0"/>
                      <a:pt x="279408" y="12960"/>
                      <a:pt x="279408" y="28945"/>
                    </a:cubicBezTo>
                    <a:cubicBezTo>
                      <a:pt x="279408" y="44931"/>
                      <a:pt x="266240" y="57890"/>
                      <a:pt x="249997" y="57890"/>
                    </a:cubicBezTo>
                    <a:cubicBezTo>
                      <a:pt x="233752" y="57890"/>
                      <a:pt x="220584" y="44931"/>
                      <a:pt x="220584" y="28945"/>
                    </a:cubicBezTo>
                    <a:cubicBezTo>
                      <a:pt x="220584" y="12960"/>
                      <a:pt x="233752" y="0"/>
                      <a:pt x="249997" y="0"/>
                    </a:cubicBezTo>
                    <a:close/>
                  </a:path>
                </a:pathLst>
              </a:custGeom>
              <a:solidFill>
                <a:srgbClr val="FFFFFF"/>
              </a:solidFill>
              <a:ln w="9525" cap="flat">
                <a:noFill/>
                <a:prstDash val="solid"/>
                <a:miter/>
              </a:ln>
            </p:spPr>
            <p:txBody>
              <a:bodyPr wrap="square" rtlCol="0" anchor="ctr">
                <a:noAutofit/>
              </a:bodyPr>
              <a:lstStyle/>
              <a:p>
                <a:endParaRPr lang="en-US"/>
              </a:p>
            </p:txBody>
          </p:sp>
        </p:grpSp>
        <p:sp>
          <p:nvSpPr>
            <p:cNvPr id="28" name="Freeform 27">
              <a:extLst>
                <a:ext uri="{FF2B5EF4-FFF2-40B4-BE49-F238E27FC236}">
                  <a16:creationId xmlns:a16="http://schemas.microsoft.com/office/drawing/2014/main" id="{656F3049-AEC8-FE4D-90FF-F766F7FF8E7A}"/>
                </a:ext>
              </a:extLst>
            </p:cNvPr>
            <p:cNvSpPr/>
            <p:nvPr/>
          </p:nvSpPr>
          <p:spPr>
            <a:xfrm>
              <a:off x="701664" y="6524947"/>
              <a:ext cx="555792" cy="129021"/>
            </a:xfrm>
            <a:custGeom>
              <a:avLst/>
              <a:gdLst>
                <a:gd name="connsiteX0" fmla="*/ 364489 w 555792"/>
                <a:gd name="connsiteY0" fmla="*/ 61830 h 129021"/>
                <a:gd name="connsiteX1" fmla="*/ 343312 w 555792"/>
                <a:gd name="connsiteY1" fmla="*/ 82670 h 129021"/>
                <a:gd name="connsiteX2" fmla="*/ 364489 w 555792"/>
                <a:gd name="connsiteY2" fmla="*/ 106926 h 129021"/>
                <a:gd name="connsiteX3" fmla="*/ 367960 w 555792"/>
                <a:gd name="connsiteY3" fmla="*/ 106926 h 129021"/>
                <a:gd name="connsiteX4" fmla="*/ 389136 w 555792"/>
                <a:gd name="connsiteY4" fmla="*/ 82670 h 129021"/>
                <a:gd name="connsiteX5" fmla="*/ 364489 w 555792"/>
                <a:gd name="connsiteY5" fmla="*/ 61830 h 129021"/>
                <a:gd name="connsiteX6" fmla="*/ 255246 w 555792"/>
                <a:gd name="connsiteY6" fmla="*/ 41285 h 129021"/>
                <a:gd name="connsiteX7" fmla="*/ 280588 w 555792"/>
                <a:gd name="connsiteY7" fmla="*/ 41285 h 129021"/>
                <a:gd name="connsiteX8" fmla="*/ 280588 w 555792"/>
                <a:gd name="connsiteY8" fmla="*/ 126955 h 129021"/>
                <a:gd name="connsiteX9" fmla="*/ 255246 w 555792"/>
                <a:gd name="connsiteY9" fmla="*/ 126955 h 129021"/>
                <a:gd name="connsiteX10" fmla="*/ 121846 w 555792"/>
                <a:gd name="connsiteY10" fmla="*/ 40770 h 129021"/>
                <a:gd name="connsiteX11" fmla="*/ 147188 w 555792"/>
                <a:gd name="connsiteY11" fmla="*/ 40770 h 129021"/>
                <a:gd name="connsiteX12" fmla="*/ 147188 w 555792"/>
                <a:gd name="connsiteY12" fmla="*/ 126439 h 129021"/>
                <a:gd name="connsiteX13" fmla="*/ 121846 w 555792"/>
                <a:gd name="connsiteY13" fmla="*/ 126439 h 129021"/>
                <a:gd name="connsiteX14" fmla="*/ 301329 w 555792"/>
                <a:gd name="connsiteY14" fmla="*/ 40638 h 129021"/>
                <a:gd name="connsiteX15" fmla="*/ 301859 w 555792"/>
                <a:gd name="connsiteY15" fmla="*/ 40638 h 129021"/>
                <a:gd name="connsiteX16" fmla="*/ 316958 w 555792"/>
                <a:gd name="connsiteY16" fmla="*/ 55499 h 129021"/>
                <a:gd name="connsiteX17" fmla="*/ 301859 w 555792"/>
                <a:gd name="connsiteY17" fmla="*/ 70359 h 129021"/>
                <a:gd name="connsiteX18" fmla="*/ 286885 w 555792"/>
                <a:gd name="connsiteY18" fmla="*/ 55893 h 129021"/>
                <a:gd name="connsiteX19" fmla="*/ 286890 w 555792"/>
                <a:gd name="connsiteY19" fmla="*/ 55370 h 129021"/>
                <a:gd name="connsiteX20" fmla="*/ 301329 w 555792"/>
                <a:gd name="connsiteY20" fmla="*/ 40638 h 129021"/>
                <a:gd name="connsiteX21" fmla="*/ 468871 w 555792"/>
                <a:gd name="connsiteY21" fmla="*/ 39863 h 129021"/>
                <a:gd name="connsiteX22" fmla="*/ 495131 w 555792"/>
                <a:gd name="connsiteY22" fmla="*/ 55240 h 129021"/>
                <a:gd name="connsiteX23" fmla="*/ 524542 w 555792"/>
                <a:gd name="connsiteY23" fmla="*/ 39863 h 129021"/>
                <a:gd name="connsiteX24" fmla="*/ 555716 w 555792"/>
                <a:gd name="connsiteY24" fmla="*/ 66406 h 129021"/>
                <a:gd name="connsiteX25" fmla="*/ 555792 w 555792"/>
                <a:gd name="connsiteY25" fmla="*/ 68678 h 129021"/>
                <a:gd name="connsiteX26" fmla="*/ 555792 w 555792"/>
                <a:gd name="connsiteY26" fmla="*/ 126954 h 129021"/>
                <a:gd name="connsiteX27" fmla="*/ 530582 w 555792"/>
                <a:gd name="connsiteY27" fmla="*/ 126954 h 129021"/>
                <a:gd name="connsiteX28" fmla="*/ 530582 w 555792"/>
                <a:gd name="connsiteY28" fmla="*/ 75914 h 129021"/>
                <a:gd name="connsiteX29" fmla="*/ 519946 w 555792"/>
                <a:gd name="connsiteY29" fmla="*/ 60936 h 129021"/>
                <a:gd name="connsiteX30" fmla="*/ 516402 w 555792"/>
                <a:gd name="connsiteY30" fmla="*/ 60796 h 129021"/>
                <a:gd name="connsiteX31" fmla="*/ 499858 w 555792"/>
                <a:gd name="connsiteY31" fmla="*/ 83150 h 129021"/>
                <a:gd name="connsiteX32" fmla="*/ 499858 w 555792"/>
                <a:gd name="connsiteY32" fmla="*/ 126954 h 129021"/>
                <a:gd name="connsiteX33" fmla="*/ 474780 w 555792"/>
                <a:gd name="connsiteY33" fmla="*/ 126954 h 129021"/>
                <a:gd name="connsiteX34" fmla="*/ 474780 w 555792"/>
                <a:gd name="connsiteY34" fmla="*/ 75914 h 129021"/>
                <a:gd name="connsiteX35" fmla="*/ 464116 w 555792"/>
                <a:gd name="connsiteY35" fmla="*/ 60954 h 129021"/>
                <a:gd name="connsiteX36" fmla="*/ 460862 w 555792"/>
                <a:gd name="connsiteY36" fmla="*/ 60796 h 129021"/>
                <a:gd name="connsiteX37" fmla="*/ 444318 w 555792"/>
                <a:gd name="connsiteY37" fmla="*/ 83150 h 129021"/>
                <a:gd name="connsiteX38" fmla="*/ 444318 w 555792"/>
                <a:gd name="connsiteY38" fmla="*/ 126954 h 129021"/>
                <a:gd name="connsiteX39" fmla="*/ 418977 w 555792"/>
                <a:gd name="connsiteY39" fmla="*/ 126954 h 129021"/>
                <a:gd name="connsiteX40" fmla="*/ 418977 w 555792"/>
                <a:gd name="connsiteY40" fmla="*/ 41285 h 129021"/>
                <a:gd name="connsiteX41" fmla="*/ 444318 w 555792"/>
                <a:gd name="connsiteY41" fmla="*/ 41285 h 129021"/>
                <a:gd name="connsiteX42" fmla="*/ 444318 w 555792"/>
                <a:gd name="connsiteY42" fmla="*/ 52785 h 129021"/>
                <a:gd name="connsiteX43" fmla="*/ 468871 w 555792"/>
                <a:gd name="connsiteY43" fmla="*/ 39863 h 129021"/>
                <a:gd name="connsiteX44" fmla="*/ 364489 w 555792"/>
                <a:gd name="connsiteY44" fmla="*/ 39863 h 129021"/>
                <a:gd name="connsiteX45" fmla="*/ 409656 w 555792"/>
                <a:gd name="connsiteY45" fmla="*/ 84443 h 129021"/>
                <a:gd name="connsiteX46" fmla="*/ 409656 w 555792"/>
                <a:gd name="connsiteY46" fmla="*/ 84572 h 129021"/>
                <a:gd name="connsiteX47" fmla="*/ 364227 w 555792"/>
                <a:gd name="connsiteY47" fmla="*/ 129021 h 129021"/>
                <a:gd name="connsiteX48" fmla="*/ 319059 w 555792"/>
                <a:gd name="connsiteY48" fmla="*/ 84313 h 129021"/>
                <a:gd name="connsiteX49" fmla="*/ 364489 w 555792"/>
                <a:gd name="connsiteY49" fmla="*/ 39863 h 129021"/>
                <a:gd name="connsiteX50" fmla="*/ 0 w 555792"/>
                <a:gd name="connsiteY50" fmla="*/ 7947 h 129021"/>
                <a:gd name="connsiteX51" fmla="*/ 27179 w 555792"/>
                <a:gd name="connsiteY51" fmla="*/ 7947 h 129021"/>
                <a:gd name="connsiteX52" fmla="*/ 27179 w 555792"/>
                <a:gd name="connsiteY52" fmla="*/ 54206 h 129021"/>
                <a:gd name="connsiteX53" fmla="*/ 75236 w 555792"/>
                <a:gd name="connsiteY53" fmla="*/ 54206 h 129021"/>
                <a:gd name="connsiteX54" fmla="*/ 75236 w 555792"/>
                <a:gd name="connsiteY54" fmla="*/ 7947 h 129021"/>
                <a:gd name="connsiteX55" fmla="*/ 102678 w 555792"/>
                <a:gd name="connsiteY55" fmla="*/ 7947 h 129021"/>
                <a:gd name="connsiteX56" fmla="*/ 102678 w 555792"/>
                <a:gd name="connsiteY56" fmla="*/ 126954 h 129021"/>
                <a:gd name="connsiteX57" fmla="*/ 75236 w 555792"/>
                <a:gd name="connsiteY57" fmla="*/ 126954 h 129021"/>
                <a:gd name="connsiteX58" fmla="*/ 75236 w 555792"/>
                <a:gd name="connsiteY58" fmla="*/ 77207 h 129021"/>
                <a:gd name="connsiteX59" fmla="*/ 27179 w 555792"/>
                <a:gd name="connsiteY59" fmla="*/ 77207 h 129021"/>
                <a:gd name="connsiteX60" fmla="*/ 27179 w 555792"/>
                <a:gd name="connsiteY60" fmla="*/ 126954 h 129021"/>
                <a:gd name="connsiteX61" fmla="*/ 0 w 555792"/>
                <a:gd name="connsiteY61" fmla="*/ 126954 h 129021"/>
                <a:gd name="connsiteX62" fmla="*/ 210736 w 555792"/>
                <a:gd name="connsiteY62" fmla="*/ 6526 h 129021"/>
                <a:gd name="connsiteX63" fmla="*/ 236078 w 555792"/>
                <a:gd name="connsiteY63" fmla="*/ 6526 h 129021"/>
                <a:gd name="connsiteX64" fmla="*/ 236078 w 555792"/>
                <a:gd name="connsiteY64" fmla="*/ 126955 h 129021"/>
                <a:gd name="connsiteX65" fmla="*/ 210736 w 555792"/>
                <a:gd name="connsiteY65" fmla="*/ 126955 h 129021"/>
                <a:gd name="connsiteX66" fmla="*/ 166619 w 555792"/>
                <a:gd name="connsiteY66" fmla="*/ 6526 h 129021"/>
                <a:gd name="connsiteX67" fmla="*/ 192093 w 555792"/>
                <a:gd name="connsiteY67" fmla="*/ 6526 h 129021"/>
                <a:gd name="connsiteX68" fmla="*/ 192093 w 555792"/>
                <a:gd name="connsiteY68" fmla="*/ 126955 h 129021"/>
                <a:gd name="connsiteX69" fmla="*/ 166619 w 555792"/>
                <a:gd name="connsiteY69" fmla="*/ 126955 h 129021"/>
                <a:gd name="connsiteX70" fmla="*/ 134188 w 555792"/>
                <a:gd name="connsiteY70" fmla="*/ 66 h 129021"/>
                <a:gd name="connsiteX71" fmla="*/ 134452 w 555792"/>
                <a:gd name="connsiteY71" fmla="*/ 66 h 129021"/>
                <a:gd name="connsiteX72" fmla="*/ 151030 w 555792"/>
                <a:gd name="connsiteY72" fmla="*/ 13600 h 129021"/>
                <a:gd name="connsiteX73" fmla="*/ 137277 w 555792"/>
                <a:gd name="connsiteY73" fmla="*/ 29915 h 129021"/>
                <a:gd name="connsiteX74" fmla="*/ 134452 w 555792"/>
                <a:gd name="connsiteY74" fmla="*/ 29915 h 129021"/>
                <a:gd name="connsiteX75" fmla="*/ 119350 w 555792"/>
                <a:gd name="connsiteY75" fmla="*/ 15316 h 129021"/>
                <a:gd name="connsiteX76" fmla="*/ 119352 w 555792"/>
                <a:gd name="connsiteY76" fmla="*/ 14926 h 129021"/>
                <a:gd name="connsiteX77" fmla="*/ 134188 w 555792"/>
                <a:gd name="connsiteY77" fmla="*/ 66 h 129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555792" h="129021">
                  <a:moveTo>
                    <a:pt x="364489" y="61830"/>
                  </a:moveTo>
                  <a:cubicBezTo>
                    <a:pt x="353167" y="62674"/>
                    <a:pt x="344170" y="71529"/>
                    <a:pt x="343312" y="82670"/>
                  </a:cubicBezTo>
                  <a:cubicBezTo>
                    <a:pt x="342353" y="95123"/>
                    <a:pt x="351834" y="105983"/>
                    <a:pt x="364489" y="106926"/>
                  </a:cubicBezTo>
                  <a:cubicBezTo>
                    <a:pt x="365644" y="107012"/>
                    <a:pt x="366805" y="107012"/>
                    <a:pt x="367960" y="106926"/>
                  </a:cubicBezTo>
                  <a:cubicBezTo>
                    <a:pt x="380614" y="105983"/>
                    <a:pt x="390095" y="95123"/>
                    <a:pt x="389136" y="82670"/>
                  </a:cubicBezTo>
                  <a:cubicBezTo>
                    <a:pt x="388178" y="70217"/>
                    <a:pt x="377143" y="60887"/>
                    <a:pt x="364489" y="61830"/>
                  </a:cubicBezTo>
                  <a:close/>
                  <a:moveTo>
                    <a:pt x="255246" y="41285"/>
                  </a:moveTo>
                  <a:lnTo>
                    <a:pt x="280588" y="41285"/>
                  </a:lnTo>
                  <a:lnTo>
                    <a:pt x="280588" y="126955"/>
                  </a:lnTo>
                  <a:lnTo>
                    <a:pt x="255246" y="126955"/>
                  </a:lnTo>
                  <a:close/>
                  <a:moveTo>
                    <a:pt x="121846" y="40770"/>
                  </a:moveTo>
                  <a:lnTo>
                    <a:pt x="147188" y="40770"/>
                  </a:lnTo>
                  <a:lnTo>
                    <a:pt x="147188" y="126439"/>
                  </a:lnTo>
                  <a:lnTo>
                    <a:pt x="121846" y="126439"/>
                  </a:lnTo>
                  <a:close/>
                  <a:moveTo>
                    <a:pt x="301329" y="40638"/>
                  </a:moveTo>
                  <a:cubicBezTo>
                    <a:pt x="301505" y="40635"/>
                    <a:pt x="301682" y="40635"/>
                    <a:pt x="301859" y="40638"/>
                  </a:cubicBezTo>
                  <a:cubicBezTo>
                    <a:pt x="310198" y="40638"/>
                    <a:pt x="316958" y="47292"/>
                    <a:pt x="316958" y="55499"/>
                  </a:cubicBezTo>
                  <a:cubicBezTo>
                    <a:pt x="316958" y="63706"/>
                    <a:pt x="310198" y="70359"/>
                    <a:pt x="301859" y="70359"/>
                  </a:cubicBezTo>
                  <a:cubicBezTo>
                    <a:pt x="293664" y="70433"/>
                    <a:pt x="286961" y="63956"/>
                    <a:pt x="286885" y="55893"/>
                  </a:cubicBezTo>
                  <a:cubicBezTo>
                    <a:pt x="286883" y="55718"/>
                    <a:pt x="286885" y="55544"/>
                    <a:pt x="286890" y="55370"/>
                  </a:cubicBezTo>
                  <a:cubicBezTo>
                    <a:pt x="286743" y="47379"/>
                    <a:pt x="293207" y="40783"/>
                    <a:pt x="301329" y="40638"/>
                  </a:cubicBezTo>
                  <a:close/>
                  <a:moveTo>
                    <a:pt x="468871" y="39863"/>
                  </a:moveTo>
                  <a:cubicBezTo>
                    <a:pt x="480066" y="38933"/>
                    <a:pt x="490621" y="45114"/>
                    <a:pt x="495131" y="55240"/>
                  </a:cubicBezTo>
                  <a:cubicBezTo>
                    <a:pt x="501466" y="45339"/>
                    <a:pt x="512660" y="39487"/>
                    <a:pt x="524542" y="39863"/>
                  </a:cubicBezTo>
                  <a:cubicBezTo>
                    <a:pt x="540599" y="38721"/>
                    <a:pt x="554556" y="50605"/>
                    <a:pt x="555716" y="66406"/>
                  </a:cubicBezTo>
                  <a:cubicBezTo>
                    <a:pt x="555772" y="67162"/>
                    <a:pt x="555797" y="67920"/>
                    <a:pt x="555792" y="68678"/>
                  </a:cubicBezTo>
                  <a:lnTo>
                    <a:pt x="555792" y="126954"/>
                  </a:lnTo>
                  <a:lnTo>
                    <a:pt x="530582" y="126954"/>
                  </a:lnTo>
                  <a:lnTo>
                    <a:pt x="530582" y="75914"/>
                  </a:lnTo>
                  <a:cubicBezTo>
                    <a:pt x="531848" y="68888"/>
                    <a:pt x="527086" y="62181"/>
                    <a:pt x="519946" y="60936"/>
                  </a:cubicBezTo>
                  <a:cubicBezTo>
                    <a:pt x="518776" y="60732"/>
                    <a:pt x="517584" y="60685"/>
                    <a:pt x="516402" y="60796"/>
                  </a:cubicBezTo>
                  <a:cubicBezTo>
                    <a:pt x="505898" y="60796"/>
                    <a:pt x="499858" y="69324"/>
                    <a:pt x="499858" y="83150"/>
                  </a:cubicBezTo>
                  <a:lnTo>
                    <a:pt x="499858" y="126954"/>
                  </a:lnTo>
                  <a:lnTo>
                    <a:pt x="474780" y="126954"/>
                  </a:lnTo>
                  <a:lnTo>
                    <a:pt x="474780" y="75914"/>
                  </a:lnTo>
                  <a:cubicBezTo>
                    <a:pt x="476033" y="68885"/>
                    <a:pt x="471259" y="62187"/>
                    <a:pt x="464116" y="60954"/>
                  </a:cubicBezTo>
                  <a:cubicBezTo>
                    <a:pt x="463043" y="60769"/>
                    <a:pt x="461949" y="60716"/>
                    <a:pt x="460862" y="60796"/>
                  </a:cubicBezTo>
                  <a:cubicBezTo>
                    <a:pt x="450489" y="60796"/>
                    <a:pt x="444318" y="69454"/>
                    <a:pt x="444318" y="83150"/>
                  </a:cubicBezTo>
                  <a:lnTo>
                    <a:pt x="444318" y="126954"/>
                  </a:lnTo>
                  <a:lnTo>
                    <a:pt x="418977" y="126954"/>
                  </a:lnTo>
                  <a:lnTo>
                    <a:pt x="418977" y="41285"/>
                  </a:lnTo>
                  <a:lnTo>
                    <a:pt x="444318" y="41285"/>
                  </a:lnTo>
                  <a:lnTo>
                    <a:pt x="444318" y="52785"/>
                  </a:lnTo>
                  <a:cubicBezTo>
                    <a:pt x="449587" y="44489"/>
                    <a:pt x="458935" y="39570"/>
                    <a:pt x="468871" y="39863"/>
                  </a:cubicBezTo>
                  <a:close/>
                  <a:moveTo>
                    <a:pt x="364489" y="39863"/>
                  </a:moveTo>
                  <a:cubicBezTo>
                    <a:pt x="389455" y="39935"/>
                    <a:pt x="409656" y="59873"/>
                    <a:pt x="409656" y="84443"/>
                  </a:cubicBezTo>
                  <a:cubicBezTo>
                    <a:pt x="409656" y="84486"/>
                    <a:pt x="409656" y="84529"/>
                    <a:pt x="409656" y="84572"/>
                  </a:cubicBezTo>
                  <a:cubicBezTo>
                    <a:pt x="409583" y="109192"/>
                    <a:pt x="389244" y="129093"/>
                    <a:pt x="364227" y="129021"/>
                  </a:cubicBezTo>
                  <a:cubicBezTo>
                    <a:pt x="339208" y="128950"/>
                    <a:pt x="318986" y="108934"/>
                    <a:pt x="319059" y="84313"/>
                  </a:cubicBezTo>
                  <a:cubicBezTo>
                    <a:pt x="319131" y="59693"/>
                    <a:pt x="339471" y="39792"/>
                    <a:pt x="364489" y="39863"/>
                  </a:cubicBezTo>
                  <a:close/>
                  <a:moveTo>
                    <a:pt x="0" y="7947"/>
                  </a:moveTo>
                  <a:lnTo>
                    <a:pt x="27179" y="7947"/>
                  </a:lnTo>
                  <a:lnTo>
                    <a:pt x="27179" y="54206"/>
                  </a:lnTo>
                  <a:lnTo>
                    <a:pt x="75236" y="54206"/>
                  </a:lnTo>
                  <a:lnTo>
                    <a:pt x="75236" y="7947"/>
                  </a:lnTo>
                  <a:lnTo>
                    <a:pt x="102678" y="7947"/>
                  </a:lnTo>
                  <a:lnTo>
                    <a:pt x="102678" y="126954"/>
                  </a:lnTo>
                  <a:lnTo>
                    <a:pt x="75236" y="126954"/>
                  </a:lnTo>
                  <a:lnTo>
                    <a:pt x="75236" y="77207"/>
                  </a:lnTo>
                  <a:lnTo>
                    <a:pt x="27179" y="77207"/>
                  </a:lnTo>
                  <a:lnTo>
                    <a:pt x="27179" y="126954"/>
                  </a:lnTo>
                  <a:lnTo>
                    <a:pt x="0" y="126954"/>
                  </a:lnTo>
                  <a:close/>
                  <a:moveTo>
                    <a:pt x="210736" y="6526"/>
                  </a:moveTo>
                  <a:lnTo>
                    <a:pt x="236078" y="6526"/>
                  </a:lnTo>
                  <a:lnTo>
                    <a:pt x="236078" y="126955"/>
                  </a:lnTo>
                  <a:lnTo>
                    <a:pt x="210736" y="126955"/>
                  </a:lnTo>
                  <a:close/>
                  <a:moveTo>
                    <a:pt x="166619" y="6526"/>
                  </a:moveTo>
                  <a:lnTo>
                    <a:pt x="192093" y="6526"/>
                  </a:lnTo>
                  <a:lnTo>
                    <a:pt x="192093" y="126955"/>
                  </a:lnTo>
                  <a:lnTo>
                    <a:pt x="166619" y="126955"/>
                  </a:lnTo>
                  <a:close/>
                  <a:moveTo>
                    <a:pt x="134188" y="66"/>
                  </a:moveTo>
                  <a:cubicBezTo>
                    <a:pt x="134276" y="65"/>
                    <a:pt x="134364" y="65"/>
                    <a:pt x="134452" y="66"/>
                  </a:cubicBezTo>
                  <a:cubicBezTo>
                    <a:pt x="142828" y="-702"/>
                    <a:pt x="150250" y="5357"/>
                    <a:pt x="151030" y="13600"/>
                  </a:cubicBezTo>
                  <a:cubicBezTo>
                    <a:pt x="151810" y="21842"/>
                    <a:pt x="145653" y="29148"/>
                    <a:pt x="137277" y="29915"/>
                  </a:cubicBezTo>
                  <a:cubicBezTo>
                    <a:pt x="136338" y="30002"/>
                    <a:pt x="135392" y="30002"/>
                    <a:pt x="134452" y="29915"/>
                  </a:cubicBezTo>
                  <a:cubicBezTo>
                    <a:pt x="126185" y="29988"/>
                    <a:pt x="119424" y="23451"/>
                    <a:pt x="119350" y="15316"/>
                  </a:cubicBezTo>
                  <a:cubicBezTo>
                    <a:pt x="119349" y="15186"/>
                    <a:pt x="119349" y="15056"/>
                    <a:pt x="119352" y="14926"/>
                  </a:cubicBezTo>
                  <a:cubicBezTo>
                    <a:pt x="119279" y="6790"/>
                    <a:pt x="125921" y="137"/>
                    <a:pt x="134188" y="66"/>
                  </a:cubicBezTo>
                  <a:close/>
                </a:path>
              </a:pathLst>
            </a:custGeom>
            <a:solidFill>
              <a:srgbClr val="000839"/>
            </a:solidFill>
            <a:ln w="9525" cap="flat">
              <a:noFill/>
              <a:prstDash val="solid"/>
              <a:miter/>
            </a:ln>
          </p:spPr>
          <p:txBody>
            <a:bodyPr wrap="square" rtlCol="0" anchor="ctr">
              <a:noAutofit/>
            </a:bodyPr>
            <a:lstStyle/>
            <a:p>
              <a:endParaRPr lang="en-US"/>
            </a:p>
          </p:txBody>
        </p:sp>
      </p:grpSp>
      <p:sp>
        <p:nvSpPr>
          <p:cNvPr id="34" name="Pentagon 33">
            <a:extLst>
              <a:ext uri="{FF2B5EF4-FFF2-40B4-BE49-F238E27FC236}">
                <a16:creationId xmlns:a16="http://schemas.microsoft.com/office/drawing/2014/main" id="{F630FC86-71D3-D247-A49E-1A452186FD8C}"/>
              </a:ext>
            </a:extLst>
          </p:cNvPr>
          <p:cNvSpPr/>
          <p:nvPr/>
        </p:nvSpPr>
        <p:spPr>
          <a:xfrm>
            <a:off x="0" y="3716120"/>
            <a:ext cx="11908605" cy="426602"/>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Picture Placeholder 3">
            <a:extLst>
              <a:ext uri="{FF2B5EF4-FFF2-40B4-BE49-F238E27FC236}">
                <a16:creationId xmlns:a16="http://schemas.microsoft.com/office/drawing/2014/main" id="{9300318A-8F31-E84E-BC6A-9864CDC53ADD}"/>
              </a:ext>
            </a:extLst>
          </p:cNvPr>
          <p:cNvSpPr>
            <a:spLocks noGrp="1"/>
          </p:cNvSpPr>
          <p:nvPr>
            <p:ph type="pic" sz="quarter" idx="34"/>
          </p:nvPr>
        </p:nvSpPr>
        <p:spPr>
          <a:xfrm>
            <a:off x="594813" y="4628147"/>
            <a:ext cx="1335588" cy="751932"/>
          </a:xfrm>
          <a:prstGeom prst="rect">
            <a:avLst/>
          </a:prstGeom>
          <a:solidFill>
            <a:schemeClr val="accent4"/>
          </a:solidFill>
        </p:spPr>
        <p:txBody>
          <a:bodyPr anchor="ctr"/>
          <a:lstStyle>
            <a:lvl1pPr marL="0" indent="0" algn="ctr">
              <a:buNone/>
              <a:defRPr sz="1400"/>
            </a:lvl1pPr>
          </a:lstStyle>
          <a:p>
            <a:r>
              <a:rPr lang="en-US"/>
              <a:t>Click icon to add picture</a:t>
            </a:r>
          </a:p>
        </p:txBody>
      </p:sp>
      <p:sp>
        <p:nvSpPr>
          <p:cNvPr id="36" name="Picture Placeholder 3">
            <a:extLst>
              <a:ext uri="{FF2B5EF4-FFF2-40B4-BE49-F238E27FC236}">
                <a16:creationId xmlns:a16="http://schemas.microsoft.com/office/drawing/2014/main" id="{5BA6E765-FC6C-7C44-8907-53CA7C90A584}"/>
              </a:ext>
            </a:extLst>
          </p:cNvPr>
          <p:cNvSpPr>
            <a:spLocks noGrp="1"/>
          </p:cNvSpPr>
          <p:nvPr>
            <p:ph type="pic" sz="quarter" idx="35"/>
          </p:nvPr>
        </p:nvSpPr>
        <p:spPr>
          <a:xfrm>
            <a:off x="2515904" y="4628147"/>
            <a:ext cx="1335588" cy="751932"/>
          </a:xfrm>
          <a:prstGeom prst="rect">
            <a:avLst/>
          </a:prstGeom>
          <a:solidFill>
            <a:schemeClr val="accent4"/>
          </a:solidFill>
        </p:spPr>
        <p:txBody>
          <a:bodyPr anchor="ctr"/>
          <a:lstStyle>
            <a:lvl1pPr marL="0" indent="0" algn="ctr">
              <a:buNone/>
              <a:defRPr sz="1400"/>
            </a:lvl1pPr>
          </a:lstStyle>
          <a:p>
            <a:r>
              <a:rPr lang="en-US"/>
              <a:t>Click icon to add picture</a:t>
            </a:r>
          </a:p>
        </p:txBody>
      </p:sp>
      <p:sp>
        <p:nvSpPr>
          <p:cNvPr id="37" name="Picture Placeholder 3">
            <a:extLst>
              <a:ext uri="{FF2B5EF4-FFF2-40B4-BE49-F238E27FC236}">
                <a16:creationId xmlns:a16="http://schemas.microsoft.com/office/drawing/2014/main" id="{60B88320-C78D-4145-880D-8BF110B6975C}"/>
              </a:ext>
            </a:extLst>
          </p:cNvPr>
          <p:cNvSpPr>
            <a:spLocks noGrp="1"/>
          </p:cNvSpPr>
          <p:nvPr>
            <p:ph type="pic" sz="quarter" idx="36"/>
          </p:nvPr>
        </p:nvSpPr>
        <p:spPr>
          <a:xfrm>
            <a:off x="4436995" y="4628147"/>
            <a:ext cx="1335588" cy="751932"/>
          </a:xfrm>
          <a:prstGeom prst="rect">
            <a:avLst/>
          </a:prstGeom>
          <a:solidFill>
            <a:schemeClr val="accent4"/>
          </a:solidFill>
        </p:spPr>
        <p:txBody>
          <a:bodyPr anchor="ctr"/>
          <a:lstStyle>
            <a:lvl1pPr marL="0" indent="0" algn="ctr">
              <a:buNone/>
              <a:defRPr sz="1400"/>
            </a:lvl1pPr>
          </a:lstStyle>
          <a:p>
            <a:r>
              <a:rPr lang="en-US"/>
              <a:t>Click icon to add picture</a:t>
            </a:r>
          </a:p>
        </p:txBody>
      </p:sp>
      <p:sp>
        <p:nvSpPr>
          <p:cNvPr id="38" name="Picture Placeholder 3">
            <a:extLst>
              <a:ext uri="{FF2B5EF4-FFF2-40B4-BE49-F238E27FC236}">
                <a16:creationId xmlns:a16="http://schemas.microsoft.com/office/drawing/2014/main" id="{490962B8-2F5D-9F47-9B64-4538AC5A38A4}"/>
              </a:ext>
            </a:extLst>
          </p:cNvPr>
          <p:cNvSpPr>
            <a:spLocks noGrp="1"/>
          </p:cNvSpPr>
          <p:nvPr>
            <p:ph type="pic" sz="quarter" idx="37"/>
          </p:nvPr>
        </p:nvSpPr>
        <p:spPr>
          <a:xfrm>
            <a:off x="6358086" y="4628147"/>
            <a:ext cx="1335588" cy="751932"/>
          </a:xfrm>
          <a:prstGeom prst="rect">
            <a:avLst/>
          </a:prstGeom>
          <a:solidFill>
            <a:schemeClr val="accent4"/>
          </a:solidFill>
        </p:spPr>
        <p:txBody>
          <a:bodyPr anchor="ctr"/>
          <a:lstStyle>
            <a:lvl1pPr marL="0" indent="0" algn="ctr">
              <a:buNone/>
              <a:defRPr sz="1400"/>
            </a:lvl1pPr>
          </a:lstStyle>
          <a:p>
            <a:r>
              <a:rPr lang="en-US"/>
              <a:t>Click icon to add picture</a:t>
            </a:r>
          </a:p>
        </p:txBody>
      </p:sp>
      <p:sp>
        <p:nvSpPr>
          <p:cNvPr id="44" name="Picture Placeholder 3">
            <a:extLst>
              <a:ext uri="{FF2B5EF4-FFF2-40B4-BE49-F238E27FC236}">
                <a16:creationId xmlns:a16="http://schemas.microsoft.com/office/drawing/2014/main" id="{3024288D-8DEE-DF4F-8306-47ADA2223ED5}"/>
              </a:ext>
            </a:extLst>
          </p:cNvPr>
          <p:cNvSpPr>
            <a:spLocks noGrp="1"/>
          </p:cNvSpPr>
          <p:nvPr>
            <p:ph type="pic" sz="quarter" idx="17"/>
          </p:nvPr>
        </p:nvSpPr>
        <p:spPr>
          <a:xfrm>
            <a:off x="593697" y="1737312"/>
            <a:ext cx="1335588" cy="751932"/>
          </a:xfrm>
          <a:prstGeom prst="rect">
            <a:avLst/>
          </a:prstGeom>
          <a:solidFill>
            <a:schemeClr val="accent4"/>
          </a:solidFill>
        </p:spPr>
        <p:txBody>
          <a:bodyPr anchor="ctr"/>
          <a:lstStyle>
            <a:lvl1pPr marL="0" indent="0" algn="ctr">
              <a:buNone/>
              <a:defRPr sz="1400"/>
            </a:lvl1pPr>
          </a:lstStyle>
          <a:p>
            <a:r>
              <a:rPr lang="en-US"/>
              <a:t>Click icon to add picture</a:t>
            </a:r>
          </a:p>
        </p:txBody>
      </p:sp>
      <p:sp>
        <p:nvSpPr>
          <p:cNvPr id="45" name="Picture Placeholder 3">
            <a:extLst>
              <a:ext uri="{FF2B5EF4-FFF2-40B4-BE49-F238E27FC236}">
                <a16:creationId xmlns:a16="http://schemas.microsoft.com/office/drawing/2014/main" id="{294D5F51-F3EF-2B49-BC32-C5321AC7845F}"/>
              </a:ext>
            </a:extLst>
          </p:cNvPr>
          <p:cNvSpPr>
            <a:spLocks noGrp="1"/>
          </p:cNvSpPr>
          <p:nvPr>
            <p:ph type="pic" sz="quarter" idx="31"/>
          </p:nvPr>
        </p:nvSpPr>
        <p:spPr>
          <a:xfrm>
            <a:off x="2515416" y="1737312"/>
            <a:ext cx="1335588" cy="751932"/>
          </a:xfrm>
          <a:prstGeom prst="rect">
            <a:avLst/>
          </a:prstGeom>
          <a:solidFill>
            <a:schemeClr val="accent4"/>
          </a:solidFill>
        </p:spPr>
        <p:txBody>
          <a:bodyPr anchor="ctr"/>
          <a:lstStyle>
            <a:lvl1pPr marL="0" indent="0" algn="ctr">
              <a:buNone/>
              <a:defRPr sz="1400"/>
            </a:lvl1pPr>
          </a:lstStyle>
          <a:p>
            <a:r>
              <a:rPr lang="en-US"/>
              <a:t>Click icon to add picture</a:t>
            </a:r>
          </a:p>
        </p:txBody>
      </p:sp>
      <p:sp>
        <p:nvSpPr>
          <p:cNvPr id="46" name="Picture Placeholder 3">
            <a:extLst>
              <a:ext uri="{FF2B5EF4-FFF2-40B4-BE49-F238E27FC236}">
                <a16:creationId xmlns:a16="http://schemas.microsoft.com/office/drawing/2014/main" id="{FD2A6821-F346-8841-932C-50A84278DDFA}"/>
              </a:ext>
            </a:extLst>
          </p:cNvPr>
          <p:cNvSpPr>
            <a:spLocks noGrp="1"/>
          </p:cNvSpPr>
          <p:nvPr>
            <p:ph type="pic" sz="quarter" idx="32"/>
          </p:nvPr>
        </p:nvSpPr>
        <p:spPr>
          <a:xfrm>
            <a:off x="4437135" y="1737312"/>
            <a:ext cx="1335588" cy="751932"/>
          </a:xfrm>
          <a:prstGeom prst="rect">
            <a:avLst/>
          </a:prstGeom>
          <a:solidFill>
            <a:schemeClr val="accent4"/>
          </a:solidFill>
        </p:spPr>
        <p:txBody>
          <a:bodyPr anchor="ctr"/>
          <a:lstStyle>
            <a:lvl1pPr marL="0" indent="0" algn="ctr">
              <a:buNone/>
              <a:defRPr sz="1400"/>
            </a:lvl1pPr>
          </a:lstStyle>
          <a:p>
            <a:r>
              <a:rPr lang="en-US"/>
              <a:t>Click icon to add picture</a:t>
            </a:r>
          </a:p>
        </p:txBody>
      </p:sp>
      <p:sp>
        <p:nvSpPr>
          <p:cNvPr id="47" name="Picture Placeholder 3">
            <a:extLst>
              <a:ext uri="{FF2B5EF4-FFF2-40B4-BE49-F238E27FC236}">
                <a16:creationId xmlns:a16="http://schemas.microsoft.com/office/drawing/2014/main" id="{64CD3953-CC48-9C4F-9D5D-0F5DB35DA0F5}"/>
              </a:ext>
            </a:extLst>
          </p:cNvPr>
          <p:cNvSpPr>
            <a:spLocks noGrp="1"/>
          </p:cNvSpPr>
          <p:nvPr>
            <p:ph type="pic" sz="quarter" idx="33"/>
          </p:nvPr>
        </p:nvSpPr>
        <p:spPr>
          <a:xfrm>
            <a:off x="6358854" y="1737312"/>
            <a:ext cx="1335588" cy="751932"/>
          </a:xfrm>
          <a:prstGeom prst="rect">
            <a:avLst/>
          </a:prstGeom>
          <a:solidFill>
            <a:schemeClr val="accent4"/>
          </a:solidFill>
        </p:spPr>
        <p:txBody>
          <a:bodyPr anchor="ctr"/>
          <a:lstStyle>
            <a:lvl1pPr marL="0" indent="0" algn="ctr">
              <a:buNone/>
              <a:defRPr sz="1400"/>
            </a:lvl1pPr>
          </a:lstStyle>
          <a:p>
            <a:r>
              <a:rPr lang="en-US"/>
              <a:t>Click icon to add picture</a:t>
            </a:r>
          </a:p>
        </p:txBody>
      </p:sp>
      <p:sp>
        <p:nvSpPr>
          <p:cNvPr id="48" name="Picture Placeholder 3">
            <a:extLst>
              <a:ext uri="{FF2B5EF4-FFF2-40B4-BE49-F238E27FC236}">
                <a16:creationId xmlns:a16="http://schemas.microsoft.com/office/drawing/2014/main" id="{786085A7-5CE5-F548-8998-1033C9014AF3}"/>
              </a:ext>
            </a:extLst>
          </p:cNvPr>
          <p:cNvSpPr>
            <a:spLocks noGrp="1"/>
          </p:cNvSpPr>
          <p:nvPr>
            <p:ph type="pic" sz="quarter" idx="39"/>
          </p:nvPr>
        </p:nvSpPr>
        <p:spPr>
          <a:xfrm>
            <a:off x="8280573" y="1737312"/>
            <a:ext cx="1335588" cy="751932"/>
          </a:xfrm>
          <a:prstGeom prst="rect">
            <a:avLst/>
          </a:prstGeom>
          <a:solidFill>
            <a:schemeClr val="accent4"/>
          </a:solidFill>
        </p:spPr>
        <p:txBody>
          <a:bodyPr anchor="ctr"/>
          <a:lstStyle>
            <a:lvl1pPr marL="0" indent="0" algn="ctr">
              <a:buNone/>
              <a:defRPr sz="1400"/>
            </a:lvl1pPr>
          </a:lstStyle>
          <a:p>
            <a:r>
              <a:rPr lang="en-US"/>
              <a:t>Click icon to add picture</a:t>
            </a:r>
          </a:p>
        </p:txBody>
      </p:sp>
      <p:sp>
        <p:nvSpPr>
          <p:cNvPr id="52" name="Picture Placeholder 3">
            <a:extLst>
              <a:ext uri="{FF2B5EF4-FFF2-40B4-BE49-F238E27FC236}">
                <a16:creationId xmlns:a16="http://schemas.microsoft.com/office/drawing/2014/main" id="{1E481CD3-7188-AE43-B156-1904293D6F8A}"/>
              </a:ext>
            </a:extLst>
          </p:cNvPr>
          <p:cNvSpPr>
            <a:spLocks noGrp="1"/>
          </p:cNvSpPr>
          <p:nvPr>
            <p:ph type="pic" sz="quarter" idx="41"/>
          </p:nvPr>
        </p:nvSpPr>
        <p:spPr>
          <a:xfrm>
            <a:off x="8279177" y="4628147"/>
            <a:ext cx="1335588" cy="751932"/>
          </a:xfrm>
          <a:prstGeom prst="rect">
            <a:avLst/>
          </a:prstGeom>
          <a:solidFill>
            <a:schemeClr val="accent4"/>
          </a:solidFill>
        </p:spPr>
        <p:txBody>
          <a:bodyPr anchor="ctr"/>
          <a:lstStyle>
            <a:lvl1pPr marL="0" indent="0" algn="ctr">
              <a:buNone/>
              <a:defRPr sz="1400"/>
            </a:lvl1pPr>
          </a:lstStyle>
          <a:p>
            <a:r>
              <a:rPr lang="en-US"/>
              <a:t>Click icon to add picture</a:t>
            </a:r>
          </a:p>
        </p:txBody>
      </p:sp>
      <p:sp>
        <p:nvSpPr>
          <p:cNvPr id="53" name="Picture Placeholder 3">
            <a:extLst>
              <a:ext uri="{FF2B5EF4-FFF2-40B4-BE49-F238E27FC236}">
                <a16:creationId xmlns:a16="http://schemas.microsoft.com/office/drawing/2014/main" id="{96DE1C95-180D-C240-A8F9-4100B518AE2F}"/>
              </a:ext>
            </a:extLst>
          </p:cNvPr>
          <p:cNvSpPr>
            <a:spLocks noGrp="1"/>
          </p:cNvSpPr>
          <p:nvPr>
            <p:ph type="pic" sz="quarter" idx="43"/>
          </p:nvPr>
        </p:nvSpPr>
        <p:spPr>
          <a:xfrm>
            <a:off x="10202291" y="1737312"/>
            <a:ext cx="1335588" cy="751932"/>
          </a:xfrm>
          <a:prstGeom prst="rect">
            <a:avLst/>
          </a:prstGeom>
          <a:solidFill>
            <a:schemeClr val="accent4"/>
          </a:solidFill>
        </p:spPr>
        <p:txBody>
          <a:bodyPr anchor="ctr"/>
          <a:lstStyle>
            <a:lvl1pPr marL="0" indent="0" algn="ctr">
              <a:buNone/>
              <a:defRPr sz="1400"/>
            </a:lvl1pPr>
          </a:lstStyle>
          <a:p>
            <a:r>
              <a:rPr lang="en-US"/>
              <a:t>Click icon to add picture</a:t>
            </a:r>
          </a:p>
        </p:txBody>
      </p:sp>
      <p:sp>
        <p:nvSpPr>
          <p:cNvPr id="54" name="Picture Placeholder 3">
            <a:extLst>
              <a:ext uri="{FF2B5EF4-FFF2-40B4-BE49-F238E27FC236}">
                <a16:creationId xmlns:a16="http://schemas.microsoft.com/office/drawing/2014/main" id="{DA7ADB3B-054A-5948-8EAC-42D616D376BF}"/>
              </a:ext>
            </a:extLst>
          </p:cNvPr>
          <p:cNvSpPr>
            <a:spLocks noGrp="1"/>
          </p:cNvSpPr>
          <p:nvPr>
            <p:ph type="pic" sz="quarter" idx="45"/>
          </p:nvPr>
        </p:nvSpPr>
        <p:spPr>
          <a:xfrm>
            <a:off x="10200270" y="4628147"/>
            <a:ext cx="1335588" cy="751932"/>
          </a:xfrm>
          <a:prstGeom prst="rect">
            <a:avLst/>
          </a:prstGeom>
          <a:solidFill>
            <a:schemeClr val="accent4"/>
          </a:solidFill>
        </p:spPr>
        <p:txBody>
          <a:bodyPr anchor="ctr"/>
          <a:lstStyle>
            <a:lvl1pPr marL="0" indent="0" algn="ctr">
              <a:buNone/>
              <a:defRPr sz="1400"/>
            </a:lvl1pPr>
          </a:lstStyle>
          <a:p>
            <a:r>
              <a:rPr lang="en-US"/>
              <a:t>Click icon to add picture</a:t>
            </a:r>
          </a:p>
        </p:txBody>
      </p:sp>
      <p:sp>
        <p:nvSpPr>
          <p:cNvPr id="55" name="Text Placeholder 7">
            <a:extLst>
              <a:ext uri="{FF2B5EF4-FFF2-40B4-BE49-F238E27FC236}">
                <a16:creationId xmlns:a16="http://schemas.microsoft.com/office/drawing/2014/main" id="{E70109BF-C30E-DC40-AFC9-34655D7C7339}"/>
              </a:ext>
            </a:extLst>
          </p:cNvPr>
          <p:cNvSpPr>
            <a:spLocks noGrp="1"/>
          </p:cNvSpPr>
          <p:nvPr>
            <p:ph type="body" sz="quarter" idx="46"/>
          </p:nvPr>
        </p:nvSpPr>
        <p:spPr>
          <a:xfrm>
            <a:off x="2410719" y="5484683"/>
            <a:ext cx="1700910" cy="820922"/>
          </a:xfrm>
          <a:prstGeom prst="rect">
            <a:avLst/>
          </a:prstGeom>
        </p:spPr>
        <p:txBody>
          <a:bodyPr/>
          <a:lstStyle>
            <a:lvl1pPr marL="0" indent="0">
              <a:lnSpc>
                <a:spcPct val="120000"/>
              </a:lnSpc>
              <a:buNone/>
              <a:defRPr sz="1200" b="1" kern="1100" cap="all" spc="20" baseline="0">
                <a:solidFill>
                  <a:schemeClr val="accent1"/>
                </a:solidFill>
                <a:latin typeface="+mj-lt"/>
              </a:defRPr>
            </a:lvl1pPr>
            <a:lvl2pPr marL="11113" indent="0">
              <a:lnSpc>
                <a:spcPct val="110000"/>
              </a:lnSpc>
              <a:spcBef>
                <a:spcPts val="0"/>
              </a:spcBef>
              <a:buNone/>
              <a:tabLst/>
              <a:defRPr sz="1200" baseline="0"/>
            </a:lvl2pPr>
            <a:lvl3pPr marL="230188" indent="-219075">
              <a:lnSpc>
                <a:spcPct val="110000"/>
              </a:lnSpc>
              <a:spcBef>
                <a:spcPts val="0"/>
              </a:spcBef>
              <a:buFont typeface="System Font Regular"/>
              <a:buChar char="–"/>
              <a:tabLst/>
              <a:defRPr sz="1200" baseline="0"/>
            </a:lvl3pPr>
            <a:lvl4pPr>
              <a:defRPr sz="1200" baseline="0"/>
            </a:lvl4pPr>
            <a:lvl5pPr>
              <a:defRPr sz="1200" baseline="0"/>
            </a:lvl5pPr>
          </a:lstStyle>
          <a:p>
            <a:pPr lvl="0"/>
            <a:r>
              <a:rPr lang="en-US"/>
              <a:t>Edit Master text styles</a:t>
            </a:r>
          </a:p>
          <a:p>
            <a:pPr lvl="1"/>
            <a:r>
              <a:rPr lang="en-US"/>
              <a:t>Second level</a:t>
            </a:r>
          </a:p>
          <a:p>
            <a:pPr lvl="2"/>
            <a:r>
              <a:rPr lang="en-US"/>
              <a:t>Third level</a:t>
            </a:r>
          </a:p>
        </p:txBody>
      </p:sp>
      <p:sp>
        <p:nvSpPr>
          <p:cNvPr id="57" name="Text Placeholder 7">
            <a:extLst>
              <a:ext uri="{FF2B5EF4-FFF2-40B4-BE49-F238E27FC236}">
                <a16:creationId xmlns:a16="http://schemas.microsoft.com/office/drawing/2014/main" id="{5A7A67F2-AFB2-9A4E-8567-E9D9314C8921}"/>
              </a:ext>
            </a:extLst>
          </p:cNvPr>
          <p:cNvSpPr>
            <a:spLocks noGrp="1"/>
          </p:cNvSpPr>
          <p:nvPr>
            <p:ph type="body" sz="quarter" idx="47"/>
          </p:nvPr>
        </p:nvSpPr>
        <p:spPr>
          <a:xfrm>
            <a:off x="4325021" y="5484682"/>
            <a:ext cx="1715956" cy="820923"/>
          </a:xfrm>
          <a:prstGeom prst="rect">
            <a:avLst/>
          </a:prstGeom>
        </p:spPr>
        <p:txBody>
          <a:bodyPr/>
          <a:lstStyle>
            <a:lvl1pPr marL="0" indent="0">
              <a:lnSpc>
                <a:spcPct val="120000"/>
              </a:lnSpc>
              <a:buNone/>
              <a:defRPr sz="1200" b="1" kern="1100" cap="all" spc="20" baseline="0">
                <a:solidFill>
                  <a:schemeClr val="accent1"/>
                </a:solidFill>
                <a:latin typeface="+mj-lt"/>
              </a:defRPr>
            </a:lvl1pPr>
            <a:lvl2pPr marL="11113" indent="0">
              <a:lnSpc>
                <a:spcPct val="110000"/>
              </a:lnSpc>
              <a:spcBef>
                <a:spcPts val="0"/>
              </a:spcBef>
              <a:buNone/>
              <a:tabLst/>
              <a:defRPr sz="1200" baseline="0"/>
            </a:lvl2pPr>
            <a:lvl3pPr marL="230188" indent="-219075">
              <a:lnSpc>
                <a:spcPct val="110000"/>
              </a:lnSpc>
              <a:spcBef>
                <a:spcPts val="0"/>
              </a:spcBef>
              <a:buFont typeface="System Font Regular"/>
              <a:buChar char="–"/>
              <a:tabLst/>
              <a:defRPr sz="1200" baseline="0"/>
            </a:lvl3pPr>
            <a:lvl4pPr>
              <a:defRPr sz="1200" baseline="0"/>
            </a:lvl4pPr>
            <a:lvl5pPr>
              <a:defRPr sz="1200" baseline="0"/>
            </a:lvl5pPr>
          </a:lstStyle>
          <a:p>
            <a:pPr lvl="0"/>
            <a:r>
              <a:rPr lang="en-US"/>
              <a:t>Edit Master text styles</a:t>
            </a:r>
          </a:p>
          <a:p>
            <a:pPr lvl="1"/>
            <a:r>
              <a:rPr lang="en-US"/>
              <a:t>Second level</a:t>
            </a:r>
          </a:p>
          <a:p>
            <a:pPr lvl="2"/>
            <a:r>
              <a:rPr lang="en-US"/>
              <a:t>Third level</a:t>
            </a:r>
          </a:p>
        </p:txBody>
      </p:sp>
      <p:sp>
        <p:nvSpPr>
          <p:cNvPr id="58" name="Text Placeholder 7">
            <a:extLst>
              <a:ext uri="{FF2B5EF4-FFF2-40B4-BE49-F238E27FC236}">
                <a16:creationId xmlns:a16="http://schemas.microsoft.com/office/drawing/2014/main" id="{022A98EE-DF8C-A34D-AF64-4D1C774B17F2}"/>
              </a:ext>
            </a:extLst>
          </p:cNvPr>
          <p:cNvSpPr>
            <a:spLocks noGrp="1"/>
          </p:cNvSpPr>
          <p:nvPr>
            <p:ph type="body" sz="quarter" idx="48"/>
          </p:nvPr>
        </p:nvSpPr>
        <p:spPr>
          <a:xfrm>
            <a:off x="6254369" y="5484683"/>
            <a:ext cx="1675316" cy="820922"/>
          </a:xfrm>
          <a:prstGeom prst="rect">
            <a:avLst/>
          </a:prstGeom>
        </p:spPr>
        <p:txBody>
          <a:bodyPr/>
          <a:lstStyle>
            <a:lvl1pPr marL="0" indent="0">
              <a:lnSpc>
                <a:spcPct val="120000"/>
              </a:lnSpc>
              <a:buNone/>
              <a:defRPr sz="1200" b="1" kern="1100" cap="all" spc="20" baseline="0">
                <a:solidFill>
                  <a:schemeClr val="accent1"/>
                </a:solidFill>
                <a:latin typeface="+mj-lt"/>
              </a:defRPr>
            </a:lvl1pPr>
            <a:lvl2pPr marL="11113" indent="0">
              <a:lnSpc>
                <a:spcPct val="110000"/>
              </a:lnSpc>
              <a:spcBef>
                <a:spcPts val="0"/>
              </a:spcBef>
              <a:buNone/>
              <a:tabLst/>
              <a:defRPr sz="1200" baseline="0"/>
            </a:lvl2pPr>
            <a:lvl3pPr marL="230188" indent="-219075">
              <a:lnSpc>
                <a:spcPct val="110000"/>
              </a:lnSpc>
              <a:spcBef>
                <a:spcPts val="0"/>
              </a:spcBef>
              <a:buFont typeface="System Font Regular"/>
              <a:buChar char="–"/>
              <a:tabLst/>
              <a:defRPr sz="1200" baseline="0"/>
            </a:lvl3pPr>
            <a:lvl4pPr>
              <a:defRPr sz="1200" baseline="0"/>
            </a:lvl4pPr>
            <a:lvl5pPr>
              <a:defRPr sz="1200" baseline="0"/>
            </a:lvl5pPr>
          </a:lstStyle>
          <a:p>
            <a:pPr lvl="0"/>
            <a:r>
              <a:rPr lang="en-US"/>
              <a:t>Edit Master text styles</a:t>
            </a:r>
          </a:p>
          <a:p>
            <a:pPr lvl="1"/>
            <a:r>
              <a:rPr lang="en-US"/>
              <a:t>Second level</a:t>
            </a:r>
          </a:p>
          <a:p>
            <a:pPr lvl="2"/>
            <a:r>
              <a:rPr lang="en-US"/>
              <a:t>Third level</a:t>
            </a:r>
          </a:p>
        </p:txBody>
      </p:sp>
      <p:sp>
        <p:nvSpPr>
          <p:cNvPr id="59" name="Text Placeholder 7">
            <a:extLst>
              <a:ext uri="{FF2B5EF4-FFF2-40B4-BE49-F238E27FC236}">
                <a16:creationId xmlns:a16="http://schemas.microsoft.com/office/drawing/2014/main" id="{934E3D11-C154-2F49-878F-A03241CE19CB}"/>
              </a:ext>
            </a:extLst>
          </p:cNvPr>
          <p:cNvSpPr>
            <a:spLocks noGrp="1"/>
          </p:cNvSpPr>
          <p:nvPr>
            <p:ph type="body" sz="quarter" idx="49"/>
          </p:nvPr>
        </p:nvSpPr>
        <p:spPr>
          <a:xfrm>
            <a:off x="8184769" y="5484682"/>
            <a:ext cx="1700908" cy="840845"/>
          </a:xfrm>
          <a:prstGeom prst="rect">
            <a:avLst/>
          </a:prstGeom>
        </p:spPr>
        <p:txBody>
          <a:bodyPr/>
          <a:lstStyle>
            <a:lvl1pPr marL="0" indent="0">
              <a:lnSpc>
                <a:spcPct val="120000"/>
              </a:lnSpc>
              <a:buNone/>
              <a:defRPr sz="1200" b="1" kern="1100" cap="all" spc="20" baseline="0">
                <a:solidFill>
                  <a:schemeClr val="accent1"/>
                </a:solidFill>
                <a:latin typeface="+mj-lt"/>
              </a:defRPr>
            </a:lvl1pPr>
            <a:lvl2pPr marL="11113" indent="0">
              <a:lnSpc>
                <a:spcPct val="110000"/>
              </a:lnSpc>
              <a:spcBef>
                <a:spcPts val="0"/>
              </a:spcBef>
              <a:buNone/>
              <a:tabLst/>
              <a:defRPr sz="1200" baseline="0"/>
            </a:lvl2pPr>
            <a:lvl3pPr marL="230188" indent="-219075">
              <a:lnSpc>
                <a:spcPct val="110000"/>
              </a:lnSpc>
              <a:spcBef>
                <a:spcPts val="0"/>
              </a:spcBef>
              <a:buFont typeface="System Font Regular"/>
              <a:buChar char="–"/>
              <a:tabLst/>
              <a:defRPr sz="1200" baseline="0"/>
            </a:lvl3pPr>
            <a:lvl4pPr>
              <a:defRPr sz="1200" baseline="0"/>
            </a:lvl4pPr>
            <a:lvl5pPr>
              <a:defRPr sz="1200" baseline="0"/>
            </a:lvl5pPr>
          </a:lstStyle>
          <a:p>
            <a:pPr lvl="0"/>
            <a:r>
              <a:rPr lang="en-US"/>
              <a:t>Edit Master text styles</a:t>
            </a:r>
          </a:p>
          <a:p>
            <a:pPr lvl="1"/>
            <a:r>
              <a:rPr lang="en-US"/>
              <a:t>Second level</a:t>
            </a:r>
          </a:p>
          <a:p>
            <a:pPr lvl="2"/>
            <a:r>
              <a:rPr lang="en-US"/>
              <a:t>Third level</a:t>
            </a:r>
          </a:p>
        </p:txBody>
      </p:sp>
      <p:sp>
        <p:nvSpPr>
          <p:cNvPr id="62" name="Text Placeholder 7">
            <a:extLst>
              <a:ext uri="{FF2B5EF4-FFF2-40B4-BE49-F238E27FC236}">
                <a16:creationId xmlns:a16="http://schemas.microsoft.com/office/drawing/2014/main" id="{1318C62F-5612-9A4B-B17E-460163235039}"/>
              </a:ext>
            </a:extLst>
          </p:cNvPr>
          <p:cNvSpPr>
            <a:spLocks noGrp="1"/>
          </p:cNvSpPr>
          <p:nvPr>
            <p:ph type="body" sz="quarter" idx="50"/>
          </p:nvPr>
        </p:nvSpPr>
        <p:spPr>
          <a:xfrm>
            <a:off x="10094849" y="5484683"/>
            <a:ext cx="1700908" cy="855710"/>
          </a:xfrm>
          <a:prstGeom prst="rect">
            <a:avLst/>
          </a:prstGeom>
        </p:spPr>
        <p:txBody>
          <a:bodyPr/>
          <a:lstStyle>
            <a:lvl1pPr marL="0" indent="0">
              <a:lnSpc>
                <a:spcPct val="120000"/>
              </a:lnSpc>
              <a:buNone/>
              <a:defRPr sz="1200" b="1" kern="1100" cap="all" spc="20" baseline="0">
                <a:solidFill>
                  <a:schemeClr val="accent1"/>
                </a:solidFill>
                <a:latin typeface="+mj-lt"/>
              </a:defRPr>
            </a:lvl1pPr>
            <a:lvl2pPr marL="11113" indent="0">
              <a:lnSpc>
                <a:spcPct val="110000"/>
              </a:lnSpc>
              <a:spcBef>
                <a:spcPts val="0"/>
              </a:spcBef>
              <a:buNone/>
              <a:tabLst/>
              <a:defRPr sz="1200" baseline="0"/>
            </a:lvl2pPr>
            <a:lvl3pPr marL="230188" indent="-219075">
              <a:lnSpc>
                <a:spcPct val="110000"/>
              </a:lnSpc>
              <a:spcBef>
                <a:spcPts val="0"/>
              </a:spcBef>
              <a:buFont typeface="System Font Regular"/>
              <a:buChar char="–"/>
              <a:tabLst/>
              <a:defRPr sz="1200" baseline="0"/>
            </a:lvl3pPr>
            <a:lvl4pPr>
              <a:defRPr sz="1200" baseline="0"/>
            </a:lvl4pPr>
            <a:lvl5pPr>
              <a:defRPr sz="1200" baseline="0"/>
            </a:lvl5pPr>
          </a:lstStyle>
          <a:p>
            <a:pPr lvl="0"/>
            <a:r>
              <a:rPr lang="en-US"/>
              <a:t>Edit Master text styles</a:t>
            </a:r>
          </a:p>
          <a:p>
            <a:pPr lvl="1"/>
            <a:r>
              <a:rPr lang="en-US"/>
              <a:t>Second level</a:t>
            </a:r>
          </a:p>
          <a:p>
            <a:pPr lvl="2"/>
            <a:r>
              <a:rPr lang="en-US"/>
              <a:t>Third level</a:t>
            </a:r>
          </a:p>
        </p:txBody>
      </p:sp>
      <p:sp>
        <p:nvSpPr>
          <p:cNvPr id="63" name="Text Placeholder 7">
            <a:extLst>
              <a:ext uri="{FF2B5EF4-FFF2-40B4-BE49-F238E27FC236}">
                <a16:creationId xmlns:a16="http://schemas.microsoft.com/office/drawing/2014/main" id="{39B75B63-CE74-5B4C-A8D1-B6A995A268AB}"/>
              </a:ext>
            </a:extLst>
          </p:cNvPr>
          <p:cNvSpPr>
            <a:spLocks noGrp="1"/>
          </p:cNvSpPr>
          <p:nvPr>
            <p:ph type="body" sz="quarter" idx="51"/>
          </p:nvPr>
        </p:nvSpPr>
        <p:spPr>
          <a:xfrm>
            <a:off x="513969" y="2609402"/>
            <a:ext cx="1700910" cy="810763"/>
          </a:xfrm>
          <a:prstGeom prst="rect">
            <a:avLst/>
          </a:prstGeom>
        </p:spPr>
        <p:txBody>
          <a:bodyPr/>
          <a:lstStyle>
            <a:lvl1pPr marL="0" indent="0">
              <a:lnSpc>
                <a:spcPct val="120000"/>
              </a:lnSpc>
              <a:buNone/>
              <a:defRPr sz="1200" b="1" kern="1100" cap="all" spc="20" baseline="0">
                <a:solidFill>
                  <a:schemeClr val="accent1"/>
                </a:solidFill>
                <a:latin typeface="+mj-lt"/>
              </a:defRPr>
            </a:lvl1pPr>
            <a:lvl2pPr marL="11113" indent="0">
              <a:lnSpc>
                <a:spcPct val="110000"/>
              </a:lnSpc>
              <a:spcBef>
                <a:spcPts val="0"/>
              </a:spcBef>
              <a:buNone/>
              <a:tabLst/>
              <a:defRPr sz="1200" baseline="0"/>
            </a:lvl2pPr>
            <a:lvl3pPr marL="230188" indent="-219075">
              <a:lnSpc>
                <a:spcPct val="110000"/>
              </a:lnSpc>
              <a:spcBef>
                <a:spcPts val="0"/>
              </a:spcBef>
              <a:buFont typeface="System Font Regular"/>
              <a:buChar char="–"/>
              <a:tabLst/>
              <a:defRPr sz="1200" baseline="0"/>
            </a:lvl3pPr>
            <a:lvl4pPr>
              <a:defRPr sz="1200" baseline="0"/>
            </a:lvl4pPr>
            <a:lvl5pPr>
              <a:defRPr sz="1200" baseline="0"/>
            </a:lvl5pPr>
          </a:lstStyle>
          <a:p>
            <a:pPr lvl="0"/>
            <a:r>
              <a:rPr lang="en-US"/>
              <a:t>Edit Master text styles</a:t>
            </a:r>
          </a:p>
          <a:p>
            <a:pPr lvl="1"/>
            <a:r>
              <a:rPr lang="en-US"/>
              <a:t>Second level</a:t>
            </a:r>
          </a:p>
          <a:p>
            <a:pPr lvl="2"/>
            <a:r>
              <a:rPr lang="en-US"/>
              <a:t>Third level</a:t>
            </a:r>
          </a:p>
        </p:txBody>
      </p:sp>
      <p:sp>
        <p:nvSpPr>
          <p:cNvPr id="64" name="Text Placeholder 7">
            <a:extLst>
              <a:ext uri="{FF2B5EF4-FFF2-40B4-BE49-F238E27FC236}">
                <a16:creationId xmlns:a16="http://schemas.microsoft.com/office/drawing/2014/main" id="{F81336AD-3D2D-844E-89B0-276946FF7449}"/>
              </a:ext>
            </a:extLst>
          </p:cNvPr>
          <p:cNvSpPr>
            <a:spLocks noGrp="1"/>
          </p:cNvSpPr>
          <p:nvPr>
            <p:ph type="body" sz="quarter" idx="52"/>
          </p:nvPr>
        </p:nvSpPr>
        <p:spPr>
          <a:xfrm>
            <a:off x="2410719" y="2599243"/>
            <a:ext cx="1700910" cy="820922"/>
          </a:xfrm>
          <a:prstGeom prst="rect">
            <a:avLst/>
          </a:prstGeom>
        </p:spPr>
        <p:txBody>
          <a:bodyPr/>
          <a:lstStyle>
            <a:lvl1pPr marL="0" indent="0">
              <a:lnSpc>
                <a:spcPct val="120000"/>
              </a:lnSpc>
              <a:buNone/>
              <a:defRPr sz="1200" b="1" kern="1100" cap="all" spc="20" baseline="0">
                <a:solidFill>
                  <a:schemeClr val="accent1"/>
                </a:solidFill>
                <a:latin typeface="+mj-lt"/>
              </a:defRPr>
            </a:lvl1pPr>
            <a:lvl2pPr marL="11113" indent="0">
              <a:lnSpc>
                <a:spcPct val="110000"/>
              </a:lnSpc>
              <a:spcBef>
                <a:spcPts val="0"/>
              </a:spcBef>
              <a:buNone/>
              <a:tabLst/>
              <a:defRPr sz="1200" baseline="0"/>
            </a:lvl2pPr>
            <a:lvl3pPr marL="230188" indent="-219075">
              <a:lnSpc>
                <a:spcPct val="110000"/>
              </a:lnSpc>
              <a:spcBef>
                <a:spcPts val="0"/>
              </a:spcBef>
              <a:buFont typeface="System Font Regular"/>
              <a:buChar char="–"/>
              <a:tabLst/>
              <a:defRPr sz="1200" baseline="0"/>
            </a:lvl3pPr>
            <a:lvl4pPr>
              <a:defRPr sz="1200" baseline="0"/>
            </a:lvl4pPr>
            <a:lvl5pPr>
              <a:defRPr sz="1200" baseline="0"/>
            </a:lvl5pPr>
          </a:lstStyle>
          <a:p>
            <a:pPr lvl="0"/>
            <a:r>
              <a:rPr lang="en-US"/>
              <a:t>Edit Master text styles</a:t>
            </a:r>
          </a:p>
          <a:p>
            <a:pPr lvl="1"/>
            <a:r>
              <a:rPr lang="en-US"/>
              <a:t>Second level</a:t>
            </a:r>
          </a:p>
          <a:p>
            <a:pPr lvl="2"/>
            <a:r>
              <a:rPr lang="en-US"/>
              <a:t>Third level</a:t>
            </a:r>
          </a:p>
        </p:txBody>
      </p:sp>
      <p:sp>
        <p:nvSpPr>
          <p:cNvPr id="65" name="Text Placeholder 7">
            <a:extLst>
              <a:ext uri="{FF2B5EF4-FFF2-40B4-BE49-F238E27FC236}">
                <a16:creationId xmlns:a16="http://schemas.microsoft.com/office/drawing/2014/main" id="{7035559D-DBF9-C240-B8C4-B0E7E8CF0B52}"/>
              </a:ext>
            </a:extLst>
          </p:cNvPr>
          <p:cNvSpPr>
            <a:spLocks noGrp="1"/>
          </p:cNvSpPr>
          <p:nvPr>
            <p:ph type="body" sz="quarter" idx="53"/>
          </p:nvPr>
        </p:nvSpPr>
        <p:spPr>
          <a:xfrm>
            <a:off x="4325021" y="2599242"/>
            <a:ext cx="1715956" cy="820923"/>
          </a:xfrm>
          <a:prstGeom prst="rect">
            <a:avLst/>
          </a:prstGeom>
        </p:spPr>
        <p:txBody>
          <a:bodyPr/>
          <a:lstStyle>
            <a:lvl1pPr marL="0" indent="0">
              <a:lnSpc>
                <a:spcPct val="120000"/>
              </a:lnSpc>
              <a:buNone/>
              <a:defRPr sz="1200" b="1" kern="1100" cap="all" spc="20" baseline="0">
                <a:solidFill>
                  <a:schemeClr val="accent1"/>
                </a:solidFill>
                <a:latin typeface="+mj-lt"/>
              </a:defRPr>
            </a:lvl1pPr>
            <a:lvl2pPr marL="11113" indent="0">
              <a:lnSpc>
                <a:spcPct val="110000"/>
              </a:lnSpc>
              <a:spcBef>
                <a:spcPts val="0"/>
              </a:spcBef>
              <a:buNone/>
              <a:tabLst/>
              <a:defRPr sz="1200" baseline="0"/>
            </a:lvl2pPr>
            <a:lvl3pPr marL="230188" indent="-219075">
              <a:lnSpc>
                <a:spcPct val="110000"/>
              </a:lnSpc>
              <a:spcBef>
                <a:spcPts val="0"/>
              </a:spcBef>
              <a:buFont typeface="System Font Regular"/>
              <a:buChar char="–"/>
              <a:tabLst/>
              <a:defRPr sz="1200" baseline="0"/>
            </a:lvl3pPr>
            <a:lvl4pPr>
              <a:defRPr sz="1200" baseline="0"/>
            </a:lvl4pPr>
            <a:lvl5pPr>
              <a:defRPr sz="1200" baseline="0"/>
            </a:lvl5pPr>
          </a:lstStyle>
          <a:p>
            <a:pPr lvl="0"/>
            <a:r>
              <a:rPr lang="en-US"/>
              <a:t>Edit Master text styles</a:t>
            </a:r>
          </a:p>
          <a:p>
            <a:pPr lvl="1"/>
            <a:r>
              <a:rPr lang="en-US"/>
              <a:t>Second level</a:t>
            </a:r>
          </a:p>
          <a:p>
            <a:pPr lvl="2"/>
            <a:r>
              <a:rPr lang="en-US"/>
              <a:t>Third level</a:t>
            </a:r>
          </a:p>
        </p:txBody>
      </p:sp>
      <p:sp>
        <p:nvSpPr>
          <p:cNvPr id="66" name="Text Placeholder 7">
            <a:extLst>
              <a:ext uri="{FF2B5EF4-FFF2-40B4-BE49-F238E27FC236}">
                <a16:creationId xmlns:a16="http://schemas.microsoft.com/office/drawing/2014/main" id="{BF860A8A-8C9D-E446-B1D9-77A867A357BF}"/>
              </a:ext>
            </a:extLst>
          </p:cNvPr>
          <p:cNvSpPr>
            <a:spLocks noGrp="1"/>
          </p:cNvSpPr>
          <p:nvPr>
            <p:ph type="body" sz="quarter" idx="54"/>
          </p:nvPr>
        </p:nvSpPr>
        <p:spPr>
          <a:xfrm>
            <a:off x="6254369" y="2599243"/>
            <a:ext cx="1675316" cy="820922"/>
          </a:xfrm>
          <a:prstGeom prst="rect">
            <a:avLst/>
          </a:prstGeom>
        </p:spPr>
        <p:txBody>
          <a:bodyPr/>
          <a:lstStyle>
            <a:lvl1pPr marL="0" indent="0">
              <a:lnSpc>
                <a:spcPct val="120000"/>
              </a:lnSpc>
              <a:buNone/>
              <a:defRPr sz="1200" b="1" kern="1100" cap="all" spc="20" baseline="0">
                <a:solidFill>
                  <a:schemeClr val="accent1"/>
                </a:solidFill>
                <a:latin typeface="+mj-lt"/>
              </a:defRPr>
            </a:lvl1pPr>
            <a:lvl2pPr marL="11113" indent="0">
              <a:lnSpc>
                <a:spcPct val="110000"/>
              </a:lnSpc>
              <a:spcBef>
                <a:spcPts val="0"/>
              </a:spcBef>
              <a:buNone/>
              <a:tabLst/>
              <a:defRPr sz="1200" baseline="0"/>
            </a:lvl2pPr>
            <a:lvl3pPr marL="230188" indent="-219075">
              <a:lnSpc>
                <a:spcPct val="110000"/>
              </a:lnSpc>
              <a:spcBef>
                <a:spcPts val="0"/>
              </a:spcBef>
              <a:buFont typeface="System Font Regular"/>
              <a:buChar char="–"/>
              <a:tabLst/>
              <a:defRPr sz="1200" baseline="0"/>
            </a:lvl3pPr>
            <a:lvl4pPr>
              <a:defRPr sz="1200" baseline="0"/>
            </a:lvl4pPr>
            <a:lvl5pPr>
              <a:defRPr sz="1200" baseline="0"/>
            </a:lvl5pPr>
          </a:lstStyle>
          <a:p>
            <a:pPr lvl="0"/>
            <a:r>
              <a:rPr lang="en-US"/>
              <a:t>Edit Master text styles</a:t>
            </a:r>
          </a:p>
          <a:p>
            <a:pPr lvl="1"/>
            <a:r>
              <a:rPr lang="en-US"/>
              <a:t>Second level</a:t>
            </a:r>
          </a:p>
          <a:p>
            <a:pPr lvl="2"/>
            <a:r>
              <a:rPr lang="en-US"/>
              <a:t>Third level</a:t>
            </a:r>
          </a:p>
        </p:txBody>
      </p:sp>
      <p:sp>
        <p:nvSpPr>
          <p:cNvPr id="67" name="Text Placeholder 7">
            <a:extLst>
              <a:ext uri="{FF2B5EF4-FFF2-40B4-BE49-F238E27FC236}">
                <a16:creationId xmlns:a16="http://schemas.microsoft.com/office/drawing/2014/main" id="{CDD19C14-629E-8949-B62A-3D7F14A647C4}"/>
              </a:ext>
            </a:extLst>
          </p:cNvPr>
          <p:cNvSpPr>
            <a:spLocks noGrp="1"/>
          </p:cNvSpPr>
          <p:nvPr>
            <p:ph type="body" sz="quarter" idx="55"/>
          </p:nvPr>
        </p:nvSpPr>
        <p:spPr>
          <a:xfrm>
            <a:off x="8184769" y="2599242"/>
            <a:ext cx="1700908" cy="840845"/>
          </a:xfrm>
          <a:prstGeom prst="rect">
            <a:avLst/>
          </a:prstGeom>
        </p:spPr>
        <p:txBody>
          <a:bodyPr/>
          <a:lstStyle>
            <a:lvl1pPr marL="0" indent="0">
              <a:lnSpc>
                <a:spcPct val="120000"/>
              </a:lnSpc>
              <a:buNone/>
              <a:defRPr sz="1200" b="1" kern="1100" cap="all" spc="20" baseline="0">
                <a:solidFill>
                  <a:schemeClr val="accent1"/>
                </a:solidFill>
                <a:latin typeface="+mj-lt"/>
              </a:defRPr>
            </a:lvl1pPr>
            <a:lvl2pPr marL="11113" indent="0">
              <a:lnSpc>
                <a:spcPct val="110000"/>
              </a:lnSpc>
              <a:spcBef>
                <a:spcPts val="0"/>
              </a:spcBef>
              <a:buNone/>
              <a:tabLst/>
              <a:defRPr sz="1200" baseline="0"/>
            </a:lvl2pPr>
            <a:lvl3pPr marL="230188" indent="-219075">
              <a:lnSpc>
                <a:spcPct val="110000"/>
              </a:lnSpc>
              <a:spcBef>
                <a:spcPts val="0"/>
              </a:spcBef>
              <a:buFont typeface="System Font Regular"/>
              <a:buChar char="–"/>
              <a:tabLst/>
              <a:defRPr sz="1200" baseline="0"/>
            </a:lvl3pPr>
            <a:lvl4pPr>
              <a:defRPr sz="1200" baseline="0"/>
            </a:lvl4pPr>
            <a:lvl5pPr>
              <a:defRPr sz="1200" baseline="0"/>
            </a:lvl5pPr>
          </a:lstStyle>
          <a:p>
            <a:pPr lvl="0"/>
            <a:r>
              <a:rPr lang="en-US"/>
              <a:t>Edit Master text styles</a:t>
            </a:r>
          </a:p>
          <a:p>
            <a:pPr lvl="1"/>
            <a:r>
              <a:rPr lang="en-US"/>
              <a:t>Second level</a:t>
            </a:r>
          </a:p>
          <a:p>
            <a:pPr lvl="2"/>
            <a:r>
              <a:rPr lang="en-US"/>
              <a:t>Third level</a:t>
            </a:r>
          </a:p>
        </p:txBody>
      </p:sp>
      <p:sp>
        <p:nvSpPr>
          <p:cNvPr id="68" name="Text Placeholder 7">
            <a:extLst>
              <a:ext uri="{FF2B5EF4-FFF2-40B4-BE49-F238E27FC236}">
                <a16:creationId xmlns:a16="http://schemas.microsoft.com/office/drawing/2014/main" id="{88272D28-FC5C-4248-8F21-9AFCE3B10EA9}"/>
              </a:ext>
            </a:extLst>
          </p:cNvPr>
          <p:cNvSpPr>
            <a:spLocks noGrp="1"/>
          </p:cNvSpPr>
          <p:nvPr>
            <p:ph type="body" sz="quarter" idx="56"/>
          </p:nvPr>
        </p:nvSpPr>
        <p:spPr>
          <a:xfrm>
            <a:off x="10094849" y="2599243"/>
            <a:ext cx="1700908" cy="855710"/>
          </a:xfrm>
          <a:prstGeom prst="rect">
            <a:avLst/>
          </a:prstGeom>
        </p:spPr>
        <p:txBody>
          <a:bodyPr/>
          <a:lstStyle>
            <a:lvl1pPr marL="0" indent="0">
              <a:lnSpc>
                <a:spcPct val="120000"/>
              </a:lnSpc>
              <a:buNone/>
              <a:defRPr sz="1200" b="1" kern="1100" cap="all" spc="20" baseline="0">
                <a:solidFill>
                  <a:schemeClr val="accent1"/>
                </a:solidFill>
                <a:latin typeface="+mj-lt"/>
              </a:defRPr>
            </a:lvl1pPr>
            <a:lvl2pPr marL="11113" indent="0">
              <a:lnSpc>
                <a:spcPct val="110000"/>
              </a:lnSpc>
              <a:spcBef>
                <a:spcPts val="0"/>
              </a:spcBef>
              <a:buNone/>
              <a:tabLst/>
              <a:defRPr sz="1200" baseline="0"/>
            </a:lvl2pPr>
            <a:lvl3pPr marL="230188" indent="-219075">
              <a:lnSpc>
                <a:spcPct val="110000"/>
              </a:lnSpc>
              <a:spcBef>
                <a:spcPts val="0"/>
              </a:spcBef>
              <a:buFont typeface="System Font Regular"/>
              <a:buChar char="–"/>
              <a:tabLst/>
              <a:defRPr sz="1200" baseline="0"/>
            </a:lvl3pPr>
            <a:lvl4pPr>
              <a:defRPr sz="1200" baseline="0"/>
            </a:lvl4pPr>
            <a:lvl5pPr>
              <a:defRPr sz="1200" baseline="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0609077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ody - Collage">
    <p:spTree>
      <p:nvGrpSpPr>
        <p:cNvPr id="1" name=""/>
        <p:cNvGrpSpPr/>
        <p:nvPr/>
      </p:nvGrpSpPr>
      <p:grpSpPr>
        <a:xfrm>
          <a:off x="0" y="0"/>
          <a:ext cx="0" cy="0"/>
          <a:chOff x="0" y="0"/>
          <a:chExt cx="0" cy="0"/>
        </a:xfrm>
      </p:grpSpPr>
      <p:sp>
        <p:nvSpPr>
          <p:cNvPr id="26" name="Slide Number Placeholder 5">
            <a:extLst>
              <a:ext uri="{FF2B5EF4-FFF2-40B4-BE49-F238E27FC236}">
                <a16:creationId xmlns:a16="http://schemas.microsoft.com/office/drawing/2014/main" id="{6AA0B4D3-F1D5-E840-816A-8B71734B0CEE}"/>
              </a:ext>
            </a:extLst>
          </p:cNvPr>
          <p:cNvSpPr>
            <a:spLocks noGrp="1"/>
          </p:cNvSpPr>
          <p:nvPr>
            <p:ph type="sldNum" sz="quarter" idx="4"/>
          </p:nvPr>
        </p:nvSpPr>
        <p:spPr>
          <a:xfrm>
            <a:off x="11537879" y="6325527"/>
            <a:ext cx="370726" cy="365125"/>
          </a:xfrm>
          <a:prstGeom prst="rect">
            <a:avLst/>
          </a:prstGeom>
        </p:spPr>
        <p:txBody>
          <a:bodyPr vert="horz" lIns="91440" tIns="45720" rIns="91440" bIns="45720" rtlCol="0" anchor="b"/>
          <a:lstStyle>
            <a:lvl1pPr algn="r">
              <a:defRPr sz="800" b="1" i="0">
                <a:solidFill>
                  <a:schemeClr val="tx1">
                    <a:tint val="75000"/>
                  </a:schemeClr>
                </a:solidFill>
                <a:latin typeface="+mj-lt"/>
              </a:defRPr>
            </a:lvl1pPr>
          </a:lstStyle>
          <a:p>
            <a:fld id="{EB3C441C-A16D-4531-8F9E-BFE4D57FBC82}" type="slidenum">
              <a:rPr lang="en-US" smtClean="0"/>
              <a:t>‹N°›</a:t>
            </a:fld>
            <a:endParaRPr lang="en-US"/>
          </a:p>
        </p:txBody>
      </p:sp>
      <p:sp>
        <p:nvSpPr>
          <p:cNvPr id="30" name="Footer Placeholder 54">
            <a:extLst>
              <a:ext uri="{FF2B5EF4-FFF2-40B4-BE49-F238E27FC236}">
                <a16:creationId xmlns:a16="http://schemas.microsoft.com/office/drawing/2014/main" id="{FBF5E17B-C670-4E4D-BB7F-743CB1137D68}"/>
              </a:ext>
            </a:extLst>
          </p:cNvPr>
          <p:cNvSpPr>
            <a:spLocks noGrp="1"/>
          </p:cNvSpPr>
          <p:nvPr>
            <p:ph type="ftr" sz="quarter" idx="15"/>
          </p:nvPr>
        </p:nvSpPr>
        <p:spPr>
          <a:xfrm>
            <a:off x="1819551" y="6340392"/>
            <a:ext cx="4114800" cy="365125"/>
          </a:xfrm>
          <a:prstGeom prst="rect">
            <a:avLst/>
          </a:prstGeom>
        </p:spPr>
        <p:txBody>
          <a:bodyPr anchor="b" anchorCtr="0"/>
          <a:lstStyle>
            <a:lvl1pPr>
              <a:defRPr sz="700">
                <a:solidFill>
                  <a:schemeClr val="accent2"/>
                </a:solidFill>
              </a:defRPr>
            </a:lvl1pPr>
          </a:lstStyle>
          <a:p>
            <a:endParaRPr lang="en-US"/>
          </a:p>
        </p:txBody>
      </p:sp>
      <p:grpSp>
        <p:nvGrpSpPr>
          <p:cNvPr id="65" name="Group 64">
            <a:extLst>
              <a:ext uri="{FF2B5EF4-FFF2-40B4-BE49-F238E27FC236}">
                <a16:creationId xmlns:a16="http://schemas.microsoft.com/office/drawing/2014/main" id="{3BBCB486-DE75-DC46-8C31-9A70C68CC0FF}"/>
              </a:ext>
            </a:extLst>
          </p:cNvPr>
          <p:cNvGrpSpPr/>
          <p:nvPr/>
        </p:nvGrpSpPr>
        <p:grpSpPr>
          <a:xfrm>
            <a:off x="3047" y="6305605"/>
            <a:ext cx="1254409" cy="552395"/>
            <a:chOff x="3047" y="6305605"/>
            <a:chExt cx="1254409" cy="552395"/>
          </a:xfrm>
        </p:grpSpPr>
        <p:grpSp>
          <p:nvGrpSpPr>
            <p:cNvPr id="66" name="Group 65">
              <a:extLst>
                <a:ext uri="{FF2B5EF4-FFF2-40B4-BE49-F238E27FC236}">
                  <a16:creationId xmlns:a16="http://schemas.microsoft.com/office/drawing/2014/main" id="{361472C7-054A-1444-B347-CA81C7110D1B}"/>
                </a:ext>
              </a:extLst>
            </p:cNvPr>
            <p:cNvGrpSpPr/>
            <p:nvPr/>
          </p:nvGrpSpPr>
          <p:grpSpPr>
            <a:xfrm>
              <a:off x="3047" y="6305605"/>
              <a:ext cx="551693" cy="552395"/>
              <a:chOff x="3047" y="6305605"/>
              <a:chExt cx="551693" cy="552395"/>
            </a:xfrm>
          </p:grpSpPr>
          <p:sp>
            <p:nvSpPr>
              <p:cNvPr id="68" name="Rectangle 67">
                <a:extLst>
                  <a:ext uri="{FF2B5EF4-FFF2-40B4-BE49-F238E27FC236}">
                    <a16:creationId xmlns:a16="http://schemas.microsoft.com/office/drawing/2014/main" id="{180BD2A5-175B-024F-97BE-AC0564F2E110}"/>
                  </a:ext>
                </a:extLst>
              </p:cNvPr>
              <p:cNvSpPr/>
              <p:nvPr/>
            </p:nvSpPr>
            <p:spPr>
              <a:xfrm>
                <a:off x="3047" y="6305605"/>
                <a:ext cx="551693" cy="552395"/>
              </a:xfrm>
              <a:prstGeom prst="rect">
                <a:avLst/>
              </a:prstGeom>
              <a:solidFill>
                <a:srgbClr val="5369E4"/>
              </a:solidFill>
              <a:ln w="9525" cap="flat">
                <a:noFill/>
                <a:prstDash val="solid"/>
                <a:miter/>
              </a:ln>
            </p:spPr>
            <p:txBody>
              <a:bodyPr rtlCol="0" anchor="ctr"/>
              <a:lstStyle/>
              <a:p>
                <a:endParaRPr lang="en-US"/>
              </a:p>
            </p:txBody>
          </p:sp>
          <p:sp>
            <p:nvSpPr>
              <p:cNvPr id="69" name="Freeform 68">
                <a:extLst>
                  <a:ext uri="{FF2B5EF4-FFF2-40B4-BE49-F238E27FC236}">
                    <a16:creationId xmlns:a16="http://schemas.microsoft.com/office/drawing/2014/main" id="{C72F9D7F-7B5F-A542-91FD-43D8B8B4D790}"/>
                  </a:ext>
                </a:extLst>
              </p:cNvPr>
              <p:cNvSpPr/>
              <p:nvPr/>
            </p:nvSpPr>
            <p:spPr>
              <a:xfrm>
                <a:off x="173577" y="6501753"/>
                <a:ext cx="279408" cy="175345"/>
              </a:xfrm>
              <a:custGeom>
                <a:avLst/>
                <a:gdLst>
                  <a:gd name="connsiteX0" fmla="*/ 102941 w 279408"/>
                  <a:gd name="connsiteY0" fmla="*/ 59439 h 175345"/>
                  <a:gd name="connsiteX1" fmla="*/ 132352 w 279408"/>
                  <a:gd name="connsiteY1" fmla="*/ 88384 h 175345"/>
                  <a:gd name="connsiteX2" fmla="*/ 102941 w 279408"/>
                  <a:gd name="connsiteY2" fmla="*/ 117329 h 175345"/>
                  <a:gd name="connsiteX3" fmla="*/ 73528 w 279408"/>
                  <a:gd name="connsiteY3" fmla="*/ 88384 h 175345"/>
                  <a:gd name="connsiteX4" fmla="*/ 102941 w 279408"/>
                  <a:gd name="connsiteY4" fmla="*/ 59439 h 175345"/>
                  <a:gd name="connsiteX5" fmla="*/ 147056 w 279408"/>
                  <a:gd name="connsiteY5" fmla="*/ 1809 h 175345"/>
                  <a:gd name="connsiteX6" fmla="*/ 205880 w 279408"/>
                  <a:gd name="connsiteY6" fmla="*/ 1809 h 175345"/>
                  <a:gd name="connsiteX7" fmla="*/ 205880 w 279408"/>
                  <a:gd name="connsiteY7" fmla="*/ 59698 h 175345"/>
                  <a:gd name="connsiteX8" fmla="*/ 205880 w 279408"/>
                  <a:gd name="connsiteY8" fmla="*/ 117457 h 175345"/>
                  <a:gd name="connsiteX9" fmla="*/ 205880 w 279408"/>
                  <a:gd name="connsiteY9" fmla="*/ 175345 h 175345"/>
                  <a:gd name="connsiteX10" fmla="*/ 147056 w 279408"/>
                  <a:gd name="connsiteY10" fmla="*/ 175345 h 175345"/>
                  <a:gd name="connsiteX11" fmla="*/ 147056 w 279408"/>
                  <a:gd name="connsiteY11" fmla="*/ 117457 h 175345"/>
                  <a:gd name="connsiteX12" fmla="*/ 147056 w 279408"/>
                  <a:gd name="connsiteY12" fmla="*/ 59698 h 175345"/>
                  <a:gd name="connsiteX13" fmla="*/ 0 w 279408"/>
                  <a:gd name="connsiteY13" fmla="*/ 1809 h 175345"/>
                  <a:gd name="connsiteX14" fmla="*/ 58824 w 279408"/>
                  <a:gd name="connsiteY14" fmla="*/ 1809 h 175345"/>
                  <a:gd name="connsiteX15" fmla="*/ 58824 w 279408"/>
                  <a:gd name="connsiteY15" fmla="*/ 59698 h 175345"/>
                  <a:gd name="connsiteX16" fmla="*/ 58824 w 279408"/>
                  <a:gd name="connsiteY16" fmla="*/ 117457 h 175345"/>
                  <a:gd name="connsiteX17" fmla="*/ 58824 w 279408"/>
                  <a:gd name="connsiteY17" fmla="*/ 175345 h 175345"/>
                  <a:gd name="connsiteX18" fmla="*/ 0 w 279408"/>
                  <a:gd name="connsiteY18" fmla="*/ 175345 h 175345"/>
                  <a:gd name="connsiteX19" fmla="*/ 0 w 279408"/>
                  <a:gd name="connsiteY19" fmla="*/ 117457 h 175345"/>
                  <a:gd name="connsiteX20" fmla="*/ 0 w 279408"/>
                  <a:gd name="connsiteY20" fmla="*/ 59698 h 175345"/>
                  <a:gd name="connsiteX21" fmla="*/ 249997 w 279408"/>
                  <a:gd name="connsiteY21" fmla="*/ 0 h 175345"/>
                  <a:gd name="connsiteX22" fmla="*/ 279408 w 279408"/>
                  <a:gd name="connsiteY22" fmla="*/ 28945 h 175345"/>
                  <a:gd name="connsiteX23" fmla="*/ 249997 w 279408"/>
                  <a:gd name="connsiteY23" fmla="*/ 57890 h 175345"/>
                  <a:gd name="connsiteX24" fmla="*/ 220584 w 279408"/>
                  <a:gd name="connsiteY24" fmla="*/ 28945 h 175345"/>
                  <a:gd name="connsiteX25" fmla="*/ 249997 w 279408"/>
                  <a:gd name="connsiteY25" fmla="*/ 0 h 175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79408" h="175345">
                    <a:moveTo>
                      <a:pt x="102941" y="59439"/>
                    </a:moveTo>
                    <a:cubicBezTo>
                      <a:pt x="119184" y="59439"/>
                      <a:pt x="132352" y="72399"/>
                      <a:pt x="132352" y="88384"/>
                    </a:cubicBezTo>
                    <a:cubicBezTo>
                      <a:pt x="132352" y="104370"/>
                      <a:pt x="119184" y="117329"/>
                      <a:pt x="102941" y="117329"/>
                    </a:cubicBezTo>
                    <a:cubicBezTo>
                      <a:pt x="86696" y="117329"/>
                      <a:pt x="73528" y="104370"/>
                      <a:pt x="73528" y="88384"/>
                    </a:cubicBezTo>
                    <a:cubicBezTo>
                      <a:pt x="73528" y="72399"/>
                      <a:pt x="86696" y="59439"/>
                      <a:pt x="102941" y="59439"/>
                    </a:cubicBezTo>
                    <a:close/>
                    <a:moveTo>
                      <a:pt x="147056" y="1809"/>
                    </a:moveTo>
                    <a:lnTo>
                      <a:pt x="205880" y="1809"/>
                    </a:lnTo>
                    <a:lnTo>
                      <a:pt x="205880" y="59698"/>
                    </a:lnTo>
                    <a:lnTo>
                      <a:pt x="205880" y="117457"/>
                    </a:lnTo>
                    <a:lnTo>
                      <a:pt x="205880" y="175345"/>
                    </a:lnTo>
                    <a:lnTo>
                      <a:pt x="147056" y="175345"/>
                    </a:lnTo>
                    <a:lnTo>
                      <a:pt x="147056" y="117457"/>
                    </a:lnTo>
                    <a:lnTo>
                      <a:pt x="147056" y="59698"/>
                    </a:lnTo>
                    <a:close/>
                    <a:moveTo>
                      <a:pt x="0" y="1809"/>
                    </a:moveTo>
                    <a:lnTo>
                      <a:pt x="58824" y="1809"/>
                    </a:lnTo>
                    <a:lnTo>
                      <a:pt x="58824" y="59698"/>
                    </a:lnTo>
                    <a:lnTo>
                      <a:pt x="58824" y="117457"/>
                    </a:lnTo>
                    <a:lnTo>
                      <a:pt x="58824" y="175345"/>
                    </a:lnTo>
                    <a:lnTo>
                      <a:pt x="0" y="175345"/>
                    </a:lnTo>
                    <a:lnTo>
                      <a:pt x="0" y="117457"/>
                    </a:lnTo>
                    <a:lnTo>
                      <a:pt x="0" y="59698"/>
                    </a:lnTo>
                    <a:close/>
                    <a:moveTo>
                      <a:pt x="249997" y="0"/>
                    </a:moveTo>
                    <a:cubicBezTo>
                      <a:pt x="266240" y="0"/>
                      <a:pt x="279408" y="12960"/>
                      <a:pt x="279408" y="28945"/>
                    </a:cubicBezTo>
                    <a:cubicBezTo>
                      <a:pt x="279408" y="44931"/>
                      <a:pt x="266240" y="57890"/>
                      <a:pt x="249997" y="57890"/>
                    </a:cubicBezTo>
                    <a:cubicBezTo>
                      <a:pt x="233752" y="57890"/>
                      <a:pt x="220584" y="44931"/>
                      <a:pt x="220584" y="28945"/>
                    </a:cubicBezTo>
                    <a:cubicBezTo>
                      <a:pt x="220584" y="12960"/>
                      <a:pt x="233752" y="0"/>
                      <a:pt x="249997" y="0"/>
                    </a:cubicBezTo>
                    <a:close/>
                  </a:path>
                </a:pathLst>
              </a:custGeom>
              <a:solidFill>
                <a:srgbClr val="FFFFFF"/>
              </a:solidFill>
              <a:ln w="9525" cap="flat">
                <a:noFill/>
                <a:prstDash val="solid"/>
                <a:miter/>
              </a:ln>
            </p:spPr>
            <p:txBody>
              <a:bodyPr wrap="square" rtlCol="0" anchor="ctr">
                <a:noAutofit/>
              </a:bodyPr>
              <a:lstStyle/>
              <a:p>
                <a:endParaRPr lang="en-US"/>
              </a:p>
            </p:txBody>
          </p:sp>
        </p:grpSp>
        <p:sp>
          <p:nvSpPr>
            <p:cNvPr id="67" name="Freeform 66">
              <a:extLst>
                <a:ext uri="{FF2B5EF4-FFF2-40B4-BE49-F238E27FC236}">
                  <a16:creationId xmlns:a16="http://schemas.microsoft.com/office/drawing/2014/main" id="{71D25CC9-CBAA-F545-8911-6E1D42D8EA56}"/>
                </a:ext>
              </a:extLst>
            </p:cNvPr>
            <p:cNvSpPr/>
            <p:nvPr/>
          </p:nvSpPr>
          <p:spPr>
            <a:xfrm>
              <a:off x="701664" y="6524947"/>
              <a:ext cx="555792" cy="129021"/>
            </a:xfrm>
            <a:custGeom>
              <a:avLst/>
              <a:gdLst>
                <a:gd name="connsiteX0" fmla="*/ 364489 w 555792"/>
                <a:gd name="connsiteY0" fmla="*/ 61830 h 129021"/>
                <a:gd name="connsiteX1" fmla="*/ 343312 w 555792"/>
                <a:gd name="connsiteY1" fmla="*/ 82670 h 129021"/>
                <a:gd name="connsiteX2" fmla="*/ 364489 w 555792"/>
                <a:gd name="connsiteY2" fmla="*/ 106926 h 129021"/>
                <a:gd name="connsiteX3" fmla="*/ 367960 w 555792"/>
                <a:gd name="connsiteY3" fmla="*/ 106926 h 129021"/>
                <a:gd name="connsiteX4" fmla="*/ 389136 w 555792"/>
                <a:gd name="connsiteY4" fmla="*/ 82670 h 129021"/>
                <a:gd name="connsiteX5" fmla="*/ 364489 w 555792"/>
                <a:gd name="connsiteY5" fmla="*/ 61830 h 129021"/>
                <a:gd name="connsiteX6" fmla="*/ 255246 w 555792"/>
                <a:gd name="connsiteY6" fmla="*/ 41285 h 129021"/>
                <a:gd name="connsiteX7" fmla="*/ 280588 w 555792"/>
                <a:gd name="connsiteY7" fmla="*/ 41285 h 129021"/>
                <a:gd name="connsiteX8" fmla="*/ 280588 w 555792"/>
                <a:gd name="connsiteY8" fmla="*/ 126955 h 129021"/>
                <a:gd name="connsiteX9" fmla="*/ 255246 w 555792"/>
                <a:gd name="connsiteY9" fmla="*/ 126955 h 129021"/>
                <a:gd name="connsiteX10" fmla="*/ 121846 w 555792"/>
                <a:gd name="connsiteY10" fmla="*/ 40770 h 129021"/>
                <a:gd name="connsiteX11" fmla="*/ 147188 w 555792"/>
                <a:gd name="connsiteY11" fmla="*/ 40770 h 129021"/>
                <a:gd name="connsiteX12" fmla="*/ 147188 w 555792"/>
                <a:gd name="connsiteY12" fmla="*/ 126439 h 129021"/>
                <a:gd name="connsiteX13" fmla="*/ 121846 w 555792"/>
                <a:gd name="connsiteY13" fmla="*/ 126439 h 129021"/>
                <a:gd name="connsiteX14" fmla="*/ 301329 w 555792"/>
                <a:gd name="connsiteY14" fmla="*/ 40638 h 129021"/>
                <a:gd name="connsiteX15" fmla="*/ 301859 w 555792"/>
                <a:gd name="connsiteY15" fmla="*/ 40638 h 129021"/>
                <a:gd name="connsiteX16" fmla="*/ 316958 w 555792"/>
                <a:gd name="connsiteY16" fmla="*/ 55499 h 129021"/>
                <a:gd name="connsiteX17" fmla="*/ 301859 w 555792"/>
                <a:gd name="connsiteY17" fmla="*/ 70359 h 129021"/>
                <a:gd name="connsiteX18" fmla="*/ 286885 w 555792"/>
                <a:gd name="connsiteY18" fmla="*/ 55893 h 129021"/>
                <a:gd name="connsiteX19" fmla="*/ 286890 w 555792"/>
                <a:gd name="connsiteY19" fmla="*/ 55370 h 129021"/>
                <a:gd name="connsiteX20" fmla="*/ 301329 w 555792"/>
                <a:gd name="connsiteY20" fmla="*/ 40638 h 129021"/>
                <a:gd name="connsiteX21" fmla="*/ 468871 w 555792"/>
                <a:gd name="connsiteY21" fmla="*/ 39863 h 129021"/>
                <a:gd name="connsiteX22" fmla="*/ 495131 w 555792"/>
                <a:gd name="connsiteY22" fmla="*/ 55240 h 129021"/>
                <a:gd name="connsiteX23" fmla="*/ 524542 w 555792"/>
                <a:gd name="connsiteY23" fmla="*/ 39863 h 129021"/>
                <a:gd name="connsiteX24" fmla="*/ 555716 w 555792"/>
                <a:gd name="connsiteY24" fmla="*/ 66406 h 129021"/>
                <a:gd name="connsiteX25" fmla="*/ 555792 w 555792"/>
                <a:gd name="connsiteY25" fmla="*/ 68678 h 129021"/>
                <a:gd name="connsiteX26" fmla="*/ 555792 w 555792"/>
                <a:gd name="connsiteY26" fmla="*/ 126954 h 129021"/>
                <a:gd name="connsiteX27" fmla="*/ 530582 w 555792"/>
                <a:gd name="connsiteY27" fmla="*/ 126954 h 129021"/>
                <a:gd name="connsiteX28" fmla="*/ 530582 w 555792"/>
                <a:gd name="connsiteY28" fmla="*/ 75914 h 129021"/>
                <a:gd name="connsiteX29" fmla="*/ 519946 w 555792"/>
                <a:gd name="connsiteY29" fmla="*/ 60936 h 129021"/>
                <a:gd name="connsiteX30" fmla="*/ 516402 w 555792"/>
                <a:gd name="connsiteY30" fmla="*/ 60796 h 129021"/>
                <a:gd name="connsiteX31" fmla="*/ 499858 w 555792"/>
                <a:gd name="connsiteY31" fmla="*/ 83150 h 129021"/>
                <a:gd name="connsiteX32" fmla="*/ 499858 w 555792"/>
                <a:gd name="connsiteY32" fmla="*/ 126954 h 129021"/>
                <a:gd name="connsiteX33" fmla="*/ 474780 w 555792"/>
                <a:gd name="connsiteY33" fmla="*/ 126954 h 129021"/>
                <a:gd name="connsiteX34" fmla="*/ 474780 w 555792"/>
                <a:gd name="connsiteY34" fmla="*/ 75914 h 129021"/>
                <a:gd name="connsiteX35" fmla="*/ 464116 w 555792"/>
                <a:gd name="connsiteY35" fmla="*/ 60954 h 129021"/>
                <a:gd name="connsiteX36" fmla="*/ 460862 w 555792"/>
                <a:gd name="connsiteY36" fmla="*/ 60796 h 129021"/>
                <a:gd name="connsiteX37" fmla="*/ 444318 w 555792"/>
                <a:gd name="connsiteY37" fmla="*/ 83150 h 129021"/>
                <a:gd name="connsiteX38" fmla="*/ 444318 w 555792"/>
                <a:gd name="connsiteY38" fmla="*/ 126954 h 129021"/>
                <a:gd name="connsiteX39" fmla="*/ 418977 w 555792"/>
                <a:gd name="connsiteY39" fmla="*/ 126954 h 129021"/>
                <a:gd name="connsiteX40" fmla="*/ 418977 w 555792"/>
                <a:gd name="connsiteY40" fmla="*/ 41285 h 129021"/>
                <a:gd name="connsiteX41" fmla="*/ 444318 w 555792"/>
                <a:gd name="connsiteY41" fmla="*/ 41285 h 129021"/>
                <a:gd name="connsiteX42" fmla="*/ 444318 w 555792"/>
                <a:gd name="connsiteY42" fmla="*/ 52785 h 129021"/>
                <a:gd name="connsiteX43" fmla="*/ 468871 w 555792"/>
                <a:gd name="connsiteY43" fmla="*/ 39863 h 129021"/>
                <a:gd name="connsiteX44" fmla="*/ 364489 w 555792"/>
                <a:gd name="connsiteY44" fmla="*/ 39863 h 129021"/>
                <a:gd name="connsiteX45" fmla="*/ 409656 w 555792"/>
                <a:gd name="connsiteY45" fmla="*/ 84443 h 129021"/>
                <a:gd name="connsiteX46" fmla="*/ 409656 w 555792"/>
                <a:gd name="connsiteY46" fmla="*/ 84572 h 129021"/>
                <a:gd name="connsiteX47" fmla="*/ 364227 w 555792"/>
                <a:gd name="connsiteY47" fmla="*/ 129021 h 129021"/>
                <a:gd name="connsiteX48" fmla="*/ 319059 w 555792"/>
                <a:gd name="connsiteY48" fmla="*/ 84313 h 129021"/>
                <a:gd name="connsiteX49" fmla="*/ 364489 w 555792"/>
                <a:gd name="connsiteY49" fmla="*/ 39863 h 129021"/>
                <a:gd name="connsiteX50" fmla="*/ 0 w 555792"/>
                <a:gd name="connsiteY50" fmla="*/ 7947 h 129021"/>
                <a:gd name="connsiteX51" fmla="*/ 27179 w 555792"/>
                <a:gd name="connsiteY51" fmla="*/ 7947 h 129021"/>
                <a:gd name="connsiteX52" fmla="*/ 27179 w 555792"/>
                <a:gd name="connsiteY52" fmla="*/ 54206 h 129021"/>
                <a:gd name="connsiteX53" fmla="*/ 75236 w 555792"/>
                <a:gd name="connsiteY53" fmla="*/ 54206 h 129021"/>
                <a:gd name="connsiteX54" fmla="*/ 75236 w 555792"/>
                <a:gd name="connsiteY54" fmla="*/ 7947 h 129021"/>
                <a:gd name="connsiteX55" fmla="*/ 102678 w 555792"/>
                <a:gd name="connsiteY55" fmla="*/ 7947 h 129021"/>
                <a:gd name="connsiteX56" fmla="*/ 102678 w 555792"/>
                <a:gd name="connsiteY56" fmla="*/ 126954 h 129021"/>
                <a:gd name="connsiteX57" fmla="*/ 75236 w 555792"/>
                <a:gd name="connsiteY57" fmla="*/ 126954 h 129021"/>
                <a:gd name="connsiteX58" fmla="*/ 75236 w 555792"/>
                <a:gd name="connsiteY58" fmla="*/ 77207 h 129021"/>
                <a:gd name="connsiteX59" fmla="*/ 27179 w 555792"/>
                <a:gd name="connsiteY59" fmla="*/ 77207 h 129021"/>
                <a:gd name="connsiteX60" fmla="*/ 27179 w 555792"/>
                <a:gd name="connsiteY60" fmla="*/ 126954 h 129021"/>
                <a:gd name="connsiteX61" fmla="*/ 0 w 555792"/>
                <a:gd name="connsiteY61" fmla="*/ 126954 h 129021"/>
                <a:gd name="connsiteX62" fmla="*/ 210736 w 555792"/>
                <a:gd name="connsiteY62" fmla="*/ 6526 h 129021"/>
                <a:gd name="connsiteX63" fmla="*/ 236078 w 555792"/>
                <a:gd name="connsiteY63" fmla="*/ 6526 h 129021"/>
                <a:gd name="connsiteX64" fmla="*/ 236078 w 555792"/>
                <a:gd name="connsiteY64" fmla="*/ 126955 h 129021"/>
                <a:gd name="connsiteX65" fmla="*/ 210736 w 555792"/>
                <a:gd name="connsiteY65" fmla="*/ 126955 h 129021"/>
                <a:gd name="connsiteX66" fmla="*/ 166619 w 555792"/>
                <a:gd name="connsiteY66" fmla="*/ 6526 h 129021"/>
                <a:gd name="connsiteX67" fmla="*/ 192093 w 555792"/>
                <a:gd name="connsiteY67" fmla="*/ 6526 h 129021"/>
                <a:gd name="connsiteX68" fmla="*/ 192093 w 555792"/>
                <a:gd name="connsiteY68" fmla="*/ 126955 h 129021"/>
                <a:gd name="connsiteX69" fmla="*/ 166619 w 555792"/>
                <a:gd name="connsiteY69" fmla="*/ 126955 h 129021"/>
                <a:gd name="connsiteX70" fmla="*/ 134188 w 555792"/>
                <a:gd name="connsiteY70" fmla="*/ 66 h 129021"/>
                <a:gd name="connsiteX71" fmla="*/ 134452 w 555792"/>
                <a:gd name="connsiteY71" fmla="*/ 66 h 129021"/>
                <a:gd name="connsiteX72" fmla="*/ 151030 w 555792"/>
                <a:gd name="connsiteY72" fmla="*/ 13600 h 129021"/>
                <a:gd name="connsiteX73" fmla="*/ 137277 w 555792"/>
                <a:gd name="connsiteY73" fmla="*/ 29915 h 129021"/>
                <a:gd name="connsiteX74" fmla="*/ 134452 w 555792"/>
                <a:gd name="connsiteY74" fmla="*/ 29915 h 129021"/>
                <a:gd name="connsiteX75" fmla="*/ 119350 w 555792"/>
                <a:gd name="connsiteY75" fmla="*/ 15316 h 129021"/>
                <a:gd name="connsiteX76" fmla="*/ 119352 w 555792"/>
                <a:gd name="connsiteY76" fmla="*/ 14926 h 129021"/>
                <a:gd name="connsiteX77" fmla="*/ 134188 w 555792"/>
                <a:gd name="connsiteY77" fmla="*/ 66 h 129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555792" h="129021">
                  <a:moveTo>
                    <a:pt x="364489" y="61830"/>
                  </a:moveTo>
                  <a:cubicBezTo>
                    <a:pt x="353167" y="62674"/>
                    <a:pt x="344170" y="71529"/>
                    <a:pt x="343312" y="82670"/>
                  </a:cubicBezTo>
                  <a:cubicBezTo>
                    <a:pt x="342353" y="95123"/>
                    <a:pt x="351834" y="105983"/>
                    <a:pt x="364489" y="106926"/>
                  </a:cubicBezTo>
                  <a:cubicBezTo>
                    <a:pt x="365644" y="107012"/>
                    <a:pt x="366805" y="107012"/>
                    <a:pt x="367960" y="106926"/>
                  </a:cubicBezTo>
                  <a:cubicBezTo>
                    <a:pt x="380614" y="105983"/>
                    <a:pt x="390095" y="95123"/>
                    <a:pt x="389136" y="82670"/>
                  </a:cubicBezTo>
                  <a:cubicBezTo>
                    <a:pt x="388178" y="70217"/>
                    <a:pt x="377143" y="60887"/>
                    <a:pt x="364489" y="61830"/>
                  </a:cubicBezTo>
                  <a:close/>
                  <a:moveTo>
                    <a:pt x="255246" y="41285"/>
                  </a:moveTo>
                  <a:lnTo>
                    <a:pt x="280588" y="41285"/>
                  </a:lnTo>
                  <a:lnTo>
                    <a:pt x="280588" y="126955"/>
                  </a:lnTo>
                  <a:lnTo>
                    <a:pt x="255246" y="126955"/>
                  </a:lnTo>
                  <a:close/>
                  <a:moveTo>
                    <a:pt x="121846" y="40770"/>
                  </a:moveTo>
                  <a:lnTo>
                    <a:pt x="147188" y="40770"/>
                  </a:lnTo>
                  <a:lnTo>
                    <a:pt x="147188" y="126439"/>
                  </a:lnTo>
                  <a:lnTo>
                    <a:pt x="121846" y="126439"/>
                  </a:lnTo>
                  <a:close/>
                  <a:moveTo>
                    <a:pt x="301329" y="40638"/>
                  </a:moveTo>
                  <a:cubicBezTo>
                    <a:pt x="301505" y="40635"/>
                    <a:pt x="301682" y="40635"/>
                    <a:pt x="301859" y="40638"/>
                  </a:cubicBezTo>
                  <a:cubicBezTo>
                    <a:pt x="310198" y="40638"/>
                    <a:pt x="316958" y="47292"/>
                    <a:pt x="316958" y="55499"/>
                  </a:cubicBezTo>
                  <a:cubicBezTo>
                    <a:pt x="316958" y="63706"/>
                    <a:pt x="310198" y="70359"/>
                    <a:pt x="301859" y="70359"/>
                  </a:cubicBezTo>
                  <a:cubicBezTo>
                    <a:pt x="293664" y="70433"/>
                    <a:pt x="286961" y="63956"/>
                    <a:pt x="286885" y="55893"/>
                  </a:cubicBezTo>
                  <a:cubicBezTo>
                    <a:pt x="286883" y="55718"/>
                    <a:pt x="286885" y="55544"/>
                    <a:pt x="286890" y="55370"/>
                  </a:cubicBezTo>
                  <a:cubicBezTo>
                    <a:pt x="286743" y="47379"/>
                    <a:pt x="293207" y="40783"/>
                    <a:pt x="301329" y="40638"/>
                  </a:cubicBezTo>
                  <a:close/>
                  <a:moveTo>
                    <a:pt x="468871" y="39863"/>
                  </a:moveTo>
                  <a:cubicBezTo>
                    <a:pt x="480066" y="38933"/>
                    <a:pt x="490621" y="45114"/>
                    <a:pt x="495131" y="55240"/>
                  </a:cubicBezTo>
                  <a:cubicBezTo>
                    <a:pt x="501466" y="45339"/>
                    <a:pt x="512660" y="39487"/>
                    <a:pt x="524542" y="39863"/>
                  </a:cubicBezTo>
                  <a:cubicBezTo>
                    <a:pt x="540599" y="38721"/>
                    <a:pt x="554556" y="50605"/>
                    <a:pt x="555716" y="66406"/>
                  </a:cubicBezTo>
                  <a:cubicBezTo>
                    <a:pt x="555772" y="67162"/>
                    <a:pt x="555797" y="67920"/>
                    <a:pt x="555792" y="68678"/>
                  </a:cubicBezTo>
                  <a:lnTo>
                    <a:pt x="555792" y="126954"/>
                  </a:lnTo>
                  <a:lnTo>
                    <a:pt x="530582" y="126954"/>
                  </a:lnTo>
                  <a:lnTo>
                    <a:pt x="530582" y="75914"/>
                  </a:lnTo>
                  <a:cubicBezTo>
                    <a:pt x="531848" y="68888"/>
                    <a:pt x="527086" y="62181"/>
                    <a:pt x="519946" y="60936"/>
                  </a:cubicBezTo>
                  <a:cubicBezTo>
                    <a:pt x="518776" y="60732"/>
                    <a:pt x="517584" y="60685"/>
                    <a:pt x="516402" y="60796"/>
                  </a:cubicBezTo>
                  <a:cubicBezTo>
                    <a:pt x="505898" y="60796"/>
                    <a:pt x="499858" y="69324"/>
                    <a:pt x="499858" y="83150"/>
                  </a:cubicBezTo>
                  <a:lnTo>
                    <a:pt x="499858" y="126954"/>
                  </a:lnTo>
                  <a:lnTo>
                    <a:pt x="474780" y="126954"/>
                  </a:lnTo>
                  <a:lnTo>
                    <a:pt x="474780" y="75914"/>
                  </a:lnTo>
                  <a:cubicBezTo>
                    <a:pt x="476033" y="68885"/>
                    <a:pt x="471259" y="62187"/>
                    <a:pt x="464116" y="60954"/>
                  </a:cubicBezTo>
                  <a:cubicBezTo>
                    <a:pt x="463043" y="60769"/>
                    <a:pt x="461949" y="60716"/>
                    <a:pt x="460862" y="60796"/>
                  </a:cubicBezTo>
                  <a:cubicBezTo>
                    <a:pt x="450489" y="60796"/>
                    <a:pt x="444318" y="69454"/>
                    <a:pt x="444318" y="83150"/>
                  </a:cubicBezTo>
                  <a:lnTo>
                    <a:pt x="444318" y="126954"/>
                  </a:lnTo>
                  <a:lnTo>
                    <a:pt x="418977" y="126954"/>
                  </a:lnTo>
                  <a:lnTo>
                    <a:pt x="418977" y="41285"/>
                  </a:lnTo>
                  <a:lnTo>
                    <a:pt x="444318" y="41285"/>
                  </a:lnTo>
                  <a:lnTo>
                    <a:pt x="444318" y="52785"/>
                  </a:lnTo>
                  <a:cubicBezTo>
                    <a:pt x="449587" y="44489"/>
                    <a:pt x="458935" y="39570"/>
                    <a:pt x="468871" y="39863"/>
                  </a:cubicBezTo>
                  <a:close/>
                  <a:moveTo>
                    <a:pt x="364489" y="39863"/>
                  </a:moveTo>
                  <a:cubicBezTo>
                    <a:pt x="389455" y="39935"/>
                    <a:pt x="409656" y="59873"/>
                    <a:pt x="409656" y="84443"/>
                  </a:cubicBezTo>
                  <a:cubicBezTo>
                    <a:pt x="409656" y="84486"/>
                    <a:pt x="409656" y="84529"/>
                    <a:pt x="409656" y="84572"/>
                  </a:cubicBezTo>
                  <a:cubicBezTo>
                    <a:pt x="409583" y="109192"/>
                    <a:pt x="389244" y="129093"/>
                    <a:pt x="364227" y="129021"/>
                  </a:cubicBezTo>
                  <a:cubicBezTo>
                    <a:pt x="339208" y="128950"/>
                    <a:pt x="318986" y="108934"/>
                    <a:pt x="319059" y="84313"/>
                  </a:cubicBezTo>
                  <a:cubicBezTo>
                    <a:pt x="319131" y="59693"/>
                    <a:pt x="339471" y="39792"/>
                    <a:pt x="364489" y="39863"/>
                  </a:cubicBezTo>
                  <a:close/>
                  <a:moveTo>
                    <a:pt x="0" y="7947"/>
                  </a:moveTo>
                  <a:lnTo>
                    <a:pt x="27179" y="7947"/>
                  </a:lnTo>
                  <a:lnTo>
                    <a:pt x="27179" y="54206"/>
                  </a:lnTo>
                  <a:lnTo>
                    <a:pt x="75236" y="54206"/>
                  </a:lnTo>
                  <a:lnTo>
                    <a:pt x="75236" y="7947"/>
                  </a:lnTo>
                  <a:lnTo>
                    <a:pt x="102678" y="7947"/>
                  </a:lnTo>
                  <a:lnTo>
                    <a:pt x="102678" y="126954"/>
                  </a:lnTo>
                  <a:lnTo>
                    <a:pt x="75236" y="126954"/>
                  </a:lnTo>
                  <a:lnTo>
                    <a:pt x="75236" y="77207"/>
                  </a:lnTo>
                  <a:lnTo>
                    <a:pt x="27179" y="77207"/>
                  </a:lnTo>
                  <a:lnTo>
                    <a:pt x="27179" y="126954"/>
                  </a:lnTo>
                  <a:lnTo>
                    <a:pt x="0" y="126954"/>
                  </a:lnTo>
                  <a:close/>
                  <a:moveTo>
                    <a:pt x="210736" y="6526"/>
                  </a:moveTo>
                  <a:lnTo>
                    <a:pt x="236078" y="6526"/>
                  </a:lnTo>
                  <a:lnTo>
                    <a:pt x="236078" y="126955"/>
                  </a:lnTo>
                  <a:lnTo>
                    <a:pt x="210736" y="126955"/>
                  </a:lnTo>
                  <a:close/>
                  <a:moveTo>
                    <a:pt x="166619" y="6526"/>
                  </a:moveTo>
                  <a:lnTo>
                    <a:pt x="192093" y="6526"/>
                  </a:lnTo>
                  <a:lnTo>
                    <a:pt x="192093" y="126955"/>
                  </a:lnTo>
                  <a:lnTo>
                    <a:pt x="166619" y="126955"/>
                  </a:lnTo>
                  <a:close/>
                  <a:moveTo>
                    <a:pt x="134188" y="66"/>
                  </a:moveTo>
                  <a:cubicBezTo>
                    <a:pt x="134276" y="65"/>
                    <a:pt x="134364" y="65"/>
                    <a:pt x="134452" y="66"/>
                  </a:cubicBezTo>
                  <a:cubicBezTo>
                    <a:pt x="142828" y="-702"/>
                    <a:pt x="150250" y="5357"/>
                    <a:pt x="151030" y="13600"/>
                  </a:cubicBezTo>
                  <a:cubicBezTo>
                    <a:pt x="151810" y="21842"/>
                    <a:pt x="145653" y="29148"/>
                    <a:pt x="137277" y="29915"/>
                  </a:cubicBezTo>
                  <a:cubicBezTo>
                    <a:pt x="136338" y="30002"/>
                    <a:pt x="135392" y="30002"/>
                    <a:pt x="134452" y="29915"/>
                  </a:cubicBezTo>
                  <a:cubicBezTo>
                    <a:pt x="126185" y="29988"/>
                    <a:pt x="119424" y="23451"/>
                    <a:pt x="119350" y="15316"/>
                  </a:cubicBezTo>
                  <a:cubicBezTo>
                    <a:pt x="119349" y="15186"/>
                    <a:pt x="119349" y="15056"/>
                    <a:pt x="119352" y="14926"/>
                  </a:cubicBezTo>
                  <a:cubicBezTo>
                    <a:pt x="119279" y="6790"/>
                    <a:pt x="125921" y="137"/>
                    <a:pt x="134188" y="66"/>
                  </a:cubicBezTo>
                  <a:close/>
                </a:path>
              </a:pathLst>
            </a:custGeom>
            <a:solidFill>
              <a:srgbClr val="000839"/>
            </a:solidFill>
            <a:ln w="9525" cap="flat">
              <a:noFill/>
              <a:prstDash val="solid"/>
              <a:miter/>
            </a:ln>
          </p:spPr>
          <p:txBody>
            <a:bodyPr wrap="square" rtlCol="0" anchor="ctr">
              <a:noAutofit/>
            </a:bodyPr>
            <a:lstStyle/>
            <a:p>
              <a:endParaRPr lang="en-US"/>
            </a:p>
          </p:txBody>
        </p:sp>
      </p:grpSp>
      <p:sp>
        <p:nvSpPr>
          <p:cNvPr id="38" name="Rectangle 37">
            <a:extLst>
              <a:ext uri="{FF2B5EF4-FFF2-40B4-BE49-F238E27FC236}">
                <a16:creationId xmlns:a16="http://schemas.microsoft.com/office/drawing/2014/main" id="{6D170CFC-AA4D-3B40-B02A-4EB2C699913A}"/>
              </a:ext>
            </a:extLst>
          </p:cNvPr>
          <p:cNvSpPr/>
          <p:nvPr/>
        </p:nvSpPr>
        <p:spPr>
          <a:xfrm>
            <a:off x="5990926" y="5353456"/>
            <a:ext cx="6198025" cy="9166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DCD989C2-3DCD-CE4E-B74B-087C92E22E8F}"/>
              </a:ext>
            </a:extLst>
          </p:cNvPr>
          <p:cNvSpPr/>
          <p:nvPr/>
        </p:nvSpPr>
        <p:spPr>
          <a:xfrm>
            <a:off x="-9848" y="5353456"/>
            <a:ext cx="6101054" cy="9166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4E1E3E6E-F2D9-0641-8FF7-88D4EE68A469}"/>
              </a:ext>
            </a:extLst>
          </p:cNvPr>
          <p:cNvSpPr/>
          <p:nvPr/>
        </p:nvSpPr>
        <p:spPr>
          <a:xfrm>
            <a:off x="1018092" y="2315691"/>
            <a:ext cx="2470543" cy="151790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a:extLst>
              <a:ext uri="{FF2B5EF4-FFF2-40B4-BE49-F238E27FC236}">
                <a16:creationId xmlns:a16="http://schemas.microsoft.com/office/drawing/2014/main" id="{9D52C935-6458-244F-A4F3-01995DC90CEE}"/>
              </a:ext>
            </a:extLst>
          </p:cNvPr>
          <p:cNvSpPr/>
          <p:nvPr/>
        </p:nvSpPr>
        <p:spPr>
          <a:xfrm>
            <a:off x="4049527" y="2315691"/>
            <a:ext cx="2470543" cy="1517904"/>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a:extLst>
              <a:ext uri="{FF2B5EF4-FFF2-40B4-BE49-F238E27FC236}">
                <a16:creationId xmlns:a16="http://schemas.microsoft.com/office/drawing/2014/main" id="{BB2118FC-3393-4242-AE9D-4947367880CD}"/>
              </a:ext>
            </a:extLst>
          </p:cNvPr>
          <p:cNvSpPr/>
          <p:nvPr/>
        </p:nvSpPr>
        <p:spPr>
          <a:xfrm>
            <a:off x="7090901" y="2315691"/>
            <a:ext cx="2470543" cy="151790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a:extLst>
              <a:ext uri="{FF2B5EF4-FFF2-40B4-BE49-F238E27FC236}">
                <a16:creationId xmlns:a16="http://schemas.microsoft.com/office/drawing/2014/main" id="{B64EAE82-19AC-804F-B552-D389014C3174}"/>
              </a:ext>
            </a:extLst>
          </p:cNvPr>
          <p:cNvSpPr/>
          <p:nvPr/>
        </p:nvSpPr>
        <p:spPr>
          <a:xfrm>
            <a:off x="10181971" y="2315691"/>
            <a:ext cx="2006981" cy="151790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41F718AF-0429-9F4A-9CB1-BABF2C558945}"/>
              </a:ext>
            </a:extLst>
          </p:cNvPr>
          <p:cNvSpPr/>
          <p:nvPr/>
        </p:nvSpPr>
        <p:spPr>
          <a:xfrm>
            <a:off x="-9846" y="3833595"/>
            <a:ext cx="2293759" cy="15179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a:extLst>
              <a:ext uri="{FF2B5EF4-FFF2-40B4-BE49-F238E27FC236}">
                <a16:creationId xmlns:a16="http://schemas.microsoft.com/office/drawing/2014/main" id="{FE82DE46-5B0F-AA41-957A-104C8DC67D4E}"/>
              </a:ext>
            </a:extLst>
          </p:cNvPr>
          <p:cNvSpPr/>
          <p:nvPr/>
        </p:nvSpPr>
        <p:spPr>
          <a:xfrm>
            <a:off x="2574328" y="3833595"/>
            <a:ext cx="2293759" cy="151790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32221C38-F6A5-354E-B6E5-A7FC3B5D5063}"/>
              </a:ext>
            </a:extLst>
          </p:cNvPr>
          <p:cNvSpPr/>
          <p:nvPr/>
        </p:nvSpPr>
        <p:spPr>
          <a:xfrm>
            <a:off x="5625641" y="3833595"/>
            <a:ext cx="2293759" cy="151790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46">
            <a:extLst>
              <a:ext uri="{FF2B5EF4-FFF2-40B4-BE49-F238E27FC236}">
                <a16:creationId xmlns:a16="http://schemas.microsoft.com/office/drawing/2014/main" id="{156F1F43-F7CB-3D4F-A090-9510B93E7015}"/>
              </a:ext>
            </a:extLst>
          </p:cNvPr>
          <p:cNvSpPr/>
          <p:nvPr/>
        </p:nvSpPr>
        <p:spPr>
          <a:xfrm>
            <a:off x="8706771" y="3833595"/>
            <a:ext cx="2293759" cy="151790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Text Placeholder 3">
            <a:extLst>
              <a:ext uri="{FF2B5EF4-FFF2-40B4-BE49-F238E27FC236}">
                <a16:creationId xmlns:a16="http://schemas.microsoft.com/office/drawing/2014/main" id="{3542621B-B86B-BE46-8F2C-C9EB17171550}"/>
              </a:ext>
            </a:extLst>
          </p:cNvPr>
          <p:cNvSpPr>
            <a:spLocks noGrp="1"/>
          </p:cNvSpPr>
          <p:nvPr>
            <p:ph type="body" sz="quarter" idx="13"/>
          </p:nvPr>
        </p:nvSpPr>
        <p:spPr>
          <a:xfrm>
            <a:off x="688350" y="498222"/>
            <a:ext cx="1997663" cy="244682"/>
          </a:xfrm>
          <a:prstGeom prst="rect">
            <a:avLst/>
          </a:prstGeom>
          <a:solidFill>
            <a:schemeClr val="accent1"/>
          </a:solidFill>
          <a:ln>
            <a:noFill/>
          </a:ln>
        </p:spPr>
        <p:txBody>
          <a:bodyPr wrap="none" anchor="ctr">
            <a:spAutoFit/>
          </a:bodyPr>
          <a:lstStyle>
            <a:lvl1pPr marL="0" indent="0">
              <a:buNone/>
              <a:defRPr sz="1100" b="1" cap="all" spc="50" baseline="0">
                <a:solidFill>
                  <a:schemeClr val="bg1"/>
                </a:solidFill>
                <a:latin typeface="+mj-lt"/>
              </a:defRPr>
            </a:lvl1pPr>
          </a:lstStyle>
          <a:p>
            <a:pPr lvl="0"/>
            <a:r>
              <a:rPr lang="en-US"/>
              <a:t>Edit Master text styles</a:t>
            </a:r>
          </a:p>
        </p:txBody>
      </p:sp>
      <p:sp>
        <p:nvSpPr>
          <p:cNvPr id="73" name="Picture Placeholder 9">
            <a:extLst>
              <a:ext uri="{FF2B5EF4-FFF2-40B4-BE49-F238E27FC236}">
                <a16:creationId xmlns:a16="http://schemas.microsoft.com/office/drawing/2014/main" id="{91AE2D4E-D4EC-3A45-9BD0-77D02AA034CB}"/>
              </a:ext>
            </a:extLst>
          </p:cNvPr>
          <p:cNvSpPr>
            <a:spLocks noGrp="1"/>
          </p:cNvSpPr>
          <p:nvPr>
            <p:ph type="pic" sz="quarter" idx="17"/>
          </p:nvPr>
        </p:nvSpPr>
        <p:spPr>
          <a:xfrm>
            <a:off x="0" y="2315691"/>
            <a:ext cx="1517904" cy="1517904"/>
          </a:xfrm>
          <a:prstGeom prst="rect">
            <a:avLst/>
          </a:prstGeom>
          <a:solidFill>
            <a:schemeClr val="accent5">
              <a:lumMod val="20000"/>
              <a:lumOff val="80000"/>
            </a:schemeClr>
          </a:solidFill>
        </p:spPr>
        <p:txBody>
          <a:bodyPr anchor="ctr"/>
          <a:lstStyle>
            <a:lvl1pPr marL="0" indent="0" algn="ctr">
              <a:buNone/>
              <a:defRPr sz="1800"/>
            </a:lvl1pPr>
          </a:lstStyle>
          <a:p>
            <a:r>
              <a:rPr lang="en-US"/>
              <a:t>Click icon to add picture</a:t>
            </a:r>
          </a:p>
        </p:txBody>
      </p:sp>
      <p:sp>
        <p:nvSpPr>
          <p:cNvPr id="74" name="Picture Placeholder 9">
            <a:extLst>
              <a:ext uri="{FF2B5EF4-FFF2-40B4-BE49-F238E27FC236}">
                <a16:creationId xmlns:a16="http://schemas.microsoft.com/office/drawing/2014/main" id="{958FD798-7667-7C48-9153-EB3757C10576}"/>
              </a:ext>
            </a:extLst>
          </p:cNvPr>
          <p:cNvSpPr>
            <a:spLocks noGrp="1"/>
          </p:cNvSpPr>
          <p:nvPr>
            <p:ph type="pic" sz="quarter" idx="24"/>
          </p:nvPr>
        </p:nvSpPr>
        <p:spPr>
          <a:xfrm>
            <a:off x="3048870" y="2315691"/>
            <a:ext cx="1517904" cy="1517904"/>
          </a:xfrm>
          <a:prstGeom prst="rect">
            <a:avLst/>
          </a:prstGeom>
          <a:solidFill>
            <a:schemeClr val="accent5">
              <a:lumMod val="20000"/>
              <a:lumOff val="80000"/>
            </a:schemeClr>
          </a:solidFill>
        </p:spPr>
        <p:txBody>
          <a:bodyPr anchor="ctr"/>
          <a:lstStyle>
            <a:lvl1pPr marL="0" indent="0" algn="ctr">
              <a:buNone/>
              <a:defRPr sz="1800"/>
            </a:lvl1pPr>
          </a:lstStyle>
          <a:p>
            <a:r>
              <a:rPr lang="en-US"/>
              <a:t>Click icon to add picture</a:t>
            </a:r>
          </a:p>
        </p:txBody>
      </p:sp>
      <p:sp>
        <p:nvSpPr>
          <p:cNvPr id="77" name="Picture Placeholder 9">
            <a:extLst>
              <a:ext uri="{FF2B5EF4-FFF2-40B4-BE49-F238E27FC236}">
                <a16:creationId xmlns:a16="http://schemas.microsoft.com/office/drawing/2014/main" id="{DE2DE8DC-C38A-6044-9B28-72BB171D55EC}"/>
              </a:ext>
            </a:extLst>
          </p:cNvPr>
          <p:cNvSpPr>
            <a:spLocks noGrp="1"/>
          </p:cNvSpPr>
          <p:nvPr>
            <p:ph type="pic" sz="quarter" idx="27"/>
          </p:nvPr>
        </p:nvSpPr>
        <p:spPr>
          <a:xfrm>
            <a:off x="6097740" y="2315691"/>
            <a:ext cx="1517904" cy="1517904"/>
          </a:xfrm>
          <a:prstGeom prst="rect">
            <a:avLst/>
          </a:prstGeom>
          <a:solidFill>
            <a:schemeClr val="accent5">
              <a:lumMod val="20000"/>
              <a:lumOff val="80000"/>
            </a:schemeClr>
          </a:solidFill>
        </p:spPr>
        <p:txBody>
          <a:bodyPr anchor="ctr"/>
          <a:lstStyle>
            <a:lvl1pPr marL="0" indent="0" algn="ctr">
              <a:buNone/>
              <a:defRPr sz="1800"/>
            </a:lvl1pPr>
          </a:lstStyle>
          <a:p>
            <a:r>
              <a:rPr lang="en-US"/>
              <a:t>Click icon to add picture</a:t>
            </a:r>
          </a:p>
        </p:txBody>
      </p:sp>
      <p:sp>
        <p:nvSpPr>
          <p:cNvPr id="78" name="Picture Placeholder 9">
            <a:extLst>
              <a:ext uri="{FF2B5EF4-FFF2-40B4-BE49-F238E27FC236}">
                <a16:creationId xmlns:a16="http://schemas.microsoft.com/office/drawing/2014/main" id="{4AC50232-A9EA-AD47-8C80-C76B944583AE}"/>
              </a:ext>
            </a:extLst>
          </p:cNvPr>
          <p:cNvSpPr>
            <a:spLocks noGrp="1"/>
          </p:cNvSpPr>
          <p:nvPr>
            <p:ph type="pic" sz="quarter" idx="28"/>
          </p:nvPr>
        </p:nvSpPr>
        <p:spPr>
          <a:xfrm>
            <a:off x="9146610" y="2315691"/>
            <a:ext cx="1517904" cy="1517904"/>
          </a:xfrm>
          <a:prstGeom prst="rect">
            <a:avLst/>
          </a:prstGeom>
          <a:solidFill>
            <a:schemeClr val="accent5">
              <a:lumMod val="20000"/>
              <a:lumOff val="80000"/>
            </a:schemeClr>
          </a:solidFill>
        </p:spPr>
        <p:txBody>
          <a:bodyPr anchor="ctr"/>
          <a:lstStyle>
            <a:lvl1pPr marL="0" indent="0" algn="ctr">
              <a:buNone/>
              <a:defRPr sz="1800"/>
            </a:lvl1pPr>
          </a:lstStyle>
          <a:p>
            <a:r>
              <a:rPr lang="en-US"/>
              <a:t>Click icon to add picture</a:t>
            </a:r>
          </a:p>
        </p:txBody>
      </p:sp>
      <p:sp>
        <p:nvSpPr>
          <p:cNvPr id="81" name="Picture Placeholder 9">
            <a:extLst>
              <a:ext uri="{FF2B5EF4-FFF2-40B4-BE49-F238E27FC236}">
                <a16:creationId xmlns:a16="http://schemas.microsoft.com/office/drawing/2014/main" id="{B94D4411-5461-EF47-AA50-8A4B99932845}"/>
              </a:ext>
            </a:extLst>
          </p:cNvPr>
          <p:cNvSpPr>
            <a:spLocks noGrp="1"/>
          </p:cNvSpPr>
          <p:nvPr>
            <p:ph type="pic" sz="quarter" idx="32"/>
          </p:nvPr>
        </p:nvSpPr>
        <p:spPr>
          <a:xfrm>
            <a:off x="1524435" y="3833595"/>
            <a:ext cx="1517904" cy="1517904"/>
          </a:xfrm>
          <a:prstGeom prst="rect">
            <a:avLst/>
          </a:prstGeom>
          <a:solidFill>
            <a:schemeClr val="accent5">
              <a:lumMod val="20000"/>
              <a:lumOff val="80000"/>
            </a:schemeClr>
          </a:solidFill>
        </p:spPr>
        <p:txBody>
          <a:bodyPr anchor="ctr"/>
          <a:lstStyle>
            <a:lvl1pPr marL="0" indent="0" algn="ctr">
              <a:buNone/>
              <a:defRPr sz="1800"/>
            </a:lvl1pPr>
          </a:lstStyle>
          <a:p>
            <a:r>
              <a:rPr lang="en-US"/>
              <a:t>Click icon to add picture</a:t>
            </a:r>
          </a:p>
        </p:txBody>
      </p:sp>
      <p:sp>
        <p:nvSpPr>
          <p:cNvPr id="82" name="Picture Placeholder 9">
            <a:extLst>
              <a:ext uri="{FF2B5EF4-FFF2-40B4-BE49-F238E27FC236}">
                <a16:creationId xmlns:a16="http://schemas.microsoft.com/office/drawing/2014/main" id="{0CDC03E9-58CB-0840-BF42-823076F4E646}"/>
              </a:ext>
            </a:extLst>
          </p:cNvPr>
          <p:cNvSpPr>
            <a:spLocks noGrp="1"/>
          </p:cNvSpPr>
          <p:nvPr>
            <p:ph type="pic" sz="quarter" idx="33"/>
          </p:nvPr>
        </p:nvSpPr>
        <p:spPr>
          <a:xfrm>
            <a:off x="4573305" y="3833595"/>
            <a:ext cx="1517904" cy="1517904"/>
          </a:xfrm>
          <a:prstGeom prst="rect">
            <a:avLst/>
          </a:prstGeom>
          <a:solidFill>
            <a:schemeClr val="accent5">
              <a:lumMod val="20000"/>
              <a:lumOff val="80000"/>
            </a:schemeClr>
          </a:solidFill>
        </p:spPr>
        <p:txBody>
          <a:bodyPr anchor="ctr"/>
          <a:lstStyle>
            <a:lvl1pPr marL="0" indent="0" algn="ctr">
              <a:buNone/>
              <a:defRPr sz="1800"/>
            </a:lvl1pPr>
          </a:lstStyle>
          <a:p>
            <a:r>
              <a:rPr lang="en-US"/>
              <a:t>Click icon to add picture</a:t>
            </a:r>
          </a:p>
        </p:txBody>
      </p:sp>
      <p:sp>
        <p:nvSpPr>
          <p:cNvPr id="85" name="Picture Placeholder 9">
            <a:extLst>
              <a:ext uri="{FF2B5EF4-FFF2-40B4-BE49-F238E27FC236}">
                <a16:creationId xmlns:a16="http://schemas.microsoft.com/office/drawing/2014/main" id="{DE065AB9-515C-DB4B-848B-EDB9950FD77A}"/>
              </a:ext>
            </a:extLst>
          </p:cNvPr>
          <p:cNvSpPr>
            <a:spLocks noGrp="1"/>
          </p:cNvSpPr>
          <p:nvPr>
            <p:ph type="pic" sz="quarter" idx="36"/>
          </p:nvPr>
        </p:nvSpPr>
        <p:spPr>
          <a:xfrm>
            <a:off x="7622175" y="3833595"/>
            <a:ext cx="1517904" cy="1517904"/>
          </a:xfrm>
          <a:prstGeom prst="rect">
            <a:avLst/>
          </a:prstGeom>
          <a:solidFill>
            <a:schemeClr val="accent5">
              <a:lumMod val="20000"/>
              <a:lumOff val="80000"/>
            </a:schemeClr>
          </a:solidFill>
        </p:spPr>
        <p:txBody>
          <a:bodyPr anchor="ctr"/>
          <a:lstStyle>
            <a:lvl1pPr marL="0" indent="0" algn="ctr">
              <a:buNone/>
              <a:defRPr sz="1800"/>
            </a:lvl1pPr>
          </a:lstStyle>
          <a:p>
            <a:r>
              <a:rPr lang="en-US"/>
              <a:t>Click icon to add picture</a:t>
            </a:r>
          </a:p>
        </p:txBody>
      </p:sp>
      <p:sp>
        <p:nvSpPr>
          <p:cNvPr id="86" name="Picture Placeholder 9">
            <a:extLst>
              <a:ext uri="{FF2B5EF4-FFF2-40B4-BE49-F238E27FC236}">
                <a16:creationId xmlns:a16="http://schemas.microsoft.com/office/drawing/2014/main" id="{C7E8DB01-16AD-0545-9F0A-79C1EF786214}"/>
              </a:ext>
            </a:extLst>
          </p:cNvPr>
          <p:cNvSpPr>
            <a:spLocks noGrp="1"/>
          </p:cNvSpPr>
          <p:nvPr>
            <p:ph type="pic" sz="quarter" idx="37"/>
          </p:nvPr>
        </p:nvSpPr>
        <p:spPr>
          <a:xfrm>
            <a:off x="10671048" y="3833595"/>
            <a:ext cx="1517904" cy="1517904"/>
          </a:xfrm>
          <a:prstGeom prst="rect">
            <a:avLst/>
          </a:prstGeom>
          <a:solidFill>
            <a:schemeClr val="accent5">
              <a:lumMod val="20000"/>
              <a:lumOff val="80000"/>
            </a:schemeClr>
          </a:solidFill>
        </p:spPr>
        <p:txBody>
          <a:bodyPr anchor="ctr"/>
          <a:lstStyle>
            <a:lvl1pPr marL="0" indent="0" algn="ctr">
              <a:buNone/>
              <a:defRPr sz="1800"/>
            </a:lvl1pPr>
          </a:lstStyle>
          <a:p>
            <a:r>
              <a:rPr lang="en-US"/>
              <a:t>Click icon to add picture</a:t>
            </a:r>
          </a:p>
        </p:txBody>
      </p:sp>
      <p:sp>
        <p:nvSpPr>
          <p:cNvPr id="87" name="Text Placeholder 2">
            <a:extLst>
              <a:ext uri="{FF2B5EF4-FFF2-40B4-BE49-F238E27FC236}">
                <a16:creationId xmlns:a16="http://schemas.microsoft.com/office/drawing/2014/main" id="{69D04AC2-5281-EA46-98FC-86AC14416F0C}"/>
              </a:ext>
            </a:extLst>
          </p:cNvPr>
          <p:cNvSpPr>
            <a:spLocks noGrp="1"/>
          </p:cNvSpPr>
          <p:nvPr>
            <p:ph type="body" sz="quarter" idx="47"/>
          </p:nvPr>
        </p:nvSpPr>
        <p:spPr>
          <a:xfrm>
            <a:off x="1524000" y="2431115"/>
            <a:ext cx="1361480" cy="796925"/>
          </a:xfrm>
          <a:prstGeom prst="rect">
            <a:avLst/>
          </a:prstGeom>
        </p:spPr>
        <p:txBody>
          <a:bodyPr/>
          <a:lstStyle>
            <a:lvl1pPr marL="0" indent="0">
              <a:lnSpc>
                <a:spcPct val="85000"/>
              </a:lnSpc>
              <a:buNone/>
              <a:defRPr sz="1200" b="1" cap="all" baseline="0">
                <a:solidFill>
                  <a:schemeClr val="bg1"/>
                </a:solidFill>
                <a:latin typeface="+mj-lt"/>
              </a:defRPr>
            </a:lvl1pPr>
            <a:lvl2pPr marL="457200" indent="0">
              <a:lnSpc>
                <a:spcPts val="1100"/>
              </a:lnSpc>
              <a:buNone/>
              <a:defRPr sz="1100" b="1">
                <a:latin typeface="+mj-lt"/>
              </a:defRPr>
            </a:lvl2pPr>
            <a:lvl3pPr marL="914400" indent="0">
              <a:lnSpc>
                <a:spcPts val="1100"/>
              </a:lnSpc>
              <a:buNone/>
              <a:defRPr sz="1100" b="1">
                <a:latin typeface="+mj-lt"/>
              </a:defRPr>
            </a:lvl3pPr>
            <a:lvl4pPr marL="1371600" indent="0">
              <a:lnSpc>
                <a:spcPts val="1100"/>
              </a:lnSpc>
              <a:buNone/>
              <a:defRPr sz="1100" b="1">
                <a:latin typeface="+mj-lt"/>
              </a:defRPr>
            </a:lvl4pPr>
            <a:lvl5pPr marL="1828800" indent="0">
              <a:lnSpc>
                <a:spcPts val="1100"/>
              </a:lnSpc>
              <a:buNone/>
              <a:defRPr sz="1100" b="1">
                <a:latin typeface="+mj-lt"/>
              </a:defRPr>
            </a:lvl5pPr>
          </a:lstStyle>
          <a:p>
            <a:pPr lvl="0"/>
            <a:r>
              <a:rPr lang="en-US"/>
              <a:t>Edit Master text styles</a:t>
            </a:r>
          </a:p>
        </p:txBody>
      </p:sp>
      <p:sp>
        <p:nvSpPr>
          <p:cNvPr id="89" name="Text Placeholder 2">
            <a:extLst>
              <a:ext uri="{FF2B5EF4-FFF2-40B4-BE49-F238E27FC236}">
                <a16:creationId xmlns:a16="http://schemas.microsoft.com/office/drawing/2014/main" id="{244A1B0C-9615-8240-B747-51C4964262CF}"/>
              </a:ext>
            </a:extLst>
          </p:cNvPr>
          <p:cNvSpPr>
            <a:spLocks noGrp="1"/>
          </p:cNvSpPr>
          <p:nvPr>
            <p:ph type="body" sz="quarter" idx="55"/>
          </p:nvPr>
        </p:nvSpPr>
        <p:spPr>
          <a:xfrm>
            <a:off x="4585251" y="2431115"/>
            <a:ext cx="1349099" cy="796925"/>
          </a:xfrm>
          <a:prstGeom prst="rect">
            <a:avLst/>
          </a:prstGeom>
        </p:spPr>
        <p:txBody>
          <a:bodyPr/>
          <a:lstStyle>
            <a:lvl1pPr marL="0" indent="0">
              <a:lnSpc>
                <a:spcPct val="85000"/>
              </a:lnSpc>
              <a:buNone/>
              <a:defRPr sz="1200" b="1" cap="all" baseline="0">
                <a:solidFill>
                  <a:schemeClr val="bg1"/>
                </a:solidFill>
                <a:latin typeface="+mj-lt"/>
              </a:defRPr>
            </a:lvl1pPr>
            <a:lvl2pPr marL="457200" indent="0">
              <a:lnSpc>
                <a:spcPts val="1100"/>
              </a:lnSpc>
              <a:buNone/>
              <a:defRPr sz="1100" b="1">
                <a:latin typeface="+mj-lt"/>
              </a:defRPr>
            </a:lvl2pPr>
            <a:lvl3pPr marL="914400" indent="0">
              <a:lnSpc>
                <a:spcPts val="1100"/>
              </a:lnSpc>
              <a:buNone/>
              <a:defRPr sz="1100" b="1">
                <a:latin typeface="+mj-lt"/>
              </a:defRPr>
            </a:lvl3pPr>
            <a:lvl4pPr marL="1371600" indent="0">
              <a:lnSpc>
                <a:spcPts val="1100"/>
              </a:lnSpc>
              <a:buNone/>
              <a:defRPr sz="1100" b="1">
                <a:latin typeface="+mj-lt"/>
              </a:defRPr>
            </a:lvl4pPr>
            <a:lvl5pPr marL="1828800" indent="0">
              <a:lnSpc>
                <a:spcPts val="1100"/>
              </a:lnSpc>
              <a:buNone/>
              <a:defRPr sz="1100" b="1">
                <a:latin typeface="+mj-lt"/>
              </a:defRPr>
            </a:lvl5pPr>
          </a:lstStyle>
          <a:p>
            <a:pPr lvl="0"/>
            <a:r>
              <a:rPr lang="en-US"/>
              <a:t>Edit Master text styles</a:t>
            </a:r>
          </a:p>
        </p:txBody>
      </p:sp>
      <p:sp>
        <p:nvSpPr>
          <p:cNvPr id="90" name="Text Placeholder 2">
            <a:extLst>
              <a:ext uri="{FF2B5EF4-FFF2-40B4-BE49-F238E27FC236}">
                <a16:creationId xmlns:a16="http://schemas.microsoft.com/office/drawing/2014/main" id="{25C1D909-589E-FA43-A21C-69DB26F330C9}"/>
              </a:ext>
            </a:extLst>
          </p:cNvPr>
          <p:cNvSpPr>
            <a:spLocks noGrp="1"/>
          </p:cNvSpPr>
          <p:nvPr>
            <p:ph type="body" sz="quarter" idx="56"/>
          </p:nvPr>
        </p:nvSpPr>
        <p:spPr>
          <a:xfrm>
            <a:off x="7633251" y="2431115"/>
            <a:ext cx="1349099" cy="796925"/>
          </a:xfrm>
          <a:prstGeom prst="rect">
            <a:avLst/>
          </a:prstGeom>
        </p:spPr>
        <p:txBody>
          <a:bodyPr/>
          <a:lstStyle>
            <a:lvl1pPr marL="0" indent="0">
              <a:lnSpc>
                <a:spcPct val="85000"/>
              </a:lnSpc>
              <a:buNone/>
              <a:defRPr sz="1200" b="1" cap="all" baseline="0">
                <a:solidFill>
                  <a:schemeClr val="bg1"/>
                </a:solidFill>
                <a:latin typeface="+mj-lt"/>
              </a:defRPr>
            </a:lvl1pPr>
            <a:lvl2pPr marL="457200" indent="0">
              <a:lnSpc>
                <a:spcPts val="1100"/>
              </a:lnSpc>
              <a:buNone/>
              <a:defRPr sz="1100" b="1">
                <a:latin typeface="+mj-lt"/>
              </a:defRPr>
            </a:lvl2pPr>
            <a:lvl3pPr marL="914400" indent="0">
              <a:lnSpc>
                <a:spcPts val="1100"/>
              </a:lnSpc>
              <a:buNone/>
              <a:defRPr sz="1100" b="1">
                <a:latin typeface="+mj-lt"/>
              </a:defRPr>
            </a:lvl3pPr>
            <a:lvl4pPr marL="1371600" indent="0">
              <a:lnSpc>
                <a:spcPts val="1100"/>
              </a:lnSpc>
              <a:buNone/>
              <a:defRPr sz="1100" b="1">
                <a:latin typeface="+mj-lt"/>
              </a:defRPr>
            </a:lvl4pPr>
            <a:lvl5pPr marL="1828800" indent="0">
              <a:lnSpc>
                <a:spcPts val="1100"/>
              </a:lnSpc>
              <a:buNone/>
              <a:defRPr sz="1100" b="1">
                <a:latin typeface="+mj-lt"/>
              </a:defRPr>
            </a:lvl5pPr>
          </a:lstStyle>
          <a:p>
            <a:pPr lvl="0"/>
            <a:r>
              <a:rPr lang="en-US"/>
              <a:t>Edit Master text styles</a:t>
            </a:r>
          </a:p>
        </p:txBody>
      </p:sp>
      <p:sp>
        <p:nvSpPr>
          <p:cNvPr id="91" name="Text Placeholder 2">
            <a:extLst>
              <a:ext uri="{FF2B5EF4-FFF2-40B4-BE49-F238E27FC236}">
                <a16:creationId xmlns:a16="http://schemas.microsoft.com/office/drawing/2014/main" id="{20626D25-64E2-6B4A-8D0C-B612E3169706}"/>
              </a:ext>
            </a:extLst>
          </p:cNvPr>
          <p:cNvSpPr>
            <a:spLocks noGrp="1"/>
          </p:cNvSpPr>
          <p:nvPr>
            <p:ph type="body" sz="quarter" idx="57"/>
          </p:nvPr>
        </p:nvSpPr>
        <p:spPr>
          <a:xfrm>
            <a:off x="10681251" y="2431115"/>
            <a:ext cx="1349099" cy="796925"/>
          </a:xfrm>
          <a:prstGeom prst="rect">
            <a:avLst/>
          </a:prstGeom>
        </p:spPr>
        <p:txBody>
          <a:bodyPr/>
          <a:lstStyle>
            <a:lvl1pPr marL="0" indent="0">
              <a:lnSpc>
                <a:spcPct val="85000"/>
              </a:lnSpc>
              <a:buNone/>
              <a:defRPr sz="1200" b="1" cap="all" baseline="0">
                <a:solidFill>
                  <a:schemeClr val="bg1"/>
                </a:solidFill>
                <a:latin typeface="+mj-lt"/>
              </a:defRPr>
            </a:lvl1pPr>
            <a:lvl2pPr marL="457200" indent="0">
              <a:lnSpc>
                <a:spcPts val="1100"/>
              </a:lnSpc>
              <a:buNone/>
              <a:defRPr sz="1100" b="1">
                <a:latin typeface="+mj-lt"/>
              </a:defRPr>
            </a:lvl2pPr>
            <a:lvl3pPr marL="914400" indent="0">
              <a:lnSpc>
                <a:spcPts val="1100"/>
              </a:lnSpc>
              <a:buNone/>
              <a:defRPr sz="1100" b="1">
                <a:latin typeface="+mj-lt"/>
              </a:defRPr>
            </a:lvl3pPr>
            <a:lvl4pPr marL="1371600" indent="0">
              <a:lnSpc>
                <a:spcPts val="1100"/>
              </a:lnSpc>
              <a:buNone/>
              <a:defRPr sz="1100" b="1">
                <a:latin typeface="+mj-lt"/>
              </a:defRPr>
            </a:lvl4pPr>
            <a:lvl5pPr marL="1828800" indent="0">
              <a:lnSpc>
                <a:spcPts val="1100"/>
              </a:lnSpc>
              <a:buNone/>
              <a:defRPr sz="1100" b="1">
                <a:latin typeface="+mj-lt"/>
              </a:defRPr>
            </a:lvl5pPr>
          </a:lstStyle>
          <a:p>
            <a:pPr lvl="0"/>
            <a:r>
              <a:rPr lang="en-US"/>
              <a:t>Edit Master text styles</a:t>
            </a:r>
          </a:p>
        </p:txBody>
      </p:sp>
      <p:sp>
        <p:nvSpPr>
          <p:cNvPr id="92" name="Text Placeholder 2">
            <a:extLst>
              <a:ext uri="{FF2B5EF4-FFF2-40B4-BE49-F238E27FC236}">
                <a16:creationId xmlns:a16="http://schemas.microsoft.com/office/drawing/2014/main" id="{C8EA8E7F-794F-D046-95FC-19C9560B0DBD}"/>
              </a:ext>
            </a:extLst>
          </p:cNvPr>
          <p:cNvSpPr>
            <a:spLocks noGrp="1"/>
          </p:cNvSpPr>
          <p:nvPr>
            <p:ph type="body" sz="quarter" idx="58"/>
          </p:nvPr>
        </p:nvSpPr>
        <p:spPr>
          <a:xfrm>
            <a:off x="3053862" y="3969476"/>
            <a:ext cx="1361480" cy="796925"/>
          </a:xfrm>
          <a:prstGeom prst="rect">
            <a:avLst/>
          </a:prstGeom>
        </p:spPr>
        <p:txBody>
          <a:bodyPr/>
          <a:lstStyle>
            <a:lvl1pPr marL="0" indent="0">
              <a:lnSpc>
                <a:spcPct val="85000"/>
              </a:lnSpc>
              <a:buNone/>
              <a:defRPr sz="1200" b="1" cap="all" baseline="0">
                <a:solidFill>
                  <a:schemeClr val="bg1"/>
                </a:solidFill>
                <a:latin typeface="+mj-lt"/>
              </a:defRPr>
            </a:lvl1pPr>
            <a:lvl2pPr marL="457200" indent="0">
              <a:lnSpc>
                <a:spcPts val="1100"/>
              </a:lnSpc>
              <a:buNone/>
              <a:defRPr sz="1100" b="1">
                <a:latin typeface="+mj-lt"/>
              </a:defRPr>
            </a:lvl2pPr>
            <a:lvl3pPr marL="914400" indent="0">
              <a:lnSpc>
                <a:spcPts val="1100"/>
              </a:lnSpc>
              <a:buNone/>
              <a:defRPr sz="1100" b="1">
                <a:latin typeface="+mj-lt"/>
              </a:defRPr>
            </a:lvl3pPr>
            <a:lvl4pPr marL="1371600" indent="0">
              <a:lnSpc>
                <a:spcPts val="1100"/>
              </a:lnSpc>
              <a:buNone/>
              <a:defRPr sz="1100" b="1">
                <a:latin typeface="+mj-lt"/>
              </a:defRPr>
            </a:lvl4pPr>
            <a:lvl5pPr marL="1828800" indent="0">
              <a:lnSpc>
                <a:spcPts val="1100"/>
              </a:lnSpc>
              <a:buNone/>
              <a:defRPr sz="1100" b="1">
                <a:latin typeface="+mj-lt"/>
              </a:defRPr>
            </a:lvl5pPr>
          </a:lstStyle>
          <a:p>
            <a:pPr lvl="0"/>
            <a:r>
              <a:rPr lang="en-US"/>
              <a:t>Edit Master text styles</a:t>
            </a:r>
          </a:p>
        </p:txBody>
      </p:sp>
      <p:sp>
        <p:nvSpPr>
          <p:cNvPr id="93" name="Text Placeholder 2">
            <a:extLst>
              <a:ext uri="{FF2B5EF4-FFF2-40B4-BE49-F238E27FC236}">
                <a16:creationId xmlns:a16="http://schemas.microsoft.com/office/drawing/2014/main" id="{73258930-078F-564F-9395-0C53CDF81435}"/>
              </a:ext>
            </a:extLst>
          </p:cNvPr>
          <p:cNvSpPr>
            <a:spLocks noGrp="1"/>
          </p:cNvSpPr>
          <p:nvPr>
            <p:ph type="body" sz="quarter" idx="59"/>
          </p:nvPr>
        </p:nvSpPr>
        <p:spPr>
          <a:xfrm>
            <a:off x="-5861" y="3969476"/>
            <a:ext cx="1361480" cy="796925"/>
          </a:xfrm>
          <a:prstGeom prst="rect">
            <a:avLst/>
          </a:prstGeom>
        </p:spPr>
        <p:txBody>
          <a:bodyPr/>
          <a:lstStyle>
            <a:lvl1pPr marL="0" indent="0">
              <a:lnSpc>
                <a:spcPct val="85000"/>
              </a:lnSpc>
              <a:buNone/>
              <a:defRPr sz="1200" b="1" cap="all" baseline="0">
                <a:solidFill>
                  <a:schemeClr val="bg1"/>
                </a:solidFill>
                <a:latin typeface="+mj-lt"/>
              </a:defRPr>
            </a:lvl1pPr>
            <a:lvl2pPr marL="457200" indent="0">
              <a:lnSpc>
                <a:spcPts val="1100"/>
              </a:lnSpc>
              <a:buNone/>
              <a:defRPr sz="1100" b="1">
                <a:latin typeface="+mj-lt"/>
              </a:defRPr>
            </a:lvl2pPr>
            <a:lvl3pPr marL="914400" indent="0">
              <a:lnSpc>
                <a:spcPts val="1100"/>
              </a:lnSpc>
              <a:buNone/>
              <a:defRPr sz="1100" b="1">
                <a:latin typeface="+mj-lt"/>
              </a:defRPr>
            </a:lvl3pPr>
            <a:lvl4pPr marL="1371600" indent="0">
              <a:lnSpc>
                <a:spcPts val="1100"/>
              </a:lnSpc>
              <a:buNone/>
              <a:defRPr sz="1100" b="1">
                <a:latin typeface="+mj-lt"/>
              </a:defRPr>
            </a:lvl4pPr>
            <a:lvl5pPr marL="1828800" indent="0">
              <a:lnSpc>
                <a:spcPts val="1100"/>
              </a:lnSpc>
              <a:buNone/>
              <a:defRPr sz="1100" b="1">
                <a:latin typeface="+mj-lt"/>
              </a:defRPr>
            </a:lvl5pPr>
          </a:lstStyle>
          <a:p>
            <a:pPr lvl="0"/>
            <a:r>
              <a:rPr lang="en-US"/>
              <a:t>Edit Master text styles</a:t>
            </a:r>
          </a:p>
        </p:txBody>
      </p:sp>
      <p:sp>
        <p:nvSpPr>
          <p:cNvPr id="94" name="Text Placeholder 2">
            <a:extLst>
              <a:ext uri="{FF2B5EF4-FFF2-40B4-BE49-F238E27FC236}">
                <a16:creationId xmlns:a16="http://schemas.microsoft.com/office/drawing/2014/main" id="{01AC59DA-F75B-3B49-87A2-67119BE4CE6B}"/>
              </a:ext>
            </a:extLst>
          </p:cNvPr>
          <p:cNvSpPr>
            <a:spLocks noGrp="1"/>
          </p:cNvSpPr>
          <p:nvPr>
            <p:ph type="body" sz="quarter" idx="60"/>
          </p:nvPr>
        </p:nvSpPr>
        <p:spPr>
          <a:xfrm>
            <a:off x="6096000" y="3969476"/>
            <a:ext cx="1361480" cy="796925"/>
          </a:xfrm>
          <a:prstGeom prst="rect">
            <a:avLst/>
          </a:prstGeom>
        </p:spPr>
        <p:txBody>
          <a:bodyPr/>
          <a:lstStyle>
            <a:lvl1pPr marL="0" indent="0">
              <a:lnSpc>
                <a:spcPct val="85000"/>
              </a:lnSpc>
              <a:buNone/>
              <a:defRPr sz="1200" b="1" cap="all" baseline="0">
                <a:solidFill>
                  <a:schemeClr val="bg1"/>
                </a:solidFill>
                <a:latin typeface="+mj-lt"/>
              </a:defRPr>
            </a:lvl1pPr>
            <a:lvl2pPr marL="457200" indent="0">
              <a:lnSpc>
                <a:spcPts val="1100"/>
              </a:lnSpc>
              <a:buNone/>
              <a:defRPr sz="1100" b="1">
                <a:latin typeface="+mj-lt"/>
              </a:defRPr>
            </a:lvl2pPr>
            <a:lvl3pPr marL="914400" indent="0">
              <a:lnSpc>
                <a:spcPts val="1100"/>
              </a:lnSpc>
              <a:buNone/>
              <a:defRPr sz="1100" b="1">
                <a:latin typeface="+mj-lt"/>
              </a:defRPr>
            </a:lvl3pPr>
            <a:lvl4pPr marL="1371600" indent="0">
              <a:lnSpc>
                <a:spcPts val="1100"/>
              </a:lnSpc>
              <a:buNone/>
              <a:defRPr sz="1100" b="1">
                <a:latin typeface="+mj-lt"/>
              </a:defRPr>
            </a:lvl4pPr>
            <a:lvl5pPr marL="1828800" indent="0">
              <a:lnSpc>
                <a:spcPts val="1100"/>
              </a:lnSpc>
              <a:buNone/>
              <a:defRPr sz="1100" b="1">
                <a:latin typeface="+mj-lt"/>
              </a:defRPr>
            </a:lvl5pPr>
          </a:lstStyle>
          <a:p>
            <a:pPr lvl="0"/>
            <a:r>
              <a:rPr lang="en-US"/>
              <a:t>Edit Master text styles</a:t>
            </a:r>
          </a:p>
        </p:txBody>
      </p:sp>
      <p:sp>
        <p:nvSpPr>
          <p:cNvPr id="95" name="Text Placeholder 2">
            <a:extLst>
              <a:ext uri="{FF2B5EF4-FFF2-40B4-BE49-F238E27FC236}">
                <a16:creationId xmlns:a16="http://schemas.microsoft.com/office/drawing/2014/main" id="{1616123E-0ACD-5C4C-BCE1-2D7C2F4F96CD}"/>
              </a:ext>
            </a:extLst>
          </p:cNvPr>
          <p:cNvSpPr>
            <a:spLocks noGrp="1"/>
          </p:cNvSpPr>
          <p:nvPr>
            <p:ph type="body" sz="quarter" idx="61"/>
          </p:nvPr>
        </p:nvSpPr>
        <p:spPr>
          <a:xfrm>
            <a:off x="9151327" y="3969476"/>
            <a:ext cx="1361480" cy="796925"/>
          </a:xfrm>
          <a:prstGeom prst="rect">
            <a:avLst/>
          </a:prstGeom>
        </p:spPr>
        <p:txBody>
          <a:bodyPr/>
          <a:lstStyle>
            <a:lvl1pPr marL="0" indent="0">
              <a:lnSpc>
                <a:spcPct val="85000"/>
              </a:lnSpc>
              <a:buNone/>
              <a:defRPr sz="1200" b="1" cap="all" baseline="0">
                <a:solidFill>
                  <a:schemeClr val="bg1"/>
                </a:solidFill>
                <a:latin typeface="+mj-lt"/>
              </a:defRPr>
            </a:lvl1pPr>
            <a:lvl2pPr marL="457200" indent="0">
              <a:lnSpc>
                <a:spcPts val="1100"/>
              </a:lnSpc>
              <a:buNone/>
              <a:defRPr sz="1100" b="1">
                <a:latin typeface="+mj-lt"/>
              </a:defRPr>
            </a:lvl2pPr>
            <a:lvl3pPr marL="914400" indent="0">
              <a:lnSpc>
                <a:spcPts val="1100"/>
              </a:lnSpc>
              <a:buNone/>
              <a:defRPr sz="1100" b="1">
                <a:latin typeface="+mj-lt"/>
              </a:defRPr>
            </a:lvl3pPr>
            <a:lvl4pPr marL="1371600" indent="0">
              <a:lnSpc>
                <a:spcPts val="1100"/>
              </a:lnSpc>
              <a:buNone/>
              <a:defRPr sz="1100" b="1">
                <a:latin typeface="+mj-lt"/>
              </a:defRPr>
            </a:lvl4pPr>
            <a:lvl5pPr marL="1828800" indent="0">
              <a:lnSpc>
                <a:spcPts val="1100"/>
              </a:lnSpc>
              <a:buNone/>
              <a:defRPr sz="1100" b="1">
                <a:latin typeface="+mj-lt"/>
              </a:defRPr>
            </a:lvl5pPr>
          </a:lstStyle>
          <a:p>
            <a:pPr lvl="0"/>
            <a:r>
              <a:rPr lang="en-US"/>
              <a:t>Edit Master text styles</a:t>
            </a:r>
          </a:p>
        </p:txBody>
      </p:sp>
      <p:sp>
        <p:nvSpPr>
          <p:cNvPr id="124" name="Title 8">
            <a:extLst>
              <a:ext uri="{FF2B5EF4-FFF2-40B4-BE49-F238E27FC236}">
                <a16:creationId xmlns:a16="http://schemas.microsoft.com/office/drawing/2014/main" id="{7B7B0502-8B94-5D48-BE6B-1044947CA3D9}"/>
              </a:ext>
            </a:extLst>
          </p:cNvPr>
          <p:cNvSpPr>
            <a:spLocks noGrp="1"/>
          </p:cNvSpPr>
          <p:nvPr>
            <p:ph type="title"/>
          </p:nvPr>
        </p:nvSpPr>
        <p:spPr>
          <a:xfrm>
            <a:off x="594812" y="914504"/>
            <a:ext cx="6854203" cy="1099898"/>
          </a:xfrm>
          <a:prstGeom prst="rect">
            <a:avLst/>
          </a:prstGeom>
        </p:spPr>
        <p:txBody>
          <a:bodyPr/>
          <a:lstStyle>
            <a:lvl1pPr marL="0" algn="l" defTabSz="914400" rtl="0" eaLnBrk="1" latinLnBrk="0" hangingPunct="1">
              <a:lnSpc>
                <a:spcPct val="90000"/>
              </a:lnSpc>
              <a:spcBef>
                <a:spcPct val="0"/>
              </a:spcBef>
              <a:buNone/>
              <a:defRPr lang="en-US" sz="3200" b="1" i="0" kern="1200" cap="none" spc="0" baseline="0" dirty="0">
                <a:solidFill>
                  <a:schemeClr val="tx1"/>
                </a:solidFill>
                <a:latin typeface="+mj-lt"/>
                <a:ea typeface="+mj-ea"/>
                <a:cs typeface="+mj-cs"/>
              </a:defRPr>
            </a:lvl1pPr>
          </a:lstStyle>
          <a:p>
            <a:r>
              <a:rPr lang="en-US"/>
              <a:t>Click to edit Master title style</a:t>
            </a:r>
          </a:p>
        </p:txBody>
      </p:sp>
    </p:spTree>
    <p:extLst>
      <p:ext uri="{BB962C8B-B14F-4D97-AF65-F5344CB8AC3E}">
        <p14:creationId xmlns:p14="http://schemas.microsoft.com/office/powerpoint/2010/main" val="6714100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ody - Quote">
    <p:bg>
      <p:bgPr>
        <a:solidFill>
          <a:schemeClr val="accent2"/>
        </a:solidFill>
        <a:effectLst/>
      </p:bgPr>
    </p:bg>
    <p:spTree>
      <p:nvGrpSpPr>
        <p:cNvPr id="1" name=""/>
        <p:cNvGrpSpPr/>
        <p:nvPr/>
      </p:nvGrpSpPr>
      <p:grpSpPr>
        <a:xfrm>
          <a:off x="0" y="0"/>
          <a:ext cx="0" cy="0"/>
          <a:chOff x="0" y="0"/>
          <a:chExt cx="0" cy="0"/>
        </a:xfrm>
      </p:grpSpPr>
      <p:sp>
        <p:nvSpPr>
          <p:cNvPr id="26" name="Slide Number Placeholder 5">
            <a:extLst>
              <a:ext uri="{FF2B5EF4-FFF2-40B4-BE49-F238E27FC236}">
                <a16:creationId xmlns:a16="http://schemas.microsoft.com/office/drawing/2014/main" id="{6AA0B4D3-F1D5-E840-816A-8B71734B0CEE}"/>
              </a:ext>
            </a:extLst>
          </p:cNvPr>
          <p:cNvSpPr>
            <a:spLocks noGrp="1"/>
          </p:cNvSpPr>
          <p:nvPr>
            <p:ph type="sldNum" sz="quarter" idx="4"/>
          </p:nvPr>
        </p:nvSpPr>
        <p:spPr>
          <a:xfrm>
            <a:off x="11537879" y="6325527"/>
            <a:ext cx="370726" cy="365125"/>
          </a:xfrm>
          <a:prstGeom prst="rect">
            <a:avLst/>
          </a:prstGeom>
        </p:spPr>
        <p:txBody>
          <a:bodyPr vert="horz" lIns="91440" tIns="45720" rIns="91440" bIns="45720" rtlCol="0" anchor="b"/>
          <a:lstStyle>
            <a:lvl1pPr algn="r">
              <a:defRPr sz="800" b="1" i="0">
                <a:solidFill>
                  <a:schemeClr val="bg1"/>
                </a:solidFill>
                <a:latin typeface="+mj-lt"/>
              </a:defRPr>
            </a:lvl1pPr>
          </a:lstStyle>
          <a:p>
            <a:fld id="{EB3C441C-A16D-4531-8F9E-BFE4D57FBC82}" type="slidenum">
              <a:rPr lang="en-US" smtClean="0"/>
              <a:t>‹N°›</a:t>
            </a:fld>
            <a:endParaRPr lang="en-US"/>
          </a:p>
        </p:txBody>
      </p:sp>
      <p:sp>
        <p:nvSpPr>
          <p:cNvPr id="30" name="Footer Placeholder 54">
            <a:extLst>
              <a:ext uri="{FF2B5EF4-FFF2-40B4-BE49-F238E27FC236}">
                <a16:creationId xmlns:a16="http://schemas.microsoft.com/office/drawing/2014/main" id="{FBF5E17B-C670-4E4D-BB7F-743CB1137D68}"/>
              </a:ext>
            </a:extLst>
          </p:cNvPr>
          <p:cNvSpPr>
            <a:spLocks noGrp="1"/>
          </p:cNvSpPr>
          <p:nvPr>
            <p:ph type="ftr" sz="quarter" idx="15"/>
          </p:nvPr>
        </p:nvSpPr>
        <p:spPr>
          <a:xfrm>
            <a:off x="1819551" y="6340392"/>
            <a:ext cx="4114800" cy="365125"/>
          </a:xfrm>
          <a:prstGeom prst="rect">
            <a:avLst/>
          </a:prstGeom>
        </p:spPr>
        <p:txBody>
          <a:bodyPr anchor="b" anchorCtr="0"/>
          <a:lstStyle>
            <a:lvl1pPr>
              <a:defRPr sz="700">
                <a:solidFill>
                  <a:schemeClr val="bg1"/>
                </a:solidFill>
              </a:defRPr>
            </a:lvl1pPr>
          </a:lstStyle>
          <a:p>
            <a:endParaRPr lang="en-US"/>
          </a:p>
        </p:txBody>
      </p:sp>
      <p:pic>
        <p:nvPicPr>
          <p:cNvPr id="23" name="Picture 22" descr="A picture containing object, clock&#10;&#10;Description automatically generated">
            <a:extLst>
              <a:ext uri="{FF2B5EF4-FFF2-40B4-BE49-F238E27FC236}">
                <a16:creationId xmlns:a16="http://schemas.microsoft.com/office/drawing/2014/main" id="{16967819-FD0A-0441-AD99-EE1BCC40215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361956" y="1217543"/>
            <a:ext cx="3388621" cy="231921"/>
          </a:xfrm>
          <a:prstGeom prst="rect">
            <a:avLst/>
          </a:prstGeom>
        </p:spPr>
      </p:pic>
      <p:grpSp>
        <p:nvGrpSpPr>
          <p:cNvPr id="21" name="Group 20">
            <a:extLst>
              <a:ext uri="{FF2B5EF4-FFF2-40B4-BE49-F238E27FC236}">
                <a16:creationId xmlns:a16="http://schemas.microsoft.com/office/drawing/2014/main" id="{90EC1271-B310-4C4C-9200-8E3D1EEE0D25}"/>
              </a:ext>
            </a:extLst>
          </p:cNvPr>
          <p:cNvGrpSpPr/>
          <p:nvPr/>
        </p:nvGrpSpPr>
        <p:grpSpPr>
          <a:xfrm>
            <a:off x="3047" y="6305605"/>
            <a:ext cx="1254409" cy="552395"/>
            <a:chOff x="3047" y="6305605"/>
            <a:chExt cx="1254409" cy="552395"/>
          </a:xfrm>
        </p:grpSpPr>
        <p:grpSp>
          <p:nvGrpSpPr>
            <p:cNvPr id="22" name="Group 21">
              <a:extLst>
                <a:ext uri="{FF2B5EF4-FFF2-40B4-BE49-F238E27FC236}">
                  <a16:creationId xmlns:a16="http://schemas.microsoft.com/office/drawing/2014/main" id="{2DCA0859-88A0-B545-94AB-8C2AE65CC022}"/>
                </a:ext>
              </a:extLst>
            </p:cNvPr>
            <p:cNvGrpSpPr/>
            <p:nvPr/>
          </p:nvGrpSpPr>
          <p:grpSpPr>
            <a:xfrm>
              <a:off x="3047" y="6305605"/>
              <a:ext cx="551693" cy="552395"/>
              <a:chOff x="3047" y="6305605"/>
              <a:chExt cx="551693" cy="552395"/>
            </a:xfrm>
          </p:grpSpPr>
          <p:sp>
            <p:nvSpPr>
              <p:cNvPr id="27" name="Rectangle 26">
                <a:extLst>
                  <a:ext uri="{FF2B5EF4-FFF2-40B4-BE49-F238E27FC236}">
                    <a16:creationId xmlns:a16="http://schemas.microsoft.com/office/drawing/2014/main" id="{9F597BF3-0076-2A44-8EFF-CDEF2D76A1BE}"/>
                  </a:ext>
                </a:extLst>
              </p:cNvPr>
              <p:cNvSpPr/>
              <p:nvPr/>
            </p:nvSpPr>
            <p:spPr>
              <a:xfrm>
                <a:off x="3047" y="6305605"/>
                <a:ext cx="551693" cy="552395"/>
              </a:xfrm>
              <a:prstGeom prst="rect">
                <a:avLst/>
              </a:prstGeom>
              <a:solidFill>
                <a:srgbClr val="5369E4"/>
              </a:solidFill>
              <a:ln w="9525"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082D27F0-175B-1B47-A7AA-DCA8AEC7714B}"/>
                  </a:ext>
                </a:extLst>
              </p:cNvPr>
              <p:cNvSpPr/>
              <p:nvPr/>
            </p:nvSpPr>
            <p:spPr>
              <a:xfrm>
                <a:off x="173577" y="6501753"/>
                <a:ext cx="279408" cy="175345"/>
              </a:xfrm>
              <a:custGeom>
                <a:avLst/>
                <a:gdLst>
                  <a:gd name="connsiteX0" fmla="*/ 102941 w 279408"/>
                  <a:gd name="connsiteY0" fmla="*/ 59439 h 175345"/>
                  <a:gd name="connsiteX1" fmla="*/ 132352 w 279408"/>
                  <a:gd name="connsiteY1" fmla="*/ 88384 h 175345"/>
                  <a:gd name="connsiteX2" fmla="*/ 102941 w 279408"/>
                  <a:gd name="connsiteY2" fmla="*/ 117329 h 175345"/>
                  <a:gd name="connsiteX3" fmla="*/ 73528 w 279408"/>
                  <a:gd name="connsiteY3" fmla="*/ 88384 h 175345"/>
                  <a:gd name="connsiteX4" fmla="*/ 102941 w 279408"/>
                  <a:gd name="connsiteY4" fmla="*/ 59439 h 175345"/>
                  <a:gd name="connsiteX5" fmla="*/ 147056 w 279408"/>
                  <a:gd name="connsiteY5" fmla="*/ 1809 h 175345"/>
                  <a:gd name="connsiteX6" fmla="*/ 205880 w 279408"/>
                  <a:gd name="connsiteY6" fmla="*/ 1809 h 175345"/>
                  <a:gd name="connsiteX7" fmla="*/ 205880 w 279408"/>
                  <a:gd name="connsiteY7" fmla="*/ 59698 h 175345"/>
                  <a:gd name="connsiteX8" fmla="*/ 205880 w 279408"/>
                  <a:gd name="connsiteY8" fmla="*/ 117457 h 175345"/>
                  <a:gd name="connsiteX9" fmla="*/ 205880 w 279408"/>
                  <a:gd name="connsiteY9" fmla="*/ 175345 h 175345"/>
                  <a:gd name="connsiteX10" fmla="*/ 147056 w 279408"/>
                  <a:gd name="connsiteY10" fmla="*/ 175345 h 175345"/>
                  <a:gd name="connsiteX11" fmla="*/ 147056 w 279408"/>
                  <a:gd name="connsiteY11" fmla="*/ 117457 h 175345"/>
                  <a:gd name="connsiteX12" fmla="*/ 147056 w 279408"/>
                  <a:gd name="connsiteY12" fmla="*/ 59698 h 175345"/>
                  <a:gd name="connsiteX13" fmla="*/ 0 w 279408"/>
                  <a:gd name="connsiteY13" fmla="*/ 1809 h 175345"/>
                  <a:gd name="connsiteX14" fmla="*/ 58824 w 279408"/>
                  <a:gd name="connsiteY14" fmla="*/ 1809 h 175345"/>
                  <a:gd name="connsiteX15" fmla="*/ 58824 w 279408"/>
                  <a:gd name="connsiteY15" fmla="*/ 59698 h 175345"/>
                  <a:gd name="connsiteX16" fmla="*/ 58824 w 279408"/>
                  <a:gd name="connsiteY16" fmla="*/ 117457 h 175345"/>
                  <a:gd name="connsiteX17" fmla="*/ 58824 w 279408"/>
                  <a:gd name="connsiteY17" fmla="*/ 175345 h 175345"/>
                  <a:gd name="connsiteX18" fmla="*/ 0 w 279408"/>
                  <a:gd name="connsiteY18" fmla="*/ 175345 h 175345"/>
                  <a:gd name="connsiteX19" fmla="*/ 0 w 279408"/>
                  <a:gd name="connsiteY19" fmla="*/ 117457 h 175345"/>
                  <a:gd name="connsiteX20" fmla="*/ 0 w 279408"/>
                  <a:gd name="connsiteY20" fmla="*/ 59698 h 175345"/>
                  <a:gd name="connsiteX21" fmla="*/ 249997 w 279408"/>
                  <a:gd name="connsiteY21" fmla="*/ 0 h 175345"/>
                  <a:gd name="connsiteX22" fmla="*/ 279408 w 279408"/>
                  <a:gd name="connsiteY22" fmla="*/ 28945 h 175345"/>
                  <a:gd name="connsiteX23" fmla="*/ 249997 w 279408"/>
                  <a:gd name="connsiteY23" fmla="*/ 57890 h 175345"/>
                  <a:gd name="connsiteX24" fmla="*/ 220584 w 279408"/>
                  <a:gd name="connsiteY24" fmla="*/ 28945 h 175345"/>
                  <a:gd name="connsiteX25" fmla="*/ 249997 w 279408"/>
                  <a:gd name="connsiteY25" fmla="*/ 0 h 175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79408" h="175345">
                    <a:moveTo>
                      <a:pt x="102941" y="59439"/>
                    </a:moveTo>
                    <a:cubicBezTo>
                      <a:pt x="119184" y="59439"/>
                      <a:pt x="132352" y="72399"/>
                      <a:pt x="132352" y="88384"/>
                    </a:cubicBezTo>
                    <a:cubicBezTo>
                      <a:pt x="132352" y="104370"/>
                      <a:pt x="119184" y="117329"/>
                      <a:pt x="102941" y="117329"/>
                    </a:cubicBezTo>
                    <a:cubicBezTo>
                      <a:pt x="86696" y="117329"/>
                      <a:pt x="73528" y="104370"/>
                      <a:pt x="73528" y="88384"/>
                    </a:cubicBezTo>
                    <a:cubicBezTo>
                      <a:pt x="73528" y="72399"/>
                      <a:pt x="86696" y="59439"/>
                      <a:pt x="102941" y="59439"/>
                    </a:cubicBezTo>
                    <a:close/>
                    <a:moveTo>
                      <a:pt x="147056" y="1809"/>
                    </a:moveTo>
                    <a:lnTo>
                      <a:pt x="205880" y="1809"/>
                    </a:lnTo>
                    <a:lnTo>
                      <a:pt x="205880" y="59698"/>
                    </a:lnTo>
                    <a:lnTo>
                      <a:pt x="205880" y="117457"/>
                    </a:lnTo>
                    <a:lnTo>
                      <a:pt x="205880" y="175345"/>
                    </a:lnTo>
                    <a:lnTo>
                      <a:pt x="147056" y="175345"/>
                    </a:lnTo>
                    <a:lnTo>
                      <a:pt x="147056" y="117457"/>
                    </a:lnTo>
                    <a:lnTo>
                      <a:pt x="147056" y="59698"/>
                    </a:lnTo>
                    <a:close/>
                    <a:moveTo>
                      <a:pt x="0" y="1809"/>
                    </a:moveTo>
                    <a:lnTo>
                      <a:pt x="58824" y="1809"/>
                    </a:lnTo>
                    <a:lnTo>
                      <a:pt x="58824" y="59698"/>
                    </a:lnTo>
                    <a:lnTo>
                      <a:pt x="58824" y="117457"/>
                    </a:lnTo>
                    <a:lnTo>
                      <a:pt x="58824" y="175345"/>
                    </a:lnTo>
                    <a:lnTo>
                      <a:pt x="0" y="175345"/>
                    </a:lnTo>
                    <a:lnTo>
                      <a:pt x="0" y="117457"/>
                    </a:lnTo>
                    <a:lnTo>
                      <a:pt x="0" y="59698"/>
                    </a:lnTo>
                    <a:close/>
                    <a:moveTo>
                      <a:pt x="249997" y="0"/>
                    </a:moveTo>
                    <a:cubicBezTo>
                      <a:pt x="266240" y="0"/>
                      <a:pt x="279408" y="12960"/>
                      <a:pt x="279408" y="28945"/>
                    </a:cubicBezTo>
                    <a:cubicBezTo>
                      <a:pt x="279408" y="44931"/>
                      <a:pt x="266240" y="57890"/>
                      <a:pt x="249997" y="57890"/>
                    </a:cubicBezTo>
                    <a:cubicBezTo>
                      <a:pt x="233752" y="57890"/>
                      <a:pt x="220584" y="44931"/>
                      <a:pt x="220584" y="28945"/>
                    </a:cubicBezTo>
                    <a:cubicBezTo>
                      <a:pt x="220584" y="12960"/>
                      <a:pt x="233752" y="0"/>
                      <a:pt x="249997" y="0"/>
                    </a:cubicBezTo>
                    <a:close/>
                  </a:path>
                </a:pathLst>
              </a:custGeom>
              <a:solidFill>
                <a:srgbClr val="FFFFFF"/>
              </a:solidFill>
              <a:ln w="9525" cap="flat">
                <a:noFill/>
                <a:prstDash val="solid"/>
                <a:miter/>
              </a:ln>
            </p:spPr>
            <p:txBody>
              <a:bodyPr wrap="square" rtlCol="0" anchor="ctr">
                <a:noAutofit/>
              </a:bodyPr>
              <a:lstStyle/>
              <a:p>
                <a:endParaRPr lang="en-US"/>
              </a:p>
            </p:txBody>
          </p:sp>
        </p:grpSp>
        <p:sp>
          <p:nvSpPr>
            <p:cNvPr id="24" name="Freeform 23">
              <a:extLst>
                <a:ext uri="{FF2B5EF4-FFF2-40B4-BE49-F238E27FC236}">
                  <a16:creationId xmlns:a16="http://schemas.microsoft.com/office/drawing/2014/main" id="{776E2EB5-7804-B240-A6CE-5EFC098F30D4}"/>
                </a:ext>
              </a:extLst>
            </p:cNvPr>
            <p:cNvSpPr/>
            <p:nvPr/>
          </p:nvSpPr>
          <p:spPr>
            <a:xfrm>
              <a:off x="701664" y="6524947"/>
              <a:ext cx="555792" cy="129021"/>
            </a:xfrm>
            <a:custGeom>
              <a:avLst/>
              <a:gdLst>
                <a:gd name="connsiteX0" fmla="*/ 364489 w 555792"/>
                <a:gd name="connsiteY0" fmla="*/ 61830 h 129021"/>
                <a:gd name="connsiteX1" fmla="*/ 343312 w 555792"/>
                <a:gd name="connsiteY1" fmla="*/ 82670 h 129021"/>
                <a:gd name="connsiteX2" fmla="*/ 364489 w 555792"/>
                <a:gd name="connsiteY2" fmla="*/ 106926 h 129021"/>
                <a:gd name="connsiteX3" fmla="*/ 367960 w 555792"/>
                <a:gd name="connsiteY3" fmla="*/ 106926 h 129021"/>
                <a:gd name="connsiteX4" fmla="*/ 389136 w 555792"/>
                <a:gd name="connsiteY4" fmla="*/ 82670 h 129021"/>
                <a:gd name="connsiteX5" fmla="*/ 364489 w 555792"/>
                <a:gd name="connsiteY5" fmla="*/ 61830 h 129021"/>
                <a:gd name="connsiteX6" fmla="*/ 255246 w 555792"/>
                <a:gd name="connsiteY6" fmla="*/ 41285 h 129021"/>
                <a:gd name="connsiteX7" fmla="*/ 280588 w 555792"/>
                <a:gd name="connsiteY7" fmla="*/ 41285 h 129021"/>
                <a:gd name="connsiteX8" fmla="*/ 280588 w 555792"/>
                <a:gd name="connsiteY8" fmla="*/ 126955 h 129021"/>
                <a:gd name="connsiteX9" fmla="*/ 255246 w 555792"/>
                <a:gd name="connsiteY9" fmla="*/ 126955 h 129021"/>
                <a:gd name="connsiteX10" fmla="*/ 121846 w 555792"/>
                <a:gd name="connsiteY10" fmla="*/ 40770 h 129021"/>
                <a:gd name="connsiteX11" fmla="*/ 147188 w 555792"/>
                <a:gd name="connsiteY11" fmla="*/ 40770 h 129021"/>
                <a:gd name="connsiteX12" fmla="*/ 147188 w 555792"/>
                <a:gd name="connsiteY12" fmla="*/ 126439 h 129021"/>
                <a:gd name="connsiteX13" fmla="*/ 121846 w 555792"/>
                <a:gd name="connsiteY13" fmla="*/ 126439 h 129021"/>
                <a:gd name="connsiteX14" fmla="*/ 301329 w 555792"/>
                <a:gd name="connsiteY14" fmla="*/ 40638 h 129021"/>
                <a:gd name="connsiteX15" fmla="*/ 301859 w 555792"/>
                <a:gd name="connsiteY15" fmla="*/ 40638 h 129021"/>
                <a:gd name="connsiteX16" fmla="*/ 316958 w 555792"/>
                <a:gd name="connsiteY16" fmla="*/ 55499 h 129021"/>
                <a:gd name="connsiteX17" fmla="*/ 301859 w 555792"/>
                <a:gd name="connsiteY17" fmla="*/ 70359 h 129021"/>
                <a:gd name="connsiteX18" fmla="*/ 286885 w 555792"/>
                <a:gd name="connsiteY18" fmla="*/ 55893 h 129021"/>
                <a:gd name="connsiteX19" fmla="*/ 286890 w 555792"/>
                <a:gd name="connsiteY19" fmla="*/ 55370 h 129021"/>
                <a:gd name="connsiteX20" fmla="*/ 301329 w 555792"/>
                <a:gd name="connsiteY20" fmla="*/ 40638 h 129021"/>
                <a:gd name="connsiteX21" fmla="*/ 468871 w 555792"/>
                <a:gd name="connsiteY21" fmla="*/ 39863 h 129021"/>
                <a:gd name="connsiteX22" fmla="*/ 495131 w 555792"/>
                <a:gd name="connsiteY22" fmla="*/ 55240 h 129021"/>
                <a:gd name="connsiteX23" fmla="*/ 524542 w 555792"/>
                <a:gd name="connsiteY23" fmla="*/ 39863 h 129021"/>
                <a:gd name="connsiteX24" fmla="*/ 555716 w 555792"/>
                <a:gd name="connsiteY24" fmla="*/ 66406 h 129021"/>
                <a:gd name="connsiteX25" fmla="*/ 555792 w 555792"/>
                <a:gd name="connsiteY25" fmla="*/ 68678 h 129021"/>
                <a:gd name="connsiteX26" fmla="*/ 555792 w 555792"/>
                <a:gd name="connsiteY26" fmla="*/ 126954 h 129021"/>
                <a:gd name="connsiteX27" fmla="*/ 530582 w 555792"/>
                <a:gd name="connsiteY27" fmla="*/ 126954 h 129021"/>
                <a:gd name="connsiteX28" fmla="*/ 530582 w 555792"/>
                <a:gd name="connsiteY28" fmla="*/ 75914 h 129021"/>
                <a:gd name="connsiteX29" fmla="*/ 519946 w 555792"/>
                <a:gd name="connsiteY29" fmla="*/ 60936 h 129021"/>
                <a:gd name="connsiteX30" fmla="*/ 516402 w 555792"/>
                <a:gd name="connsiteY30" fmla="*/ 60796 h 129021"/>
                <a:gd name="connsiteX31" fmla="*/ 499858 w 555792"/>
                <a:gd name="connsiteY31" fmla="*/ 83150 h 129021"/>
                <a:gd name="connsiteX32" fmla="*/ 499858 w 555792"/>
                <a:gd name="connsiteY32" fmla="*/ 126954 h 129021"/>
                <a:gd name="connsiteX33" fmla="*/ 474780 w 555792"/>
                <a:gd name="connsiteY33" fmla="*/ 126954 h 129021"/>
                <a:gd name="connsiteX34" fmla="*/ 474780 w 555792"/>
                <a:gd name="connsiteY34" fmla="*/ 75914 h 129021"/>
                <a:gd name="connsiteX35" fmla="*/ 464116 w 555792"/>
                <a:gd name="connsiteY35" fmla="*/ 60954 h 129021"/>
                <a:gd name="connsiteX36" fmla="*/ 460862 w 555792"/>
                <a:gd name="connsiteY36" fmla="*/ 60796 h 129021"/>
                <a:gd name="connsiteX37" fmla="*/ 444318 w 555792"/>
                <a:gd name="connsiteY37" fmla="*/ 83150 h 129021"/>
                <a:gd name="connsiteX38" fmla="*/ 444318 w 555792"/>
                <a:gd name="connsiteY38" fmla="*/ 126954 h 129021"/>
                <a:gd name="connsiteX39" fmla="*/ 418977 w 555792"/>
                <a:gd name="connsiteY39" fmla="*/ 126954 h 129021"/>
                <a:gd name="connsiteX40" fmla="*/ 418977 w 555792"/>
                <a:gd name="connsiteY40" fmla="*/ 41285 h 129021"/>
                <a:gd name="connsiteX41" fmla="*/ 444318 w 555792"/>
                <a:gd name="connsiteY41" fmla="*/ 41285 h 129021"/>
                <a:gd name="connsiteX42" fmla="*/ 444318 w 555792"/>
                <a:gd name="connsiteY42" fmla="*/ 52785 h 129021"/>
                <a:gd name="connsiteX43" fmla="*/ 468871 w 555792"/>
                <a:gd name="connsiteY43" fmla="*/ 39863 h 129021"/>
                <a:gd name="connsiteX44" fmla="*/ 364489 w 555792"/>
                <a:gd name="connsiteY44" fmla="*/ 39863 h 129021"/>
                <a:gd name="connsiteX45" fmla="*/ 409656 w 555792"/>
                <a:gd name="connsiteY45" fmla="*/ 84443 h 129021"/>
                <a:gd name="connsiteX46" fmla="*/ 409656 w 555792"/>
                <a:gd name="connsiteY46" fmla="*/ 84572 h 129021"/>
                <a:gd name="connsiteX47" fmla="*/ 364227 w 555792"/>
                <a:gd name="connsiteY47" fmla="*/ 129021 h 129021"/>
                <a:gd name="connsiteX48" fmla="*/ 319059 w 555792"/>
                <a:gd name="connsiteY48" fmla="*/ 84313 h 129021"/>
                <a:gd name="connsiteX49" fmla="*/ 364489 w 555792"/>
                <a:gd name="connsiteY49" fmla="*/ 39863 h 129021"/>
                <a:gd name="connsiteX50" fmla="*/ 0 w 555792"/>
                <a:gd name="connsiteY50" fmla="*/ 7947 h 129021"/>
                <a:gd name="connsiteX51" fmla="*/ 27179 w 555792"/>
                <a:gd name="connsiteY51" fmla="*/ 7947 h 129021"/>
                <a:gd name="connsiteX52" fmla="*/ 27179 w 555792"/>
                <a:gd name="connsiteY52" fmla="*/ 54206 h 129021"/>
                <a:gd name="connsiteX53" fmla="*/ 75236 w 555792"/>
                <a:gd name="connsiteY53" fmla="*/ 54206 h 129021"/>
                <a:gd name="connsiteX54" fmla="*/ 75236 w 555792"/>
                <a:gd name="connsiteY54" fmla="*/ 7947 h 129021"/>
                <a:gd name="connsiteX55" fmla="*/ 102678 w 555792"/>
                <a:gd name="connsiteY55" fmla="*/ 7947 h 129021"/>
                <a:gd name="connsiteX56" fmla="*/ 102678 w 555792"/>
                <a:gd name="connsiteY56" fmla="*/ 126954 h 129021"/>
                <a:gd name="connsiteX57" fmla="*/ 75236 w 555792"/>
                <a:gd name="connsiteY57" fmla="*/ 126954 h 129021"/>
                <a:gd name="connsiteX58" fmla="*/ 75236 w 555792"/>
                <a:gd name="connsiteY58" fmla="*/ 77207 h 129021"/>
                <a:gd name="connsiteX59" fmla="*/ 27179 w 555792"/>
                <a:gd name="connsiteY59" fmla="*/ 77207 h 129021"/>
                <a:gd name="connsiteX60" fmla="*/ 27179 w 555792"/>
                <a:gd name="connsiteY60" fmla="*/ 126954 h 129021"/>
                <a:gd name="connsiteX61" fmla="*/ 0 w 555792"/>
                <a:gd name="connsiteY61" fmla="*/ 126954 h 129021"/>
                <a:gd name="connsiteX62" fmla="*/ 210736 w 555792"/>
                <a:gd name="connsiteY62" fmla="*/ 6526 h 129021"/>
                <a:gd name="connsiteX63" fmla="*/ 236078 w 555792"/>
                <a:gd name="connsiteY63" fmla="*/ 6526 h 129021"/>
                <a:gd name="connsiteX64" fmla="*/ 236078 w 555792"/>
                <a:gd name="connsiteY64" fmla="*/ 126955 h 129021"/>
                <a:gd name="connsiteX65" fmla="*/ 210736 w 555792"/>
                <a:gd name="connsiteY65" fmla="*/ 126955 h 129021"/>
                <a:gd name="connsiteX66" fmla="*/ 166619 w 555792"/>
                <a:gd name="connsiteY66" fmla="*/ 6526 h 129021"/>
                <a:gd name="connsiteX67" fmla="*/ 192093 w 555792"/>
                <a:gd name="connsiteY67" fmla="*/ 6526 h 129021"/>
                <a:gd name="connsiteX68" fmla="*/ 192093 w 555792"/>
                <a:gd name="connsiteY68" fmla="*/ 126955 h 129021"/>
                <a:gd name="connsiteX69" fmla="*/ 166619 w 555792"/>
                <a:gd name="connsiteY69" fmla="*/ 126955 h 129021"/>
                <a:gd name="connsiteX70" fmla="*/ 134188 w 555792"/>
                <a:gd name="connsiteY70" fmla="*/ 66 h 129021"/>
                <a:gd name="connsiteX71" fmla="*/ 134452 w 555792"/>
                <a:gd name="connsiteY71" fmla="*/ 66 h 129021"/>
                <a:gd name="connsiteX72" fmla="*/ 151030 w 555792"/>
                <a:gd name="connsiteY72" fmla="*/ 13600 h 129021"/>
                <a:gd name="connsiteX73" fmla="*/ 137277 w 555792"/>
                <a:gd name="connsiteY73" fmla="*/ 29915 h 129021"/>
                <a:gd name="connsiteX74" fmla="*/ 134452 w 555792"/>
                <a:gd name="connsiteY74" fmla="*/ 29915 h 129021"/>
                <a:gd name="connsiteX75" fmla="*/ 119350 w 555792"/>
                <a:gd name="connsiteY75" fmla="*/ 15316 h 129021"/>
                <a:gd name="connsiteX76" fmla="*/ 119352 w 555792"/>
                <a:gd name="connsiteY76" fmla="*/ 14926 h 129021"/>
                <a:gd name="connsiteX77" fmla="*/ 134188 w 555792"/>
                <a:gd name="connsiteY77" fmla="*/ 66 h 129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555792" h="129021">
                  <a:moveTo>
                    <a:pt x="364489" y="61830"/>
                  </a:moveTo>
                  <a:cubicBezTo>
                    <a:pt x="353167" y="62674"/>
                    <a:pt x="344170" y="71529"/>
                    <a:pt x="343312" y="82670"/>
                  </a:cubicBezTo>
                  <a:cubicBezTo>
                    <a:pt x="342353" y="95123"/>
                    <a:pt x="351834" y="105983"/>
                    <a:pt x="364489" y="106926"/>
                  </a:cubicBezTo>
                  <a:cubicBezTo>
                    <a:pt x="365644" y="107012"/>
                    <a:pt x="366805" y="107012"/>
                    <a:pt x="367960" y="106926"/>
                  </a:cubicBezTo>
                  <a:cubicBezTo>
                    <a:pt x="380614" y="105983"/>
                    <a:pt x="390095" y="95123"/>
                    <a:pt x="389136" y="82670"/>
                  </a:cubicBezTo>
                  <a:cubicBezTo>
                    <a:pt x="388178" y="70217"/>
                    <a:pt x="377143" y="60887"/>
                    <a:pt x="364489" y="61830"/>
                  </a:cubicBezTo>
                  <a:close/>
                  <a:moveTo>
                    <a:pt x="255246" y="41285"/>
                  </a:moveTo>
                  <a:lnTo>
                    <a:pt x="280588" y="41285"/>
                  </a:lnTo>
                  <a:lnTo>
                    <a:pt x="280588" y="126955"/>
                  </a:lnTo>
                  <a:lnTo>
                    <a:pt x="255246" y="126955"/>
                  </a:lnTo>
                  <a:close/>
                  <a:moveTo>
                    <a:pt x="121846" y="40770"/>
                  </a:moveTo>
                  <a:lnTo>
                    <a:pt x="147188" y="40770"/>
                  </a:lnTo>
                  <a:lnTo>
                    <a:pt x="147188" y="126439"/>
                  </a:lnTo>
                  <a:lnTo>
                    <a:pt x="121846" y="126439"/>
                  </a:lnTo>
                  <a:close/>
                  <a:moveTo>
                    <a:pt x="301329" y="40638"/>
                  </a:moveTo>
                  <a:cubicBezTo>
                    <a:pt x="301505" y="40635"/>
                    <a:pt x="301682" y="40635"/>
                    <a:pt x="301859" y="40638"/>
                  </a:cubicBezTo>
                  <a:cubicBezTo>
                    <a:pt x="310198" y="40638"/>
                    <a:pt x="316958" y="47292"/>
                    <a:pt x="316958" y="55499"/>
                  </a:cubicBezTo>
                  <a:cubicBezTo>
                    <a:pt x="316958" y="63706"/>
                    <a:pt x="310198" y="70359"/>
                    <a:pt x="301859" y="70359"/>
                  </a:cubicBezTo>
                  <a:cubicBezTo>
                    <a:pt x="293664" y="70433"/>
                    <a:pt x="286961" y="63956"/>
                    <a:pt x="286885" y="55893"/>
                  </a:cubicBezTo>
                  <a:cubicBezTo>
                    <a:pt x="286883" y="55718"/>
                    <a:pt x="286885" y="55544"/>
                    <a:pt x="286890" y="55370"/>
                  </a:cubicBezTo>
                  <a:cubicBezTo>
                    <a:pt x="286743" y="47379"/>
                    <a:pt x="293207" y="40783"/>
                    <a:pt x="301329" y="40638"/>
                  </a:cubicBezTo>
                  <a:close/>
                  <a:moveTo>
                    <a:pt x="468871" y="39863"/>
                  </a:moveTo>
                  <a:cubicBezTo>
                    <a:pt x="480066" y="38933"/>
                    <a:pt x="490621" y="45114"/>
                    <a:pt x="495131" y="55240"/>
                  </a:cubicBezTo>
                  <a:cubicBezTo>
                    <a:pt x="501466" y="45339"/>
                    <a:pt x="512660" y="39487"/>
                    <a:pt x="524542" y="39863"/>
                  </a:cubicBezTo>
                  <a:cubicBezTo>
                    <a:pt x="540599" y="38721"/>
                    <a:pt x="554556" y="50605"/>
                    <a:pt x="555716" y="66406"/>
                  </a:cubicBezTo>
                  <a:cubicBezTo>
                    <a:pt x="555772" y="67162"/>
                    <a:pt x="555797" y="67920"/>
                    <a:pt x="555792" y="68678"/>
                  </a:cubicBezTo>
                  <a:lnTo>
                    <a:pt x="555792" y="126954"/>
                  </a:lnTo>
                  <a:lnTo>
                    <a:pt x="530582" y="126954"/>
                  </a:lnTo>
                  <a:lnTo>
                    <a:pt x="530582" y="75914"/>
                  </a:lnTo>
                  <a:cubicBezTo>
                    <a:pt x="531848" y="68888"/>
                    <a:pt x="527086" y="62181"/>
                    <a:pt x="519946" y="60936"/>
                  </a:cubicBezTo>
                  <a:cubicBezTo>
                    <a:pt x="518776" y="60732"/>
                    <a:pt x="517584" y="60685"/>
                    <a:pt x="516402" y="60796"/>
                  </a:cubicBezTo>
                  <a:cubicBezTo>
                    <a:pt x="505898" y="60796"/>
                    <a:pt x="499858" y="69324"/>
                    <a:pt x="499858" y="83150"/>
                  </a:cubicBezTo>
                  <a:lnTo>
                    <a:pt x="499858" y="126954"/>
                  </a:lnTo>
                  <a:lnTo>
                    <a:pt x="474780" y="126954"/>
                  </a:lnTo>
                  <a:lnTo>
                    <a:pt x="474780" y="75914"/>
                  </a:lnTo>
                  <a:cubicBezTo>
                    <a:pt x="476033" y="68885"/>
                    <a:pt x="471259" y="62187"/>
                    <a:pt x="464116" y="60954"/>
                  </a:cubicBezTo>
                  <a:cubicBezTo>
                    <a:pt x="463043" y="60769"/>
                    <a:pt x="461949" y="60716"/>
                    <a:pt x="460862" y="60796"/>
                  </a:cubicBezTo>
                  <a:cubicBezTo>
                    <a:pt x="450489" y="60796"/>
                    <a:pt x="444318" y="69454"/>
                    <a:pt x="444318" y="83150"/>
                  </a:cubicBezTo>
                  <a:lnTo>
                    <a:pt x="444318" y="126954"/>
                  </a:lnTo>
                  <a:lnTo>
                    <a:pt x="418977" y="126954"/>
                  </a:lnTo>
                  <a:lnTo>
                    <a:pt x="418977" y="41285"/>
                  </a:lnTo>
                  <a:lnTo>
                    <a:pt x="444318" y="41285"/>
                  </a:lnTo>
                  <a:lnTo>
                    <a:pt x="444318" y="52785"/>
                  </a:lnTo>
                  <a:cubicBezTo>
                    <a:pt x="449587" y="44489"/>
                    <a:pt x="458935" y="39570"/>
                    <a:pt x="468871" y="39863"/>
                  </a:cubicBezTo>
                  <a:close/>
                  <a:moveTo>
                    <a:pt x="364489" y="39863"/>
                  </a:moveTo>
                  <a:cubicBezTo>
                    <a:pt x="389455" y="39935"/>
                    <a:pt x="409656" y="59873"/>
                    <a:pt x="409656" y="84443"/>
                  </a:cubicBezTo>
                  <a:cubicBezTo>
                    <a:pt x="409656" y="84486"/>
                    <a:pt x="409656" y="84529"/>
                    <a:pt x="409656" y="84572"/>
                  </a:cubicBezTo>
                  <a:cubicBezTo>
                    <a:pt x="409583" y="109192"/>
                    <a:pt x="389244" y="129093"/>
                    <a:pt x="364227" y="129021"/>
                  </a:cubicBezTo>
                  <a:cubicBezTo>
                    <a:pt x="339208" y="128950"/>
                    <a:pt x="318986" y="108934"/>
                    <a:pt x="319059" y="84313"/>
                  </a:cubicBezTo>
                  <a:cubicBezTo>
                    <a:pt x="319131" y="59693"/>
                    <a:pt x="339471" y="39792"/>
                    <a:pt x="364489" y="39863"/>
                  </a:cubicBezTo>
                  <a:close/>
                  <a:moveTo>
                    <a:pt x="0" y="7947"/>
                  </a:moveTo>
                  <a:lnTo>
                    <a:pt x="27179" y="7947"/>
                  </a:lnTo>
                  <a:lnTo>
                    <a:pt x="27179" y="54206"/>
                  </a:lnTo>
                  <a:lnTo>
                    <a:pt x="75236" y="54206"/>
                  </a:lnTo>
                  <a:lnTo>
                    <a:pt x="75236" y="7947"/>
                  </a:lnTo>
                  <a:lnTo>
                    <a:pt x="102678" y="7947"/>
                  </a:lnTo>
                  <a:lnTo>
                    <a:pt x="102678" y="126954"/>
                  </a:lnTo>
                  <a:lnTo>
                    <a:pt x="75236" y="126954"/>
                  </a:lnTo>
                  <a:lnTo>
                    <a:pt x="75236" y="77207"/>
                  </a:lnTo>
                  <a:lnTo>
                    <a:pt x="27179" y="77207"/>
                  </a:lnTo>
                  <a:lnTo>
                    <a:pt x="27179" y="126954"/>
                  </a:lnTo>
                  <a:lnTo>
                    <a:pt x="0" y="126954"/>
                  </a:lnTo>
                  <a:close/>
                  <a:moveTo>
                    <a:pt x="210736" y="6526"/>
                  </a:moveTo>
                  <a:lnTo>
                    <a:pt x="236078" y="6526"/>
                  </a:lnTo>
                  <a:lnTo>
                    <a:pt x="236078" y="126955"/>
                  </a:lnTo>
                  <a:lnTo>
                    <a:pt x="210736" y="126955"/>
                  </a:lnTo>
                  <a:close/>
                  <a:moveTo>
                    <a:pt x="166619" y="6526"/>
                  </a:moveTo>
                  <a:lnTo>
                    <a:pt x="192093" y="6526"/>
                  </a:lnTo>
                  <a:lnTo>
                    <a:pt x="192093" y="126955"/>
                  </a:lnTo>
                  <a:lnTo>
                    <a:pt x="166619" y="126955"/>
                  </a:lnTo>
                  <a:close/>
                  <a:moveTo>
                    <a:pt x="134188" y="66"/>
                  </a:moveTo>
                  <a:cubicBezTo>
                    <a:pt x="134276" y="65"/>
                    <a:pt x="134364" y="65"/>
                    <a:pt x="134452" y="66"/>
                  </a:cubicBezTo>
                  <a:cubicBezTo>
                    <a:pt x="142828" y="-702"/>
                    <a:pt x="150250" y="5357"/>
                    <a:pt x="151030" y="13600"/>
                  </a:cubicBezTo>
                  <a:cubicBezTo>
                    <a:pt x="151810" y="21842"/>
                    <a:pt x="145653" y="29148"/>
                    <a:pt x="137277" y="29915"/>
                  </a:cubicBezTo>
                  <a:cubicBezTo>
                    <a:pt x="136338" y="30002"/>
                    <a:pt x="135392" y="30002"/>
                    <a:pt x="134452" y="29915"/>
                  </a:cubicBezTo>
                  <a:cubicBezTo>
                    <a:pt x="126185" y="29988"/>
                    <a:pt x="119424" y="23451"/>
                    <a:pt x="119350" y="15316"/>
                  </a:cubicBezTo>
                  <a:cubicBezTo>
                    <a:pt x="119349" y="15186"/>
                    <a:pt x="119349" y="15056"/>
                    <a:pt x="119352" y="14926"/>
                  </a:cubicBezTo>
                  <a:cubicBezTo>
                    <a:pt x="119279" y="6790"/>
                    <a:pt x="125921" y="137"/>
                    <a:pt x="134188" y="66"/>
                  </a:cubicBezTo>
                  <a:close/>
                </a:path>
              </a:pathLst>
            </a:custGeom>
            <a:solidFill>
              <a:schemeClr val="bg1"/>
            </a:solidFill>
            <a:ln w="9525" cap="flat">
              <a:noFill/>
              <a:prstDash val="solid"/>
              <a:miter/>
            </a:ln>
          </p:spPr>
          <p:txBody>
            <a:bodyPr wrap="square" rtlCol="0" anchor="ctr">
              <a:noAutofit/>
            </a:bodyPr>
            <a:lstStyle/>
            <a:p>
              <a:endParaRPr lang="en-US"/>
            </a:p>
          </p:txBody>
        </p:sp>
      </p:grpSp>
      <p:sp>
        <p:nvSpPr>
          <p:cNvPr id="13" name="Text Placeholder 3">
            <a:extLst>
              <a:ext uri="{FF2B5EF4-FFF2-40B4-BE49-F238E27FC236}">
                <a16:creationId xmlns:a16="http://schemas.microsoft.com/office/drawing/2014/main" id="{278EA02E-8A63-D247-9150-43E206E6F8E6}"/>
              </a:ext>
            </a:extLst>
          </p:cNvPr>
          <p:cNvSpPr>
            <a:spLocks noGrp="1"/>
          </p:cNvSpPr>
          <p:nvPr>
            <p:ph type="body" sz="quarter" idx="17"/>
          </p:nvPr>
        </p:nvSpPr>
        <p:spPr>
          <a:xfrm>
            <a:off x="1199396" y="1852550"/>
            <a:ext cx="10338483" cy="4066571"/>
          </a:xfrm>
          <a:prstGeom prst="rect">
            <a:avLst/>
          </a:prstGeom>
        </p:spPr>
        <p:txBody>
          <a:bodyPr/>
          <a:lstStyle>
            <a:lvl1pPr marL="352425" indent="-352425">
              <a:lnSpc>
                <a:spcPct val="84000"/>
              </a:lnSpc>
              <a:spcBef>
                <a:spcPts val="0"/>
              </a:spcBef>
              <a:buNone/>
              <a:tabLst/>
              <a:defRPr sz="5600">
                <a:solidFill>
                  <a:schemeClr val="bg1"/>
                </a:solidFill>
              </a:defRPr>
            </a:lvl1pPr>
            <a:lvl2pPr marL="6688138" indent="0" algn="l">
              <a:spcBef>
                <a:spcPts val="1800"/>
              </a:spcBef>
              <a:buFont typeface="System Font Regular"/>
              <a:buNone/>
              <a:tabLst/>
              <a:defRPr sz="1400" b="1" cap="all" baseline="0">
                <a:solidFill>
                  <a:schemeClr val="accent1"/>
                </a:solidFill>
              </a:defRPr>
            </a:lvl2pPr>
          </a:lstStyle>
          <a:p>
            <a:pPr lvl="0"/>
            <a:r>
              <a:rPr lang="en-US"/>
              <a:t>Edit Master text styles</a:t>
            </a:r>
          </a:p>
          <a:p>
            <a:pPr lvl="1"/>
            <a:r>
              <a:rPr lang="en-US"/>
              <a:t>Second level</a:t>
            </a:r>
          </a:p>
        </p:txBody>
      </p:sp>
    </p:spTree>
    <p:extLst>
      <p:ext uri="{BB962C8B-B14F-4D97-AF65-F5344CB8AC3E}">
        <p14:creationId xmlns:p14="http://schemas.microsoft.com/office/powerpoint/2010/main" val="173611384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Body - Inset Tex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3A11E069-6729-5A44-98C1-8F8A7DA76147}"/>
              </a:ext>
            </a:extLst>
          </p:cNvPr>
          <p:cNvSpPr/>
          <p:nvPr/>
        </p:nvSpPr>
        <p:spPr>
          <a:xfrm>
            <a:off x="0" y="6474"/>
            <a:ext cx="1220184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Picture Placeholder 27"/>
          <p:cNvSpPr>
            <a:spLocks noGrp="1"/>
          </p:cNvSpPr>
          <p:nvPr>
            <p:ph type="pic" sz="quarter" idx="24" hasCustomPrompt="1"/>
          </p:nvPr>
        </p:nvSpPr>
        <p:spPr>
          <a:xfrm>
            <a:off x="0" y="3572"/>
            <a:ext cx="12188952" cy="6854428"/>
          </a:xfrm>
          <a:custGeom>
            <a:avLst/>
            <a:gdLst>
              <a:gd name="connsiteX0" fmla="*/ 12189147 w 12201847"/>
              <a:gd name="connsiteY0" fmla="*/ 494651 h 6854428"/>
              <a:gd name="connsiteX1" fmla="*/ 12201847 w 12201847"/>
              <a:gd name="connsiteY1" fmla="*/ 494651 h 6854428"/>
              <a:gd name="connsiteX2" fmla="*/ 12201847 w 12201847"/>
              <a:gd name="connsiteY2" fmla="*/ 5919709 h 6854428"/>
              <a:gd name="connsiteX3" fmla="*/ 12189147 w 12201847"/>
              <a:gd name="connsiteY3" fmla="*/ 5919709 h 6854428"/>
              <a:gd name="connsiteX4" fmla="*/ 0 w 12201847"/>
              <a:gd name="connsiteY4" fmla="*/ 0 h 6854428"/>
              <a:gd name="connsiteX5" fmla="*/ 12189147 w 12201847"/>
              <a:gd name="connsiteY5" fmla="*/ 0 h 6854428"/>
              <a:gd name="connsiteX6" fmla="*/ 12189147 w 12201847"/>
              <a:gd name="connsiteY6" fmla="*/ 494651 h 6854428"/>
              <a:gd name="connsiteX7" fmla="*/ 6776407 w 12201847"/>
              <a:gd name="connsiteY7" fmla="*/ 494651 h 6854428"/>
              <a:gd name="connsiteX8" fmla="*/ 6776407 w 12201847"/>
              <a:gd name="connsiteY8" fmla="*/ 5919709 h 6854428"/>
              <a:gd name="connsiteX9" fmla="*/ 12189147 w 12201847"/>
              <a:gd name="connsiteY9" fmla="*/ 5919709 h 6854428"/>
              <a:gd name="connsiteX10" fmla="*/ 12189147 w 12201847"/>
              <a:gd name="connsiteY10" fmla="*/ 6854428 h 6854428"/>
              <a:gd name="connsiteX11" fmla="*/ 0 w 12201847"/>
              <a:gd name="connsiteY11" fmla="*/ 6854428 h 6854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01847" h="6854428">
                <a:moveTo>
                  <a:pt x="12189147" y="494651"/>
                </a:moveTo>
                <a:lnTo>
                  <a:pt x="12201847" y="494651"/>
                </a:lnTo>
                <a:lnTo>
                  <a:pt x="12201847" y="5919709"/>
                </a:lnTo>
                <a:lnTo>
                  <a:pt x="12189147" y="5919709"/>
                </a:lnTo>
                <a:close/>
                <a:moveTo>
                  <a:pt x="0" y="0"/>
                </a:moveTo>
                <a:lnTo>
                  <a:pt x="12189147" y="0"/>
                </a:lnTo>
                <a:lnTo>
                  <a:pt x="12189147" y="494651"/>
                </a:lnTo>
                <a:lnTo>
                  <a:pt x="6776407" y="494651"/>
                </a:lnTo>
                <a:lnTo>
                  <a:pt x="6776407" y="5919709"/>
                </a:lnTo>
                <a:lnTo>
                  <a:pt x="12189147" y="5919709"/>
                </a:lnTo>
                <a:lnTo>
                  <a:pt x="12189147" y="6854428"/>
                </a:lnTo>
                <a:lnTo>
                  <a:pt x="0" y="6854428"/>
                </a:lnTo>
                <a:close/>
              </a:path>
            </a:pathLst>
          </a:custGeom>
          <a:solidFill>
            <a:schemeClr val="accent6">
              <a:lumMod val="20000"/>
              <a:lumOff val="80000"/>
            </a:schemeClr>
          </a:solidFill>
        </p:spPr>
        <p:txBody>
          <a:bodyPr wrap="square" anchor="ctr">
            <a:noAutofit/>
          </a:bodyPr>
          <a:lstStyle>
            <a:lvl1pPr marL="91440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pPr marL="91440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Insert picture and send to back</a:t>
            </a:r>
          </a:p>
        </p:txBody>
      </p:sp>
      <p:sp>
        <p:nvSpPr>
          <p:cNvPr id="7" name="Rectangle 6">
            <a:extLst>
              <a:ext uri="{FF2B5EF4-FFF2-40B4-BE49-F238E27FC236}">
                <a16:creationId xmlns:a16="http://schemas.microsoft.com/office/drawing/2014/main" id="{B6306FDD-8E4E-B844-AF60-69EA31F54EFC}"/>
              </a:ext>
            </a:extLst>
          </p:cNvPr>
          <p:cNvSpPr/>
          <p:nvPr/>
        </p:nvSpPr>
        <p:spPr>
          <a:xfrm>
            <a:off x="6766560" y="498223"/>
            <a:ext cx="5425440" cy="54250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Slide Number Placeholder 5">
            <a:extLst>
              <a:ext uri="{FF2B5EF4-FFF2-40B4-BE49-F238E27FC236}">
                <a16:creationId xmlns:a16="http://schemas.microsoft.com/office/drawing/2014/main" id="{6AA0B4D3-F1D5-E840-816A-8B71734B0CEE}"/>
              </a:ext>
            </a:extLst>
          </p:cNvPr>
          <p:cNvSpPr>
            <a:spLocks noGrp="1"/>
          </p:cNvSpPr>
          <p:nvPr>
            <p:ph type="sldNum" sz="quarter" idx="4"/>
          </p:nvPr>
        </p:nvSpPr>
        <p:spPr>
          <a:xfrm>
            <a:off x="11537879" y="6325527"/>
            <a:ext cx="370726" cy="365125"/>
          </a:xfrm>
          <a:prstGeom prst="rect">
            <a:avLst/>
          </a:prstGeom>
        </p:spPr>
        <p:txBody>
          <a:bodyPr vert="horz" lIns="91440" tIns="45720" rIns="91440" bIns="45720" rtlCol="0" anchor="b"/>
          <a:lstStyle>
            <a:lvl1pPr algn="r">
              <a:defRPr sz="800" b="1" i="0">
                <a:solidFill>
                  <a:schemeClr val="bg1"/>
                </a:solidFill>
                <a:latin typeface="+mj-lt"/>
              </a:defRPr>
            </a:lvl1pPr>
          </a:lstStyle>
          <a:p>
            <a:fld id="{EB3C441C-A16D-4531-8F9E-BFE4D57FBC82}" type="slidenum">
              <a:rPr lang="en-US" smtClean="0"/>
              <a:t>‹N°›</a:t>
            </a:fld>
            <a:endParaRPr lang="en-US"/>
          </a:p>
        </p:txBody>
      </p:sp>
      <p:sp>
        <p:nvSpPr>
          <p:cNvPr id="27" name="Text Placeholder 3">
            <a:extLst>
              <a:ext uri="{FF2B5EF4-FFF2-40B4-BE49-F238E27FC236}">
                <a16:creationId xmlns:a16="http://schemas.microsoft.com/office/drawing/2014/main" id="{33D44299-E0E2-EA46-8F0B-781954499A3F}"/>
              </a:ext>
            </a:extLst>
          </p:cNvPr>
          <p:cNvSpPr>
            <a:spLocks noGrp="1"/>
          </p:cNvSpPr>
          <p:nvPr>
            <p:ph type="body" sz="quarter" idx="13"/>
          </p:nvPr>
        </p:nvSpPr>
        <p:spPr>
          <a:xfrm>
            <a:off x="688350" y="498222"/>
            <a:ext cx="1997663" cy="244682"/>
          </a:xfrm>
          <a:prstGeom prst="rect">
            <a:avLst/>
          </a:prstGeom>
          <a:solidFill>
            <a:schemeClr val="accent1"/>
          </a:solidFill>
          <a:ln>
            <a:noFill/>
          </a:ln>
        </p:spPr>
        <p:txBody>
          <a:bodyPr wrap="none" anchor="ctr">
            <a:spAutoFit/>
          </a:bodyPr>
          <a:lstStyle>
            <a:lvl1pPr marL="0" indent="0">
              <a:buNone/>
              <a:defRPr sz="1100" b="1" cap="all" spc="50" baseline="0">
                <a:solidFill>
                  <a:schemeClr val="bg1"/>
                </a:solidFill>
                <a:latin typeface="+mj-lt"/>
              </a:defRPr>
            </a:lvl1pPr>
          </a:lstStyle>
          <a:p>
            <a:pPr lvl="0"/>
            <a:r>
              <a:rPr lang="en-US"/>
              <a:t>Edit Master text styles</a:t>
            </a:r>
          </a:p>
        </p:txBody>
      </p:sp>
      <p:sp>
        <p:nvSpPr>
          <p:cNvPr id="30" name="Footer Placeholder 54">
            <a:extLst>
              <a:ext uri="{FF2B5EF4-FFF2-40B4-BE49-F238E27FC236}">
                <a16:creationId xmlns:a16="http://schemas.microsoft.com/office/drawing/2014/main" id="{FBF5E17B-C670-4E4D-BB7F-743CB1137D68}"/>
              </a:ext>
            </a:extLst>
          </p:cNvPr>
          <p:cNvSpPr>
            <a:spLocks noGrp="1"/>
          </p:cNvSpPr>
          <p:nvPr>
            <p:ph type="ftr" sz="quarter" idx="15"/>
          </p:nvPr>
        </p:nvSpPr>
        <p:spPr>
          <a:xfrm>
            <a:off x="1819551" y="6340392"/>
            <a:ext cx="4114800" cy="365125"/>
          </a:xfrm>
          <a:prstGeom prst="rect">
            <a:avLst/>
          </a:prstGeom>
        </p:spPr>
        <p:txBody>
          <a:bodyPr anchor="b" anchorCtr="0"/>
          <a:lstStyle>
            <a:lvl1pPr>
              <a:defRPr sz="700">
                <a:solidFill>
                  <a:schemeClr val="bg1"/>
                </a:solidFill>
              </a:defRPr>
            </a:lvl1pPr>
          </a:lstStyle>
          <a:p>
            <a:endParaRPr lang="en-US"/>
          </a:p>
        </p:txBody>
      </p:sp>
      <p:sp>
        <p:nvSpPr>
          <p:cNvPr id="31" name="Title 8">
            <a:extLst>
              <a:ext uri="{FF2B5EF4-FFF2-40B4-BE49-F238E27FC236}">
                <a16:creationId xmlns:a16="http://schemas.microsoft.com/office/drawing/2014/main" id="{9577566B-579A-F64E-8ABD-A539C8592B64}"/>
              </a:ext>
            </a:extLst>
          </p:cNvPr>
          <p:cNvSpPr>
            <a:spLocks noGrp="1"/>
          </p:cNvSpPr>
          <p:nvPr>
            <p:ph type="title"/>
          </p:nvPr>
        </p:nvSpPr>
        <p:spPr>
          <a:xfrm>
            <a:off x="7241797" y="1266092"/>
            <a:ext cx="4365238" cy="1635370"/>
          </a:xfrm>
          <a:prstGeom prst="rect">
            <a:avLst/>
          </a:prstGeom>
        </p:spPr>
        <p:txBody>
          <a:bodyPr/>
          <a:lstStyle>
            <a:lvl1pPr>
              <a:lnSpc>
                <a:spcPct val="100000"/>
              </a:lnSpc>
              <a:defRPr b="1" i="0" cap="none" spc="0" baseline="0">
                <a:latin typeface="+mj-lt"/>
              </a:defRPr>
            </a:lvl1pPr>
          </a:lstStyle>
          <a:p>
            <a:r>
              <a:rPr lang="en-US"/>
              <a:t>Click to edit Master title style</a:t>
            </a:r>
          </a:p>
        </p:txBody>
      </p:sp>
      <p:sp>
        <p:nvSpPr>
          <p:cNvPr id="29" name="Subtitle 2">
            <a:extLst>
              <a:ext uri="{FF2B5EF4-FFF2-40B4-BE49-F238E27FC236}">
                <a16:creationId xmlns:a16="http://schemas.microsoft.com/office/drawing/2014/main" id="{50FA8379-7DB8-6A4E-8228-0E7AEFB8C1CB}"/>
              </a:ext>
            </a:extLst>
          </p:cNvPr>
          <p:cNvSpPr>
            <a:spLocks noGrp="1"/>
          </p:cNvSpPr>
          <p:nvPr>
            <p:ph type="subTitle" idx="1"/>
          </p:nvPr>
        </p:nvSpPr>
        <p:spPr>
          <a:xfrm>
            <a:off x="7247451" y="3042138"/>
            <a:ext cx="4369431" cy="380487"/>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lang="en-US" sz="1600" b="1" i="0" kern="1200" cap="all" spc="50" baseline="0" dirty="0">
                <a:solidFill>
                  <a:schemeClr val="accent1"/>
                </a:solidFill>
                <a:latin typeface="+mj-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2" name="Content Placeholder 49">
            <a:extLst>
              <a:ext uri="{FF2B5EF4-FFF2-40B4-BE49-F238E27FC236}">
                <a16:creationId xmlns:a16="http://schemas.microsoft.com/office/drawing/2014/main" id="{15DB3A29-68F5-644E-9697-00D460D451AD}"/>
              </a:ext>
            </a:extLst>
          </p:cNvPr>
          <p:cNvSpPr>
            <a:spLocks noGrp="1"/>
          </p:cNvSpPr>
          <p:nvPr>
            <p:ph sz="quarter" idx="11"/>
          </p:nvPr>
        </p:nvSpPr>
        <p:spPr>
          <a:xfrm>
            <a:off x="7241797" y="3563300"/>
            <a:ext cx="4375085" cy="1834483"/>
          </a:xfrm>
          <a:prstGeom prst="rect">
            <a:avLst/>
          </a:prstGeom>
        </p:spPr>
        <p:txBody>
          <a:bodyPr/>
          <a:lstStyle>
            <a:lvl1pPr marL="0" indent="0">
              <a:lnSpc>
                <a:spcPts val="2100"/>
              </a:lnSpc>
              <a:spcBef>
                <a:spcPts val="0"/>
              </a:spcBef>
              <a:buNone/>
              <a:defRPr lang="en-US" sz="1400" kern="1200" dirty="0">
                <a:solidFill>
                  <a:schemeClr val="tx1"/>
                </a:solidFill>
                <a:latin typeface="+mn-lt"/>
                <a:ea typeface="+mn-ea"/>
                <a:cs typeface="+mn-cs"/>
              </a:defRPr>
            </a:lvl1pPr>
            <a:lvl2pPr marL="11113" indent="0">
              <a:lnSpc>
                <a:spcPct val="110000"/>
              </a:lnSpc>
              <a:spcBef>
                <a:spcPts val="0"/>
              </a:spcBef>
              <a:spcAft>
                <a:spcPts val="0"/>
              </a:spcAft>
              <a:buNone/>
              <a:tabLst/>
              <a:defRPr sz="1400"/>
            </a:lvl2pPr>
            <a:lvl3pPr marL="230188" indent="-219075">
              <a:lnSpc>
                <a:spcPct val="110000"/>
              </a:lnSpc>
              <a:spcBef>
                <a:spcPts val="0"/>
              </a:spcBef>
              <a:spcAft>
                <a:spcPts val="0"/>
              </a:spcAft>
              <a:buFont typeface="System Font Regular"/>
              <a:buChar char="–"/>
              <a:tabLst/>
              <a:defRPr lang="en-US" sz="1400" kern="1200" dirty="0">
                <a:solidFill>
                  <a:schemeClr val="tx1"/>
                </a:solidFill>
                <a:latin typeface="+mn-lt"/>
                <a:ea typeface="+mn-ea"/>
                <a:cs typeface="+mn-cs"/>
              </a:defRPr>
            </a:lvl3pPr>
            <a:lvl4pPr marL="452437" indent="-285750">
              <a:lnSpc>
                <a:spcPct val="110000"/>
              </a:lnSpc>
              <a:spcAft>
                <a:spcPts val="0"/>
              </a:spcAft>
              <a:defRPr lang="en-US" sz="1400" kern="1200" dirty="0">
                <a:solidFill>
                  <a:schemeClr val="tx1"/>
                </a:solidFill>
                <a:latin typeface="+mn-lt"/>
                <a:ea typeface="+mn-ea"/>
                <a:cs typeface="+mn-cs"/>
              </a:defRPr>
            </a:lvl4pPr>
            <a:lvl5pPr marL="684212" indent="-285750">
              <a:lnSpc>
                <a:spcPct val="110000"/>
              </a:lnSpc>
              <a:spcAft>
                <a:spcPts val="0"/>
              </a:spcAft>
              <a:defRPr lang="en-US" sz="1400" kern="1200" dirty="0">
                <a:solidFill>
                  <a:schemeClr val="tx1"/>
                </a:solidFill>
                <a:latin typeface="+mn-lt"/>
                <a:ea typeface="+mn-ea"/>
                <a:cs typeface="+mn-cs"/>
              </a:defRPr>
            </a:lvl5pPr>
          </a:lstStyle>
          <a:p>
            <a:pPr marL="0" lvl="0" indent="0" algn="l" defTabSz="914400" rtl="0" eaLnBrk="1" latinLnBrk="0" hangingPunct="1">
              <a:lnSpc>
                <a:spcPct val="125000"/>
              </a:lnSpc>
              <a:spcBef>
                <a:spcPts val="0"/>
              </a:spcBef>
              <a:buFont typeface="Arial" panose="020B0604020202020204" pitchFamily="34" charset="0"/>
              <a:buNone/>
            </a:pPr>
            <a:r>
              <a:rPr lang="en-US"/>
              <a:t>Edit Master text styles</a:t>
            </a:r>
          </a:p>
          <a:p>
            <a:pPr marL="0" lvl="1" indent="0" algn="l" defTabSz="914400" rtl="0" eaLnBrk="1" latinLnBrk="0" hangingPunct="1">
              <a:lnSpc>
                <a:spcPct val="125000"/>
              </a:lnSpc>
              <a:spcBef>
                <a:spcPts val="0"/>
              </a:spcBef>
              <a:buFont typeface="Arial" panose="020B0604020202020204" pitchFamily="34" charset="0"/>
              <a:buNone/>
            </a:pPr>
            <a:r>
              <a:rPr lang="en-US"/>
              <a:t>Second level</a:t>
            </a:r>
          </a:p>
          <a:p>
            <a:pPr marL="0" lvl="2" indent="0" algn="l" defTabSz="914400" rtl="0" eaLnBrk="1" latinLnBrk="0" hangingPunct="1">
              <a:lnSpc>
                <a:spcPct val="125000"/>
              </a:lnSpc>
              <a:spcBef>
                <a:spcPts val="0"/>
              </a:spcBef>
              <a:buFont typeface="Arial" panose="020B0604020202020204" pitchFamily="34" charset="0"/>
              <a:buNone/>
            </a:pPr>
            <a:r>
              <a:rPr lang="en-US"/>
              <a:t>Third level</a:t>
            </a:r>
          </a:p>
          <a:p>
            <a:pPr marL="0" lvl="3" indent="0" algn="l" defTabSz="914400" rtl="0" eaLnBrk="1" latinLnBrk="0" hangingPunct="1">
              <a:lnSpc>
                <a:spcPct val="125000"/>
              </a:lnSpc>
              <a:spcBef>
                <a:spcPts val="0"/>
              </a:spcBef>
              <a:buFont typeface="Arial" panose="020B0604020202020204" pitchFamily="34" charset="0"/>
              <a:buNone/>
            </a:pPr>
            <a:r>
              <a:rPr lang="en-US"/>
              <a:t>Fourth level</a:t>
            </a:r>
          </a:p>
          <a:p>
            <a:pPr marL="0" lvl="4" indent="0" algn="l" defTabSz="914400" rtl="0" eaLnBrk="1" latinLnBrk="0" hangingPunct="1">
              <a:lnSpc>
                <a:spcPct val="125000"/>
              </a:lnSpc>
              <a:spcBef>
                <a:spcPts val="0"/>
              </a:spcBef>
              <a:buFont typeface="Arial" panose="020B0604020202020204" pitchFamily="34" charset="0"/>
              <a:buNone/>
            </a:pPr>
            <a:r>
              <a:rPr lang="en-US"/>
              <a:t>Fifth level</a:t>
            </a:r>
          </a:p>
        </p:txBody>
      </p:sp>
      <p:grpSp>
        <p:nvGrpSpPr>
          <p:cNvPr id="33" name="Group 32">
            <a:extLst>
              <a:ext uri="{FF2B5EF4-FFF2-40B4-BE49-F238E27FC236}">
                <a16:creationId xmlns:a16="http://schemas.microsoft.com/office/drawing/2014/main" id="{3DC5D554-C6F0-9B43-8AE8-B26680C91BC6}"/>
              </a:ext>
            </a:extLst>
          </p:cNvPr>
          <p:cNvGrpSpPr/>
          <p:nvPr/>
        </p:nvGrpSpPr>
        <p:grpSpPr>
          <a:xfrm>
            <a:off x="3047" y="6305605"/>
            <a:ext cx="1254409" cy="552395"/>
            <a:chOff x="3047" y="6305605"/>
            <a:chExt cx="1254409" cy="552395"/>
          </a:xfrm>
        </p:grpSpPr>
        <p:grpSp>
          <p:nvGrpSpPr>
            <p:cNvPr id="34" name="Group 33">
              <a:extLst>
                <a:ext uri="{FF2B5EF4-FFF2-40B4-BE49-F238E27FC236}">
                  <a16:creationId xmlns:a16="http://schemas.microsoft.com/office/drawing/2014/main" id="{65D2BAB7-96A7-C44D-A163-5D99E5E8D6AB}"/>
                </a:ext>
              </a:extLst>
            </p:cNvPr>
            <p:cNvGrpSpPr/>
            <p:nvPr/>
          </p:nvGrpSpPr>
          <p:grpSpPr>
            <a:xfrm>
              <a:off x="3047" y="6305605"/>
              <a:ext cx="551693" cy="552395"/>
              <a:chOff x="3047" y="6305605"/>
              <a:chExt cx="551693" cy="552395"/>
            </a:xfrm>
          </p:grpSpPr>
          <p:sp>
            <p:nvSpPr>
              <p:cNvPr id="50" name="Rectangle 49">
                <a:extLst>
                  <a:ext uri="{FF2B5EF4-FFF2-40B4-BE49-F238E27FC236}">
                    <a16:creationId xmlns:a16="http://schemas.microsoft.com/office/drawing/2014/main" id="{183C9B28-7910-1D4E-86CC-3C820D42924E}"/>
                  </a:ext>
                </a:extLst>
              </p:cNvPr>
              <p:cNvSpPr/>
              <p:nvPr/>
            </p:nvSpPr>
            <p:spPr>
              <a:xfrm>
                <a:off x="3047" y="6305605"/>
                <a:ext cx="551693" cy="552395"/>
              </a:xfrm>
              <a:prstGeom prst="rect">
                <a:avLst/>
              </a:prstGeom>
              <a:solidFill>
                <a:srgbClr val="5369E4"/>
              </a:solidFill>
              <a:ln w="9525" cap="flat">
                <a:noFill/>
                <a:prstDash val="solid"/>
                <a:miter/>
              </a:ln>
            </p:spPr>
            <p:txBody>
              <a:bodyPr rtlCol="0" anchor="ctr"/>
              <a:lstStyle/>
              <a:p>
                <a:endParaRPr lang="en-US"/>
              </a:p>
            </p:txBody>
          </p:sp>
          <p:sp>
            <p:nvSpPr>
              <p:cNvPr id="51" name="Freeform 50">
                <a:extLst>
                  <a:ext uri="{FF2B5EF4-FFF2-40B4-BE49-F238E27FC236}">
                    <a16:creationId xmlns:a16="http://schemas.microsoft.com/office/drawing/2014/main" id="{B8EF9641-F16E-4549-A00D-838813CDCCA7}"/>
                  </a:ext>
                </a:extLst>
              </p:cNvPr>
              <p:cNvSpPr/>
              <p:nvPr/>
            </p:nvSpPr>
            <p:spPr>
              <a:xfrm>
                <a:off x="173577" y="6501753"/>
                <a:ext cx="279408" cy="175345"/>
              </a:xfrm>
              <a:custGeom>
                <a:avLst/>
                <a:gdLst>
                  <a:gd name="connsiteX0" fmla="*/ 102941 w 279408"/>
                  <a:gd name="connsiteY0" fmla="*/ 59439 h 175345"/>
                  <a:gd name="connsiteX1" fmla="*/ 132352 w 279408"/>
                  <a:gd name="connsiteY1" fmla="*/ 88384 h 175345"/>
                  <a:gd name="connsiteX2" fmla="*/ 102941 w 279408"/>
                  <a:gd name="connsiteY2" fmla="*/ 117329 h 175345"/>
                  <a:gd name="connsiteX3" fmla="*/ 73528 w 279408"/>
                  <a:gd name="connsiteY3" fmla="*/ 88384 h 175345"/>
                  <a:gd name="connsiteX4" fmla="*/ 102941 w 279408"/>
                  <a:gd name="connsiteY4" fmla="*/ 59439 h 175345"/>
                  <a:gd name="connsiteX5" fmla="*/ 147056 w 279408"/>
                  <a:gd name="connsiteY5" fmla="*/ 1809 h 175345"/>
                  <a:gd name="connsiteX6" fmla="*/ 205880 w 279408"/>
                  <a:gd name="connsiteY6" fmla="*/ 1809 h 175345"/>
                  <a:gd name="connsiteX7" fmla="*/ 205880 w 279408"/>
                  <a:gd name="connsiteY7" fmla="*/ 59698 h 175345"/>
                  <a:gd name="connsiteX8" fmla="*/ 205880 w 279408"/>
                  <a:gd name="connsiteY8" fmla="*/ 117457 h 175345"/>
                  <a:gd name="connsiteX9" fmla="*/ 205880 w 279408"/>
                  <a:gd name="connsiteY9" fmla="*/ 175345 h 175345"/>
                  <a:gd name="connsiteX10" fmla="*/ 147056 w 279408"/>
                  <a:gd name="connsiteY10" fmla="*/ 175345 h 175345"/>
                  <a:gd name="connsiteX11" fmla="*/ 147056 w 279408"/>
                  <a:gd name="connsiteY11" fmla="*/ 117457 h 175345"/>
                  <a:gd name="connsiteX12" fmla="*/ 147056 w 279408"/>
                  <a:gd name="connsiteY12" fmla="*/ 59698 h 175345"/>
                  <a:gd name="connsiteX13" fmla="*/ 0 w 279408"/>
                  <a:gd name="connsiteY13" fmla="*/ 1809 h 175345"/>
                  <a:gd name="connsiteX14" fmla="*/ 58824 w 279408"/>
                  <a:gd name="connsiteY14" fmla="*/ 1809 h 175345"/>
                  <a:gd name="connsiteX15" fmla="*/ 58824 w 279408"/>
                  <a:gd name="connsiteY15" fmla="*/ 59698 h 175345"/>
                  <a:gd name="connsiteX16" fmla="*/ 58824 w 279408"/>
                  <a:gd name="connsiteY16" fmla="*/ 117457 h 175345"/>
                  <a:gd name="connsiteX17" fmla="*/ 58824 w 279408"/>
                  <a:gd name="connsiteY17" fmla="*/ 175345 h 175345"/>
                  <a:gd name="connsiteX18" fmla="*/ 0 w 279408"/>
                  <a:gd name="connsiteY18" fmla="*/ 175345 h 175345"/>
                  <a:gd name="connsiteX19" fmla="*/ 0 w 279408"/>
                  <a:gd name="connsiteY19" fmla="*/ 117457 h 175345"/>
                  <a:gd name="connsiteX20" fmla="*/ 0 w 279408"/>
                  <a:gd name="connsiteY20" fmla="*/ 59698 h 175345"/>
                  <a:gd name="connsiteX21" fmla="*/ 249997 w 279408"/>
                  <a:gd name="connsiteY21" fmla="*/ 0 h 175345"/>
                  <a:gd name="connsiteX22" fmla="*/ 279408 w 279408"/>
                  <a:gd name="connsiteY22" fmla="*/ 28945 h 175345"/>
                  <a:gd name="connsiteX23" fmla="*/ 249997 w 279408"/>
                  <a:gd name="connsiteY23" fmla="*/ 57890 h 175345"/>
                  <a:gd name="connsiteX24" fmla="*/ 220584 w 279408"/>
                  <a:gd name="connsiteY24" fmla="*/ 28945 h 175345"/>
                  <a:gd name="connsiteX25" fmla="*/ 249997 w 279408"/>
                  <a:gd name="connsiteY25" fmla="*/ 0 h 175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79408" h="175345">
                    <a:moveTo>
                      <a:pt x="102941" y="59439"/>
                    </a:moveTo>
                    <a:cubicBezTo>
                      <a:pt x="119184" y="59439"/>
                      <a:pt x="132352" y="72399"/>
                      <a:pt x="132352" y="88384"/>
                    </a:cubicBezTo>
                    <a:cubicBezTo>
                      <a:pt x="132352" y="104370"/>
                      <a:pt x="119184" y="117329"/>
                      <a:pt x="102941" y="117329"/>
                    </a:cubicBezTo>
                    <a:cubicBezTo>
                      <a:pt x="86696" y="117329"/>
                      <a:pt x="73528" y="104370"/>
                      <a:pt x="73528" y="88384"/>
                    </a:cubicBezTo>
                    <a:cubicBezTo>
                      <a:pt x="73528" y="72399"/>
                      <a:pt x="86696" y="59439"/>
                      <a:pt x="102941" y="59439"/>
                    </a:cubicBezTo>
                    <a:close/>
                    <a:moveTo>
                      <a:pt x="147056" y="1809"/>
                    </a:moveTo>
                    <a:lnTo>
                      <a:pt x="205880" y="1809"/>
                    </a:lnTo>
                    <a:lnTo>
                      <a:pt x="205880" y="59698"/>
                    </a:lnTo>
                    <a:lnTo>
                      <a:pt x="205880" y="117457"/>
                    </a:lnTo>
                    <a:lnTo>
                      <a:pt x="205880" y="175345"/>
                    </a:lnTo>
                    <a:lnTo>
                      <a:pt x="147056" y="175345"/>
                    </a:lnTo>
                    <a:lnTo>
                      <a:pt x="147056" y="117457"/>
                    </a:lnTo>
                    <a:lnTo>
                      <a:pt x="147056" y="59698"/>
                    </a:lnTo>
                    <a:close/>
                    <a:moveTo>
                      <a:pt x="0" y="1809"/>
                    </a:moveTo>
                    <a:lnTo>
                      <a:pt x="58824" y="1809"/>
                    </a:lnTo>
                    <a:lnTo>
                      <a:pt x="58824" y="59698"/>
                    </a:lnTo>
                    <a:lnTo>
                      <a:pt x="58824" y="117457"/>
                    </a:lnTo>
                    <a:lnTo>
                      <a:pt x="58824" y="175345"/>
                    </a:lnTo>
                    <a:lnTo>
                      <a:pt x="0" y="175345"/>
                    </a:lnTo>
                    <a:lnTo>
                      <a:pt x="0" y="117457"/>
                    </a:lnTo>
                    <a:lnTo>
                      <a:pt x="0" y="59698"/>
                    </a:lnTo>
                    <a:close/>
                    <a:moveTo>
                      <a:pt x="249997" y="0"/>
                    </a:moveTo>
                    <a:cubicBezTo>
                      <a:pt x="266240" y="0"/>
                      <a:pt x="279408" y="12960"/>
                      <a:pt x="279408" y="28945"/>
                    </a:cubicBezTo>
                    <a:cubicBezTo>
                      <a:pt x="279408" y="44931"/>
                      <a:pt x="266240" y="57890"/>
                      <a:pt x="249997" y="57890"/>
                    </a:cubicBezTo>
                    <a:cubicBezTo>
                      <a:pt x="233752" y="57890"/>
                      <a:pt x="220584" y="44931"/>
                      <a:pt x="220584" y="28945"/>
                    </a:cubicBezTo>
                    <a:cubicBezTo>
                      <a:pt x="220584" y="12960"/>
                      <a:pt x="233752" y="0"/>
                      <a:pt x="249997" y="0"/>
                    </a:cubicBezTo>
                    <a:close/>
                  </a:path>
                </a:pathLst>
              </a:custGeom>
              <a:solidFill>
                <a:srgbClr val="FFFFFF"/>
              </a:solidFill>
              <a:ln w="9525" cap="flat">
                <a:noFill/>
                <a:prstDash val="solid"/>
                <a:miter/>
              </a:ln>
            </p:spPr>
            <p:txBody>
              <a:bodyPr wrap="square" rtlCol="0" anchor="ctr">
                <a:noAutofit/>
              </a:bodyPr>
              <a:lstStyle/>
              <a:p>
                <a:endParaRPr lang="en-US"/>
              </a:p>
            </p:txBody>
          </p:sp>
        </p:grpSp>
        <p:sp>
          <p:nvSpPr>
            <p:cNvPr id="49" name="Freeform 48">
              <a:extLst>
                <a:ext uri="{FF2B5EF4-FFF2-40B4-BE49-F238E27FC236}">
                  <a16:creationId xmlns:a16="http://schemas.microsoft.com/office/drawing/2014/main" id="{5636793F-E1E9-8547-860A-58C303BCB5C2}"/>
                </a:ext>
              </a:extLst>
            </p:cNvPr>
            <p:cNvSpPr/>
            <p:nvPr/>
          </p:nvSpPr>
          <p:spPr>
            <a:xfrm>
              <a:off x="701664" y="6524947"/>
              <a:ext cx="555792" cy="129021"/>
            </a:xfrm>
            <a:custGeom>
              <a:avLst/>
              <a:gdLst>
                <a:gd name="connsiteX0" fmla="*/ 364489 w 555792"/>
                <a:gd name="connsiteY0" fmla="*/ 61830 h 129021"/>
                <a:gd name="connsiteX1" fmla="*/ 343312 w 555792"/>
                <a:gd name="connsiteY1" fmla="*/ 82670 h 129021"/>
                <a:gd name="connsiteX2" fmla="*/ 364489 w 555792"/>
                <a:gd name="connsiteY2" fmla="*/ 106926 h 129021"/>
                <a:gd name="connsiteX3" fmla="*/ 367960 w 555792"/>
                <a:gd name="connsiteY3" fmla="*/ 106926 h 129021"/>
                <a:gd name="connsiteX4" fmla="*/ 389136 w 555792"/>
                <a:gd name="connsiteY4" fmla="*/ 82670 h 129021"/>
                <a:gd name="connsiteX5" fmla="*/ 364489 w 555792"/>
                <a:gd name="connsiteY5" fmla="*/ 61830 h 129021"/>
                <a:gd name="connsiteX6" fmla="*/ 255246 w 555792"/>
                <a:gd name="connsiteY6" fmla="*/ 41285 h 129021"/>
                <a:gd name="connsiteX7" fmla="*/ 280588 w 555792"/>
                <a:gd name="connsiteY7" fmla="*/ 41285 h 129021"/>
                <a:gd name="connsiteX8" fmla="*/ 280588 w 555792"/>
                <a:gd name="connsiteY8" fmla="*/ 126955 h 129021"/>
                <a:gd name="connsiteX9" fmla="*/ 255246 w 555792"/>
                <a:gd name="connsiteY9" fmla="*/ 126955 h 129021"/>
                <a:gd name="connsiteX10" fmla="*/ 121846 w 555792"/>
                <a:gd name="connsiteY10" fmla="*/ 40770 h 129021"/>
                <a:gd name="connsiteX11" fmla="*/ 147188 w 555792"/>
                <a:gd name="connsiteY11" fmla="*/ 40770 h 129021"/>
                <a:gd name="connsiteX12" fmla="*/ 147188 w 555792"/>
                <a:gd name="connsiteY12" fmla="*/ 126439 h 129021"/>
                <a:gd name="connsiteX13" fmla="*/ 121846 w 555792"/>
                <a:gd name="connsiteY13" fmla="*/ 126439 h 129021"/>
                <a:gd name="connsiteX14" fmla="*/ 301329 w 555792"/>
                <a:gd name="connsiteY14" fmla="*/ 40638 h 129021"/>
                <a:gd name="connsiteX15" fmla="*/ 301859 w 555792"/>
                <a:gd name="connsiteY15" fmla="*/ 40638 h 129021"/>
                <a:gd name="connsiteX16" fmla="*/ 316958 w 555792"/>
                <a:gd name="connsiteY16" fmla="*/ 55499 h 129021"/>
                <a:gd name="connsiteX17" fmla="*/ 301859 w 555792"/>
                <a:gd name="connsiteY17" fmla="*/ 70359 h 129021"/>
                <a:gd name="connsiteX18" fmla="*/ 286885 w 555792"/>
                <a:gd name="connsiteY18" fmla="*/ 55893 h 129021"/>
                <a:gd name="connsiteX19" fmla="*/ 286890 w 555792"/>
                <a:gd name="connsiteY19" fmla="*/ 55370 h 129021"/>
                <a:gd name="connsiteX20" fmla="*/ 301329 w 555792"/>
                <a:gd name="connsiteY20" fmla="*/ 40638 h 129021"/>
                <a:gd name="connsiteX21" fmla="*/ 468871 w 555792"/>
                <a:gd name="connsiteY21" fmla="*/ 39863 h 129021"/>
                <a:gd name="connsiteX22" fmla="*/ 495131 w 555792"/>
                <a:gd name="connsiteY22" fmla="*/ 55240 h 129021"/>
                <a:gd name="connsiteX23" fmla="*/ 524542 w 555792"/>
                <a:gd name="connsiteY23" fmla="*/ 39863 h 129021"/>
                <a:gd name="connsiteX24" fmla="*/ 555716 w 555792"/>
                <a:gd name="connsiteY24" fmla="*/ 66406 h 129021"/>
                <a:gd name="connsiteX25" fmla="*/ 555792 w 555792"/>
                <a:gd name="connsiteY25" fmla="*/ 68678 h 129021"/>
                <a:gd name="connsiteX26" fmla="*/ 555792 w 555792"/>
                <a:gd name="connsiteY26" fmla="*/ 126954 h 129021"/>
                <a:gd name="connsiteX27" fmla="*/ 530582 w 555792"/>
                <a:gd name="connsiteY27" fmla="*/ 126954 h 129021"/>
                <a:gd name="connsiteX28" fmla="*/ 530582 w 555792"/>
                <a:gd name="connsiteY28" fmla="*/ 75914 h 129021"/>
                <a:gd name="connsiteX29" fmla="*/ 519946 w 555792"/>
                <a:gd name="connsiteY29" fmla="*/ 60936 h 129021"/>
                <a:gd name="connsiteX30" fmla="*/ 516402 w 555792"/>
                <a:gd name="connsiteY30" fmla="*/ 60796 h 129021"/>
                <a:gd name="connsiteX31" fmla="*/ 499858 w 555792"/>
                <a:gd name="connsiteY31" fmla="*/ 83150 h 129021"/>
                <a:gd name="connsiteX32" fmla="*/ 499858 w 555792"/>
                <a:gd name="connsiteY32" fmla="*/ 126954 h 129021"/>
                <a:gd name="connsiteX33" fmla="*/ 474780 w 555792"/>
                <a:gd name="connsiteY33" fmla="*/ 126954 h 129021"/>
                <a:gd name="connsiteX34" fmla="*/ 474780 w 555792"/>
                <a:gd name="connsiteY34" fmla="*/ 75914 h 129021"/>
                <a:gd name="connsiteX35" fmla="*/ 464116 w 555792"/>
                <a:gd name="connsiteY35" fmla="*/ 60954 h 129021"/>
                <a:gd name="connsiteX36" fmla="*/ 460862 w 555792"/>
                <a:gd name="connsiteY36" fmla="*/ 60796 h 129021"/>
                <a:gd name="connsiteX37" fmla="*/ 444318 w 555792"/>
                <a:gd name="connsiteY37" fmla="*/ 83150 h 129021"/>
                <a:gd name="connsiteX38" fmla="*/ 444318 w 555792"/>
                <a:gd name="connsiteY38" fmla="*/ 126954 h 129021"/>
                <a:gd name="connsiteX39" fmla="*/ 418977 w 555792"/>
                <a:gd name="connsiteY39" fmla="*/ 126954 h 129021"/>
                <a:gd name="connsiteX40" fmla="*/ 418977 w 555792"/>
                <a:gd name="connsiteY40" fmla="*/ 41285 h 129021"/>
                <a:gd name="connsiteX41" fmla="*/ 444318 w 555792"/>
                <a:gd name="connsiteY41" fmla="*/ 41285 h 129021"/>
                <a:gd name="connsiteX42" fmla="*/ 444318 w 555792"/>
                <a:gd name="connsiteY42" fmla="*/ 52785 h 129021"/>
                <a:gd name="connsiteX43" fmla="*/ 468871 w 555792"/>
                <a:gd name="connsiteY43" fmla="*/ 39863 h 129021"/>
                <a:gd name="connsiteX44" fmla="*/ 364489 w 555792"/>
                <a:gd name="connsiteY44" fmla="*/ 39863 h 129021"/>
                <a:gd name="connsiteX45" fmla="*/ 409656 w 555792"/>
                <a:gd name="connsiteY45" fmla="*/ 84443 h 129021"/>
                <a:gd name="connsiteX46" fmla="*/ 409656 w 555792"/>
                <a:gd name="connsiteY46" fmla="*/ 84572 h 129021"/>
                <a:gd name="connsiteX47" fmla="*/ 364227 w 555792"/>
                <a:gd name="connsiteY47" fmla="*/ 129021 h 129021"/>
                <a:gd name="connsiteX48" fmla="*/ 319059 w 555792"/>
                <a:gd name="connsiteY48" fmla="*/ 84313 h 129021"/>
                <a:gd name="connsiteX49" fmla="*/ 364489 w 555792"/>
                <a:gd name="connsiteY49" fmla="*/ 39863 h 129021"/>
                <a:gd name="connsiteX50" fmla="*/ 0 w 555792"/>
                <a:gd name="connsiteY50" fmla="*/ 7947 h 129021"/>
                <a:gd name="connsiteX51" fmla="*/ 27179 w 555792"/>
                <a:gd name="connsiteY51" fmla="*/ 7947 h 129021"/>
                <a:gd name="connsiteX52" fmla="*/ 27179 w 555792"/>
                <a:gd name="connsiteY52" fmla="*/ 54206 h 129021"/>
                <a:gd name="connsiteX53" fmla="*/ 75236 w 555792"/>
                <a:gd name="connsiteY53" fmla="*/ 54206 h 129021"/>
                <a:gd name="connsiteX54" fmla="*/ 75236 w 555792"/>
                <a:gd name="connsiteY54" fmla="*/ 7947 h 129021"/>
                <a:gd name="connsiteX55" fmla="*/ 102678 w 555792"/>
                <a:gd name="connsiteY55" fmla="*/ 7947 h 129021"/>
                <a:gd name="connsiteX56" fmla="*/ 102678 w 555792"/>
                <a:gd name="connsiteY56" fmla="*/ 126954 h 129021"/>
                <a:gd name="connsiteX57" fmla="*/ 75236 w 555792"/>
                <a:gd name="connsiteY57" fmla="*/ 126954 h 129021"/>
                <a:gd name="connsiteX58" fmla="*/ 75236 w 555792"/>
                <a:gd name="connsiteY58" fmla="*/ 77207 h 129021"/>
                <a:gd name="connsiteX59" fmla="*/ 27179 w 555792"/>
                <a:gd name="connsiteY59" fmla="*/ 77207 h 129021"/>
                <a:gd name="connsiteX60" fmla="*/ 27179 w 555792"/>
                <a:gd name="connsiteY60" fmla="*/ 126954 h 129021"/>
                <a:gd name="connsiteX61" fmla="*/ 0 w 555792"/>
                <a:gd name="connsiteY61" fmla="*/ 126954 h 129021"/>
                <a:gd name="connsiteX62" fmla="*/ 210736 w 555792"/>
                <a:gd name="connsiteY62" fmla="*/ 6526 h 129021"/>
                <a:gd name="connsiteX63" fmla="*/ 236078 w 555792"/>
                <a:gd name="connsiteY63" fmla="*/ 6526 h 129021"/>
                <a:gd name="connsiteX64" fmla="*/ 236078 w 555792"/>
                <a:gd name="connsiteY64" fmla="*/ 126955 h 129021"/>
                <a:gd name="connsiteX65" fmla="*/ 210736 w 555792"/>
                <a:gd name="connsiteY65" fmla="*/ 126955 h 129021"/>
                <a:gd name="connsiteX66" fmla="*/ 166619 w 555792"/>
                <a:gd name="connsiteY66" fmla="*/ 6526 h 129021"/>
                <a:gd name="connsiteX67" fmla="*/ 192093 w 555792"/>
                <a:gd name="connsiteY67" fmla="*/ 6526 h 129021"/>
                <a:gd name="connsiteX68" fmla="*/ 192093 w 555792"/>
                <a:gd name="connsiteY68" fmla="*/ 126955 h 129021"/>
                <a:gd name="connsiteX69" fmla="*/ 166619 w 555792"/>
                <a:gd name="connsiteY69" fmla="*/ 126955 h 129021"/>
                <a:gd name="connsiteX70" fmla="*/ 134188 w 555792"/>
                <a:gd name="connsiteY70" fmla="*/ 66 h 129021"/>
                <a:gd name="connsiteX71" fmla="*/ 134452 w 555792"/>
                <a:gd name="connsiteY71" fmla="*/ 66 h 129021"/>
                <a:gd name="connsiteX72" fmla="*/ 151030 w 555792"/>
                <a:gd name="connsiteY72" fmla="*/ 13600 h 129021"/>
                <a:gd name="connsiteX73" fmla="*/ 137277 w 555792"/>
                <a:gd name="connsiteY73" fmla="*/ 29915 h 129021"/>
                <a:gd name="connsiteX74" fmla="*/ 134452 w 555792"/>
                <a:gd name="connsiteY74" fmla="*/ 29915 h 129021"/>
                <a:gd name="connsiteX75" fmla="*/ 119350 w 555792"/>
                <a:gd name="connsiteY75" fmla="*/ 15316 h 129021"/>
                <a:gd name="connsiteX76" fmla="*/ 119352 w 555792"/>
                <a:gd name="connsiteY76" fmla="*/ 14926 h 129021"/>
                <a:gd name="connsiteX77" fmla="*/ 134188 w 555792"/>
                <a:gd name="connsiteY77" fmla="*/ 66 h 129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555792" h="129021">
                  <a:moveTo>
                    <a:pt x="364489" y="61830"/>
                  </a:moveTo>
                  <a:cubicBezTo>
                    <a:pt x="353167" y="62674"/>
                    <a:pt x="344170" y="71529"/>
                    <a:pt x="343312" y="82670"/>
                  </a:cubicBezTo>
                  <a:cubicBezTo>
                    <a:pt x="342353" y="95123"/>
                    <a:pt x="351834" y="105983"/>
                    <a:pt x="364489" y="106926"/>
                  </a:cubicBezTo>
                  <a:cubicBezTo>
                    <a:pt x="365644" y="107012"/>
                    <a:pt x="366805" y="107012"/>
                    <a:pt x="367960" y="106926"/>
                  </a:cubicBezTo>
                  <a:cubicBezTo>
                    <a:pt x="380614" y="105983"/>
                    <a:pt x="390095" y="95123"/>
                    <a:pt x="389136" y="82670"/>
                  </a:cubicBezTo>
                  <a:cubicBezTo>
                    <a:pt x="388178" y="70217"/>
                    <a:pt x="377143" y="60887"/>
                    <a:pt x="364489" y="61830"/>
                  </a:cubicBezTo>
                  <a:close/>
                  <a:moveTo>
                    <a:pt x="255246" y="41285"/>
                  </a:moveTo>
                  <a:lnTo>
                    <a:pt x="280588" y="41285"/>
                  </a:lnTo>
                  <a:lnTo>
                    <a:pt x="280588" y="126955"/>
                  </a:lnTo>
                  <a:lnTo>
                    <a:pt x="255246" y="126955"/>
                  </a:lnTo>
                  <a:close/>
                  <a:moveTo>
                    <a:pt x="121846" y="40770"/>
                  </a:moveTo>
                  <a:lnTo>
                    <a:pt x="147188" y="40770"/>
                  </a:lnTo>
                  <a:lnTo>
                    <a:pt x="147188" y="126439"/>
                  </a:lnTo>
                  <a:lnTo>
                    <a:pt x="121846" y="126439"/>
                  </a:lnTo>
                  <a:close/>
                  <a:moveTo>
                    <a:pt x="301329" y="40638"/>
                  </a:moveTo>
                  <a:cubicBezTo>
                    <a:pt x="301505" y="40635"/>
                    <a:pt x="301682" y="40635"/>
                    <a:pt x="301859" y="40638"/>
                  </a:cubicBezTo>
                  <a:cubicBezTo>
                    <a:pt x="310198" y="40638"/>
                    <a:pt x="316958" y="47292"/>
                    <a:pt x="316958" y="55499"/>
                  </a:cubicBezTo>
                  <a:cubicBezTo>
                    <a:pt x="316958" y="63706"/>
                    <a:pt x="310198" y="70359"/>
                    <a:pt x="301859" y="70359"/>
                  </a:cubicBezTo>
                  <a:cubicBezTo>
                    <a:pt x="293664" y="70433"/>
                    <a:pt x="286961" y="63956"/>
                    <a:pt x="286885" y="55893"/>
                  </a:cubicBezTo>
                  <a:cubicBezTo>
                    <a:pt x="286883" y="55718"/>
                    <a:pt x="286885" y="55544"/>
                    <a:pt x="286890" y="55370"/>
                  </a:cubicBezTo>
                  <a:cubicBezTo>
                    <a:pt x="286743" y="47379"/>
                    <a:pt x="293207" y="40783"/>
                    <a:pt x="301329" y="40638"/>
                  </a:cubicBezTo>
                  <a:close/>
                  <a:moveTo>
                    <a:pt x="468871" y="39863"/>
                  </a:moveTo>
                  <a:cubicBezTo>
                    <a:pt x="480066" y="38933"/>
                    <a:pt x="490621" y="45114"/>
                    <a:pt x="495131" y="55240"/>
                  </a:cubicBezTo>
                  <a:cubicBezTo>
                    <a:pt x="501466" y="45339"/>
                    <a:pt x="512660" y="39487"/>
                    <a:pt x="524542" y="39863"/>
                  </a:cubicBezTo>
                  <a:cubicBezTo>
                    <a:pt x="540599" y="38721"/>
                    <a:pt x="554556" y="50605"/>
                    <a:pt x="555716" y="66406"/>
                  </a:cubicBezTo>
                  <a:cubicBezTo>
                    <a:pt x="555772" y="67162"/>
                    <a:pt x="555797" y="67920"/>
                    <a:pt x="555792" y="68678"/>
                  </a:cubicBezTo>
                  <a:lnTo>
                    <a:pt x="555792" y="126954"/>
                  </a:lnTo>
                  <a:lnTo>
                    <a:pt x="530582" y="126954"/>
                  </a:lnTo>
                  <a:lnTo>
                    <a:pt x="530582" y="75914"/>
                  </a:lnTo>
                  <a:cubicBezTo>
                    <a:pt x="531848" y="68888"/>
                    <a:pt x="527086" y="62181"/>
                    <a:pt x="519946" y="60936"/>
                  </a:cubicBezTo>
                  <a:cubicBezTo>
                    <a:pt x="518776" y="60732"/>
                    <a:pt x="517584" y="60685"/>
                    <a:pt x="516402" y="60796"/>
                  </a:cubicBezTo>
                  <a:cubicBezTo>
                    <a:pt x="505898" y="60796"/>
                    <a:pt x="499858" y="69324"/>
                    <a:pt x="499858" y="83150"/>
                  </a:cubicBezTo>
                  <a:lnTo>
                    <a:pt x="499858" y="126954"/>
                  </a:lnTo>
                  <a:lnTo>
                    <a:pt x="474780" y="126954"/>
                  </a:lnTo>
                  <a:lnTo>
                    <a:pt x="474780" y="75914"/>
                  </a:lnTo>
                  <a:cubicBezTo>
                    <a:pt x="476033" y="68885"/>
                    <a:pt x="471259" y="62187"/>
                    <a:pt x="464116" y="60954"/>
                  </a:cubicBezTo>
                  <a:cubicBezTo>
                    <a:pt x="463043" y="60769"/>
                    <a:pt x="461949" y="60716"/>
                    <a:pt x="460862" y="60796"/>
                  </a:cubicBezTo>
                  <a:cubicBezTo>
                    <a:pt x="450489" y="60796"/>
                    <a:pt x="444318" y="69454"/>
                    <a:pt x="444318" y="83150"/>
                  </a:cubicBezTo>
                  <a:lnTo>
                    <a:pt x="444318" y="126954"/>
                  </a:lnTo>
                  <a:lnTo>
                    <a:pt x="418977" y="126954"/>
                  </a:lnTo>
                  <a:lnTo>
                    <a:pt x="418977" y="41285"/>
                  </a:lnTo>
                  <a:lnTo>
                    <a:pt x="444318" y="41285"/>
                  </a:lnTo>
                  <a:lnTo>
                    <a:pt x="444318" y="52785"/>
                  </a:lnTo>
                  <a:cubicBezTo>
                    <a:pt x="449587" y="44489"/>
                    <a:pt x="458935" y="39570"/>
                    <a:pt x="468871" y="39863"/>
                  </a:cubicBezTo>
                  <a:close/>
                  <a:moveTo>
                    <a:pt x="364489" y="39863"/>
                  </a:moveTo>
                  <a:cubicBezTo>
                    <a:pt x="389455" y="39935"/>
                    <a:pt x="409656" y="59873"/>
                    <a:pt x="409656" y="84443"/>
                  </a:cubicBezTo>
                  <a:cubicBezTo>
                    <a:pt x="409656" y="84486"/>
                    <a:pt x="409656" y="84529"/>
                    <a:pt x="409656" y="84572"/>
                  </a:cubicBezTo>
                  <a:cubicBezTo>
                    <a:pt x="409583" y="109192"/>
                    <a:pt x="389244" y="129093"/>
                    <a:pt x="364227" y="129021"/>
                  </a:cubicBezTo>
                  <a:cubicBezTo>
                    <a:pt x="339208" y="128950"/>
                    <a:pt x="318986" y="108934"/>
                    <a:pt x="319059" y="84313"/>
                  </a:cubicBezTo>
                  <a:cubicBezTo>
                    <a:pt x="319131" y="59693"/>
                    <a:pt x="339471" y="39792"/>
                    <a:pt x="364489" y="39863"/>
                  </a:cubicBezTo>
                  <a:close/>
                  <a:moveTo>
                    <a:pt x="0" y="7947"/>
                  </a:moveTo>
                  <a:lnTo>
                    <a:pt x="27179" y="7947"/>
                  </a:lnTo>
                  <a:lnTo>
                    <a:pt x="27179" y="54206"/>
                  </a:lnTo>
                  <a:lnTo>
                    <a:pt x="75236" y="54206"/>
                  </a:lnTo>
                  <a:lnTo>
                    <a:pt x="75236" y="7947"/>
                  </a:lnTo>
                  <a:lnTo>
                    <a:pt x="102678" y="7947"/>
                  </a:lnTo>
                  <a:lnTo>
                    <a:pt x="102678" y="126954"/>
                  </a:lnTo>
                  <a:lnTo>
                    <a:pt x="75236" y="126954"/>
                  </a:lnTo>
                  <a:lnTo>
                    <a:pt x="75236" y="77207"/>
                  </a:lnTo>
                  <a:lnTo>
                    <a:pt x="27179" y="77207"/>
                  </a:lnTo>
                  <a:lnTo>
                    <a:pt x="27179" y="126954"/>
                  </a:lnTo>
                  <a:lnTo>
                    <a:pt x="0" y="126954"/>
                  </a:lnTo>
                  <a:close/>
                  <a:moveTo>
                    <a:pt x="210736" y="6526"/>
                  </a:moveTo>
                  <a:lnTo>
                    <a:pt x="236078" y="6526"/>
                  </a:lnTo>
                  <a:lnTo>
                    <a:pt x="236078" y="126955"/>
                  </a:lnTo>
                  <a:lnTo>
                    <a:pt x="210736" y="126955"/>
                  </a:lnTo>
                  <a:close/>
                  <a:moveTo>
                    <a:pt x="166619" y="6526"/>
                  </a:moveTo>
                  <a:lnTo>
                    <a:pt x="192093" y="6526"/>
                  </a:lnTo>
                  <a:lnTo>
                    <a:pt x="192093" y="126955"/>
                  </a:lnTo>
                  <a:lnTo>
                    <a:pt x="166619" y="126955"/>
                  </a:lnTo>
                  <a:close/>
                  <a:moveTo>
                    <a:pt x="134188" y="66"/>
                  </a:moveTo>
                  <a:cubicBezTo>
                    <a:pt x="134276" y="65"/>
                    <a:pt x="134364" y="65"/>
                    <a:pt x="134452" y="66"/>
                  </a:cubicBezTo>
                  <a:cubicBezTo>
                    <a:pt x="142828" y="-702"/>
                    <a:pt x="150250" y="5357"/>
                    <a:pt x="151030" y="13600"/>
                  </a:cubicBezTo>
                  <a:cubicBezTo>
                    <a:pt x="151810" y="21842"/>
                    <a:pt x="145653" y="29148"/>
                    <a:pt x="137277" y="29915"/>
                  </a:cubicBezTo>
                  <a:cubicBezTo>
                    <a:pt x="136338" y="30002"/>
                    <a:pt x="135392" y="30002"/>
                    <a:pt x="134452" y="29915"/>
                  </a:cubicBezTo>
                  <a:cubicBezTo>
                    <a:pt x="126185" y="29988"/>
                    <a:pt x="119424" y="23451"/>
                    <a:pt x="119350" y="15316"/>
                  </a:cubicBezTo>
                  <a:cubicBezTo>
                    <a:pt x="119349" y="15186"/>
                    <a:pt x="119349" y="15056"/>
                    <a:pt x="119352" y="14926"/>
                  </a:cubicBezTo>
                  <a:cubicBezTo>
                    <a:pt x="119279" y="6790"/>
                    <a:pt x="125921" y="137"/>
                    <a:pt x="134188" y="66"/>
                  </a:cubicBezTo>
                  <a:close/>
                </a:path>
              </a:pathLst>
            </a:custGeom>
            <a:solidFill>
              <a:schemeClr val="bg1"/>
            </a:solidFill>
            <a:ln w="9525" cap="flat">
              <a:noFill/>
              <a:prstDash val="solid"/>
              <a:miter/>
            </a:ln>
          </p:spPr>
          <p:txBody>
            <a:bodyPr wrap="square" rtlCol="0" anchor="ctr">
              <a:noAutofit/>
            </a:bodyPr>
            <a:lstStyle/>
            <a:p>
              <a:endParaRPr lang="en-US"/>
            </a:p>
          </p:txBody>
        </p:sp>
      </p:grpSp>
    </p:spTree>
    <p:extLst>
      <p:ext uri="{BB962C8B-B14F-4D97-AF65-F5344CB8AC3E}">
        <p14:creationId xmlns:p14="http://schemas.microsoft.com/office/powerpoint/2010/main" val="3559406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Divider - Photo">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548524F6-37BE-DC4E-9DD7-C0C35968AE95}"/>
              </a:ext>
            </a:extLst>
          </p:cNvPr>
          <p:cNvSpPr/>
          <p:nvPr/>
        </p:nvSpPr>
        <p:spPr>
          <a:xfrm>
            <a:off x="0" y="6474"/>
            <a:ext cx="1220184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70DCE612-2AA6-2B44-8C91-B57F2CD5726D}"/>
              </a:ext>
            </a:extLst>
          </p:cNvPr>
          <p:cNvSpPr>
            <a:spLocks noGrp="1"/>
          </p:cNvSpPr>
          <p:nvPr>
            <p:ph type="pic" sz="quarter" idx="16" hasCustomPrompt="1"/>
          </p:nvPr>
        </p:nvSpPr>
        <p:spPr>
          <a:xfrm>
            <a:off x="0" y="0"/>
            <a:ext cx="12191999" cy="6858000"/>
          </a:xfrm>
          <a:prstGeom prst="rect">
            <a:avLst/>
          </a:prstGeom>
          <a:solidFill>
            <a:schemeClr val="accent6">
              <a:lumMod val="20000"/>
              <a:lumOff val="80000"/>
            </a:schemeClr>
          </a:solidFill>
        </p:spPr>
        <p:txBody>
          <a:bodyPr anchor="ctr"/>
          <a:lstStyle>
            <a:lvl1pPr marL="6405563" indent="0" algn="ctr">
              <a:buNone/>
              <a:tabLst/>
              <a:defRPr/>
            </a:lvl1pPr>
          </a:lstStyle>
          <a:p>
            <a:r>
              <a:rPr lang="en-US"/>
              <a:t>Insert picture and send to back</a:t>
            </a:r>
          </a:p>
        </p:txBody>
      </p:sp>
      <p:sp>
        <p:nvSpPr>
          <p:cNvPr id="26" name="Slide Number Placeholder 5">
            <a:extLst>
              <a:ext uri="{FF2B5EF4-FFF2-40B4-BE49-F238E27FC236}">
                <a16:creationId xmlns:a16="http://schemas.microsoft.com/office/drawing/2014/main" id="{6AA0B4D3-F1D5-E840-816A-8B71734B0CEE}"/>
              </a:ext>
            </a:extLst>
          </p:cNvPr>
          <p:cNvSpPr>
            <a:spLocks noGrp="1"/>
          </p:cNvSpPr>
          <p:nvPr>
            <p:ph type="sldNum" sz="quarter" idx="4"/>
          </p:nvPr>
        </p:nvSpPr>
        <p:spPr>
          <a:xfrm>
            <a:off x="11537879" y="6325527"/>
            <a:ext cx="370726" cy="365125"/>
          </a:xfrm>
          <a:prstGeom prst="rect">
            <a:avLst/>
          </a:prstGeom>
        </p:spPr>
        <p:txBody>
          <a:bodyPr vert="horz" lIns="91440" tIns="45720" rIns="91440" bIns="45720" rtlCol="0" anchor="b"/>
          <a:lstStyle>
            <a:lvl1pPr algn="r">
              <a:defRPr sz="800" b="1" i="0">
                <a:solidFill>
                  <a:schemeClr val="tx1"/>
                </a:solidFill>
                <a:latin typeface="+mj-lt"/>
              </a:defRPr>
            </a:lvl1pPr>
          </a:lstStyle>
          <a:p>
            <a:fld id="{EB3C441C-A16D-4531-8F9E-BFE4D57FBC82}" type="slidenum">
              <a:rPr lang="en-US" smtClean="0"/>
              <a:t>‹N°›</a:t>
            </a:fld>
            <a:endParaRPr lang="en-US"/>
          </a:p>
        </p:txBody>
      </p:sp>
      <p:sp>
        <p:nvSpPr>
          <p:cNvPr id="30" name="Footer Placeholder 54">
            <a:extLst>
              <a:ext uri="{FF2B5EF4-FFF2-40B4-BE49-F238E27FC236}">
                <a16:creationId xmlns:a16="http://schemas.microsoft.com/office/drawing/2014/main" id="{FBF5E17B-C670-4E4D-BB7F-743CB1137D68}"/>
              </a:ext>
            </a:extLst>
          </p:cNvPr>
          <p:cNvSpPr>
            <a:spLocks noGrp="1"/>
          </p:cNvSpPr>
          <p:nvPr>
            <p:ph type="ftr" sz="quarter" idx="15"/>
          </p:nvPr>
        </p:nvSpPr>
        <p:spPr>
          <a:xfrm>
            <a:off x="1819551" y="6340392"/>
            <a:ext cx="4114800" cy="365125"/>
          </a:xfrm>
          <a:prstGeom prst="rect">
            <a:avLst/>
          </a:prstGeom>
        </p:spPr>
        <p:txBody>
          <a:bodyPr anchor="b" anchorCtr="0"/>
          <a:lstStyle>
            <a:lvl1pPr>
              <a:defRPr sz="700">
                <a:solidFill>
                  <a:schemeClr val="tx1"/>
                </a:solidFill>
              </a:defRPr>
            </a:lvl1pPr>
          </a:lstStyle>
          <a:p>
            <a:endParaRPr lang="en-US"/>
          </a:p>
        </p:txBody>
      </p:sp>
      <p:sp>
        <p:nvSpPr>
          <p:cNvPr id="31" name="Title 8">
            <a:extLst>
              <a:ext uri="{FF2B5EF4-FFF2-40B4-BE49-F238E27FC236}">
                <a16:creationId xmlns:a16="http://schemas.microsoft.com/office/drawing/2014/main" id="{9577566B-579A-F64E-8ABD-A539C8592B64}"/>
              </a:ext>
            </a:extLst>
          </p:cNvPr>
          <p:cNvSpPr>
            <a:spLocks noGrp="1"/>
          </p:cNvSpPr>
          <p:nvPr>
            <p:ph type="title"/>
          </p:nvPr>
        </p:nvSpPr>
        <p:spPr>
          <a:xfrm>
            <a:off x="591194" y="1634837"/>
            <a:ext cx="5904997" cy="2968831"/>
          </a:xfrm>
          <a:prstGeom prst="rect">
            <a:avLst/>
          </a:prstGeom>
        </p:spPr>
        <p:txBody>
          <a:bodyPr/>
          <a:lstStyle>
            <a:lvl1pPr>
              <a:lnSpc>
                <a:spcPct val="84000"/>
              </a:lnSpc>
              <a:defRPr sz="4800" b="1" i="0" cap="all" baseline="0">
                <a:solidFill>
                  <a:schemeClr val="accent2"/>
                </a:solidFill>
                <a:latin typeface="+mj-lt"/>
              </a:defRPr>
            </a:lvl1pPr>
          </a:lstStyle>
          <a:p>
            <a:r>
              <a:rPr lang="en-US"/>
              <a:t>Click to edit Master title style</a:t>
            </a:r>
          </a:p>
        </p:txBody>
      </p:sp>
      <p:sp>
        <p:nvSpPr>
          <p:cNvPr id="22" name="Text Placeholder 3">
            <a:extLst>
              <a:ext uri="{FF2B5EF4-FFF2-40B4-BE49-F238E27FC236}">
                <a16:creationId xmlns:a16="http://schemas.microsoft.com/office/drawing/2014/main" id="{33FB9C49-9DBC-3E4D-A8EB-ABE9A53CF81B}"/>
              </a:ext>
            </a:extLst>
          </p:cNvPr>
          <p:cNvSpPr>
            <a:spLocks noGrp="1"/>
          </p:cNvSpPr>
          <p:nvPr>
            <p:ph type="body" sz="quarter" idx="13"/>
          </p:nvPr>
        </p:nvSpPr>
        <p:spPr>
          <a:xfrm>
            <a:off x="688350" y="498222"/>
            <a:ext cx="1997663" cy="244682"/>
          </a:xfrm>
          <a:prstGeom prst="rect">
            <a:avLst/>
          </a:prstGeom>
          <a:solidFill>
            <a:schemeClr val="accent1"/>
          </a:solidFill>
          <a:ln>
            <a:noFill/>
          </a:ln>
        </p:spPr>
        <p:txBody>
          <a:bodyPr wrap="none" anchor="ctr">
            <a:spAutoFit/>
          </a:bodyPr>
          <a:lstStyle>
            <a:lvl1pPr marL="0" indent="0">
              <a:buNone/>
              <a:defRPr sz="1100" b="1" cap="all" spc="50" baseline="0">
                <a:solidFill>
                  <a:schemeClr val="bg1"/>
                </a:solidFill>
                <a:latin typeface="+mj-lt"/>
              </a:defRPr>
            </a:lvl1pPr>
          </a:lstStyle>
          <a:p>
            <a:pPr lvl="0"/>
            <a:r>
              <a:rPr lang="en-US"/>
              <a:t>Edit Master text styles</a:t>
            </a:r>
          </a:p>
        </p:txBody>
      </p:sp>
      <p:grpSp>
        <p:nvGrpSpPr>
          <p:cNvPr id="25" name="Group 24">
            <a:extLst>
              <a:ext uri="{FF2B5EF4-FFF2-40B4-BE49-F238E27FC236}">
                <a16:creationId xmlns:a16="http://schemas.microsoft.com/office/drawing/2014/main" id="{84259A82-EEA6-1B45-B0A3-3DB6D09FF715}"/>
              </a:ext>
            </a:extLst>
          </p:cNvPr>
          <p:cNvGrpSpPr/>
          <p:nvPr/>
        </p:nvGrpSpPr>
        <p:grpSpPr>
          <a:xfrm>
            <a:off x="3047" y="6305605"/>
            <a:ext cx="1254409" cy="552395"/>
            <a:chOff x="3047" y="6305605"/>
            <a:chExt cx="1254409" cy="552395"/>
          </a:xfrm>
        </p:grpSpPr>
        <p:grpSp>
          <p:nvGrpSpPr>
            <p:cNvPr id="35" name="Group 34">
              <a:extLst>
                <a:ext uri="{FF2B5EF4-FFF2-40B4-BE49-F238E27FC236}">
                  <a16:creationId xmlns:a16="http://schemas.microsoft.com/office/drawing/2014/main" id="{B995B999-E4C4-C445-86CA-264E0D1CCAA3}"/>
                </a:ext>
              </a:extLst>
            </p:cNvPr>
            <p:cNvGrpSpPr/>
            <p:nvPr/>
          </p:nvGrpSpPr>
          <p:grpSpPr>
            <a:xfrm>
              <a:off x="3047" y="6305605"/>
              <a:ext cx="551693" cy="552395"/>
              <a:chOff x="3047" y="6305605"/>
              <a:chExt cx="551693" cy="552395"/>
            </a:xfrm>
          </p:grpSpPr>
          <p:sp>
            <p:nvSpPr>
              <p:cNvPr id="37" name="Rectangle 36">
                <a:extLst>
                  <a:ext uri="{FF2B5EF4-FFF2-40B4-BE49-F238E27FC236}">
                    <a16:creationId xmlns:a16="http://schemas.microsoft.com/office/drawing/2014/main" id="{C0F4A40C-A853-C34F-B92F-3E12F6A0D9AC}"/>
                  </a:ext>
                </a:extLst>
              </p:cNvPr>
              <p:cNvSpPr/>
              <p:nvPr/>
            </p:nvSpPr>
            <p:spPr>
              <a:xfrm>
                <a:off x="3047" y="6305605"/>
                <a:ext cx="551693" cy="552395"/>
              </a:xfrm>
              <a:prstGeom prst="rect">
                <a:avLst/>
              </a:prstGeom>
              <a:solidFill>
                <a:srgbClr val="5369E4"/>
              </a:solidFill>
              <a:ln w="9525" cap="flat">
                <a:noFill/>
                <a:prstDash val="solid"/>
                <a:miter/>
              </a:ln>
            </p:spPr>
            <p:txBody>
              <a:bodyPr rtlCol="0" anchor="ctr"/>
              <a:lstStyle/>
              <a:p>
                <a:endParaRPr lang="en-US"/>
              </a:p>
            </p:txBody>
          </p:sp>
          <p:sp>
            <p:nvSpPr>
              <p:cNvPr id="38" name="Freeform 37">
                <a:extLst>
                  <a:ext uri="{FF2B5EF4-FFF2-40B4-BE49-F238E27FC236}">
                    <a16:creationId xmlns:a16="http://schemas.microsoft.com/office/drawing/2014/main" id="{BEC340B5-6AFE-FF4A-AA22-565D35735639}"/>
                  </a:ext>
                </a:extLst>
              </p:cNvPr>
              <p:cNvSpPr/>
              <p:nvPr/>
            </p:nvSpPr>
            <p:spPr>
              <a:xfrm>
                <a:off x="173577" y="6501753"/>
                <a:ext cx="279408" cy="175345"/>
              </a:xfrm>
              <a:custGeom>
                <a:avLst/>
                <a:gdLst>
                  <a:gd name="connsiteX0" fmla="*/ 102941 w 279408"/>
                  <a:gd name="connsiteY0" fmla="*/ 59439 h 175345"/>
                  <a:gd name="connsiteX1" fmla="*/ 132352 w 279408"/>
                  <a:gd name="connsiteY1" fmla="*/ 88384 h 175345"/>
                  <a:gd name="connsiteX2" fmla="*/ 102941 w 279408"/>
                  <a:gd name="connsiteY2" fmla="*/ 117329 h 175345"/>
                  <a:gd name="connsiteX3" fmla="*/ 73528 w 279408"/>
                  <a:gd name="connsiteY3" fmla="*/ 88384 h 175345"/>
                  <a:gd name="connsiteX4" fmla="*/ 102941 w 279408"/>
                  <a:gd name="connsiteY4" fmla="*/ 59439 h 175345"/>
                  <a:gd name="connsiteX5" fmla="*/ 147056 w 279408"/>
                  <a:gd name="connsiteY5" fmla="*/ 1809 h 175345"/>
                  <a:gd name="connsiteX6" fmla="*/ 205880 w 279408"/>
                  <a:gd name="connsiteY6" fmla="*/ 1809 h 175345"/>
                  <a:gd name="connsiteX7" fmla="*/ 205880 w 279408"/>
                  <a:gd name="connsiteY7" fmla="*/ 59698 h 175345"/>
                  <a:gd name="connsiteX8" fmla="*/ 205880 w 279408"/>
                  <a:gd name="connsiteY8" fmla="*/ 117457 h 175345"/>
                  <a:gd name="connsiteX9" fmla="*/ 205880 w 279408"/>
                  <a:gd name="connsiteY9" fmla="*/ 175345 h 175345"/>
                  <a:gd name="connsiteX10" fmla="*/ 147056 w 279408"/>
                  <a:gd name="connsiteY10" fmla="*/ 175345 h 175345"/>
                  <a:gd name="connsiteX11" fmla="*/ 147056 w 279408"/>
                  <a:gd name="connsiteY11" fmla="*/ 117457 h 175345"/>
                  <a:gd name="connsiteX12" fmla="*/ 147056 w 279408"/>
                  <a:gd name="connsiteY12" fmla="*/ 59698 h 175345"/>
                  <a:gd name="connsiteX13" fmla="*/ 0 w 279408"/>
                  <a:gd name="connsiteY13" fmla="*/ 1809 h 175345"/>
                  <a:gd name="connsiteX14" fmla="*/ 58824 w 279408"/>
                  <a:gd name="connsiteY14" fmla="*/ 1809 h 175345"/>
                  <a:gd name="connsiteX15" fmla="*/ 58824 w 279408"/>
                  <a:gd name="connsiteY15" fmla="*/ 59698 h 175345"/>
                  <a:gd name="connsiteX16" fmla="*/ 58824 w 279408"/>
                  <a:gd name="connsiteY16" fmla="*/ 117457 h 175345"/>
                  <a:gd name="connsiteX17" fmla="*/ 58824 w 279408"/>
                  <a:gd name="connsiteY17" fmla="*/ 175345 h 175345"/>
                  <a:gd name="connsiteX18" fmla="*/ 0 w 279408"/>
                  <a:gd name="connsiteY18" fmla="*/ 175345 h 175345"/>
                  <a:gd name="connsiteX19" fmla="*/ 0 w 279408"/>
                  <a:gd name="connsiteY19" fmla="*/ 117457 h 175345"/>
                  <a:gd name="connsiteX20" fmla="*/ 0 w 279408"/>
                  <a:gd name="connsiteY20" fmla="*/ 59698 h 175345"/>
                  <a:gd name="connsiteX21" fmla="*/ 249997 w 279408"/>
                  <a:gd name="connsiteY21" fmla="*/ 0 h 175345"/>
                  <a:gd name="connsiteX22" fmla="*/ 279408 w 279408"/>
                  <a:gd name="connsiteY22" fmla="*/ 28945 h 175345"/>
                  <a:gd name="connsiteX23" fmla="*/ 249997 w 279408"/>
                  <a:gd name="connsiteY23" fmla="*/ 57890 h 175345"/>
                  <a:gd name="connsiteX24" fmla="*/ 220584 w 279408"/>
                  <a:gd name="connsiteY24" fmla="*/ 28945 h 175345"/>
                  <a:gd name="connsiteX25" fmla="*/ 249997 w 279408"/>
                  <a:gd name="connsiteY25" fmla="*/ 0 h 175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79408" h="175345">
                    <a:moveTo>
                      <a:pt x="102941" y="59439"/>
                    </a:moveTo>
                    <a:cubicBezTo>
                      <a:pt x="119184" y="59439"/>
                      <a:pt x="132352" y="72399"/>
                      <a:pt x="132352" y="88384"/>
                    </a:cubicBezTo>
                    <a:cubicBezTo>
                      <a:pt x="132352" y="104370"/>
                      <a:pt x="119184" y="117329"/>
                      <a:pt x="102941" y="117329"/>
                    </a:cubicBezTo>
                    <a:cubicBezTo>
                      <a:pt x="86696" y="117329"/>
                      <a:pt x="73528" y="104370"/>
                      <a:pt x="73528" y="88384"/>
                    </a:cubicBezTo>
                    <a:cubicBezTo>
                      <a:pt x="73528" y="72399"/>
                      <a:pt x="86696" y="59439"/>
                      <a:pt x="102941" y="59439"/>
                    </a:cubicBezTo>
                    <a:close/>
                    <a:moveTo>
                      <a:pt x="147056" y="1809"/>
                    </a:moveTo>
                    <a:lnTo>
                      <a:pt x="205880" y="1809"/>
                    </a:lnTo>
                    <a:lnTo>
                      <a:pt x="205880" y="59698"/>
                    </a:lnTo>
                    <a:lnTo>
                      <a:pt x="205880" y="117457"/>
                    </a:lnTo>
                    <a:lnTo>
                      <a:pt x="205880" y="175345"/>
                    </a:lnTo>
                    <a:lnTo>
                      <a:pt x="147056" y="175345"/>
                    </a:lnTo>
                    <a:lnTo>
                      <a:pt x="147056" y="117457"/>
                    </a:lnTo>
                    <a:lnTo>
                      <a:pt x="147056" y="59698"/>
                    </a:lnTo>
                    <a:close/>
                    <a:moveTo>
                      <a:pt x="0" y="1809"/>
                    </a:moveTo>
                    <a:lnTo>
                      <a:pt x="58824" y="1809"/>
                    </a:lnTo>
                    <a:lnTo>
                      <a:pt x="58824" y="59698"/>
                    </a:lnTo>
                    <a:lnTo>
                      <a:pt x="58824" y="117457"/>
                    </a:lnTo>
                    <a:lnTo>
                      <a:pt x="58824" y="175345"/>
                    </a:lnTo>
                    <a:lnTo>
                      <a:pt x="0" y="175345"/>
                    </a:lnTo>
                    <a:lnTo>
                      <a:pt x="0" y="117457"/>
                    </a:lnTo>
                    <a:lnTo>
                      <a:pt x="0" y="59698"/>
                    </a:lnTo>
                    <a:close/>
                    <a:moveTo>
                      <a:pt x="249997" y="0"/>
                    </a:moveTo>
                    <a:cubicBezTo>
                      <a:pt x="266240" y="0"/>
                      <a:pt x="279408" y="12960"/>
                      <a:pt x="279408" y="28945"/>
                    </a:cubicBezTo>
                    <a:cubicBezTo>
                      <a:pt x="279408" y="44931"/>
                      <a:pt x="266240" y="57890"/>
                      <a:pt x="249997" y="57890"/>
                    </a:cubicBezTo>
                    <a:cubicBezTo>
                      <a:pt x="233752" y="57890"/>
                      <a:pt x="220584" y="44931"/>
                      <a:pt x="220584" y="28945"/>
                    </a:cubicBezTo>
                    <a:cubicBezTo>
                      <a:pt x="220584" y="12960"/>
                      <a:pt x="233752" y="0"/>
                      <a:pt x="249997" y="0"/>
                    </a:cubicBezTo>
                    <a:close/>
                  </a:path>
                </a:pathLst>
              </a:custGeom>
              <a:solidFill>
                <a:srgbClr val="FFFFFF"/>
              </a:solidFill>
              <a:ln w="9525" cap="flat">
                <a:noFill/>
                <a:prstDash val="solid"/>
                <a:miter/>
              </a:ln>
            </p:spPr>
            <p:txBody>
              <a:bodyPr wrap="square" rtlCol="0" anchor="ctr">
                <a:noAutofit/>
              </a:bodyPr>
              <a:lstStyle/>
              <a:p>
                <a:endParaRPr lang="en-US"/>
              </a:p>
            </p:txBody>
          </p:sp>
        </p:grpSp>
        <p:sp>
          <p:nvSpPr>
            <p:cNvPr id="36" name="Freeform 35">
              <a:extLst>
                <a:ext uri="{FF2B5EF4-FFF2-40B4-BE49-F238E27FC236}">
                  <a16:creationId xmlns:a16="http://schemas.microsoft.com/office/drawing/2014/main" id="{E2ADFC0C-6B86-2344-B417-1D0EBC13C251}"/>
                </a:ext>
              </a:extLst>
            </p:cNvPr>
            <p:cNvSpPr/>
            <p:nvPr/>
          </p:nvSpPr>
          <p:spPr>
            <a:xfrm>
              <a:off x="701664" y="6524947"/>
              <a:ext cx="555792" cy="129021"/>
            </a:xfrm>
            <a:custGeom>
              <a:avLst/>
              <a:gdLst>
                <a:gd name="connsiteX0" fmla="*/ 364489 w 555792"/>
                <a:gd name="connsiteY0" fmla="*/ 61830 h 129021"/>
                <a:gd name="connsiteX1" fmla="*/ 343312 w 555792"/>
                <a:gd name="connsiteY1" fmla="*/ 82670 h 129021"/>
                <a:gd name="connsiteX2" fmla="*/ 364489 w 555792"/>
                <a:gd name="connsiteY2" fmla="*/ 106926 h 129021"/>
                <a:gd name="connsiteX3" fmla="*/ 367960 w 555792"/>
                <a:gd name="connsiteY3" fmla="*/ 106926 h 129021"/>
                <a:gd name="connsiteX4" fmla="*/ 389136 w 555792"/>
                <a:gd name="connsiteY4" fmla="*/ 82670 h 129021"/>
                <a:gd name="connsiteX5" fmla="*/ 364489 w 555792"/>
                <a:gd name="connsiteY5" fmla="*/ 61830 h 129021"/>
                <a:gd name="connsiteX6" fmla="*/ 255246 w 555792"/>
                <a:gd name="connsiteY6" fmla="*/ 41285 h 129021"/>
                <a:gd name="connsiteX7" fmla="*/ 280588 w 555792"/>
                <a:gd name="connsiteY7" fmla="*/ 41285 h 129021"/>
                <a:gd name="connsiteX8" fmla="*/ 280588 w 555792"/>
                <a:gd name="connsiteY8" fmla="*/ 126955 h 129021"/>
                <a:gd name="connsiteX9" fmla="*/ 255246 w 555792"/>
                <a:gd name="connsiteY9" fmla="*/ 126955 h 129021"/>
                <a:gd name="connsiteX10" fmla="*/ 121846 w 555792"/>
                <a:gd name="connsiteY10" fmla="*/ 40770 h 129021"/>
                <a:gd name="connsiteX11" fmla="*/ 147188 w 555792"/>
                <a:gd name="connsiteY11" fmla="*/ 40770 h 129021"/>
                <a:gd name="connsiteX12" fmla="*/ 147188 w 555792"/>
                <a:gd name="connsiteY12" fmla="*/ 126439 h 129021"/>
                <a:gd name="connsiteX13" fmla="*/ 121846 w 555792"/>
                <a:gd name="connsiteY13" fmla="*/ 126439 h 129021"/>
                <a:gd name="connsiteX14" fmla="*/ 301329 w 555792"/>
                <a:gd name="connsiteY14" fmla="*/ 40638 h 129021"/>
                <a:gd name="connsiteX15" fmla="*/ 301859 w 555792"/>
                <a:gd name="connsiteY15" fmla="*/ 40638 h 129021"/>
                <a:gd name="connsiteX16" fmla="*/ 316958 w 555792"/>
                <a:gd name="connsiteY16" fmla="*/ 55499 h 129021"/>
                <a:gd name="connsiteX17" fmla="*/ 301859 w 555792"/>
                <a:gd name="connsiteY17" fmla="*/ 70359 h 129021"/>
                <a:gd name="connsiteX18" fmla="*/ 286885 w 555792"/>
                <a:gd name="connsiteY18" fmla="*/ 55893 h 129021"/>
                <a:gd name="connsiteX19" fmla="*/ 286890 w 555792"/>
                <a:gd name="connsiteY19" fmla="*/ 55370 h 129021"/>
                <a:gd name="connsiteX20" fmla="*/ 301329 w 555792"/>
                <a:gd name="connsiteY20" fmla="*/ 40638 h 129021"/>
                <a:gd name="connsiteX21" fmla="*/ 468871 w 555792"/>
                <a:gd name="connsiteY21" fmla="*/ 39863 h 129021"/>
                <a:gd name="connsiteX22" fmla="*/ 495131 w 555792"/>
                <a:gd name="connsiteY22" fmla="*/ 55240 h 129021"/>
                <a:gd name="connsiteX23" fmla="*/ 524542 w 555792"/>
                <a:gd name="connsiteY23" fmla="*/ 39863 h 129021"/>
                <a:gd name="connsiteX24" fmla="*/ 555716 w 555792"/>
                <a:gd name="connsiteY24" fmla="*/ 66406 h 129021"/>
                <a:gd name="connsiteX25" fmla="*/ 555792 w 555792"/>
                <a:gd name="connsiteY25" fmla="*/ 68678 h 129021"/>
                <a:gd name="connsiteX26" fmla="*/ 555792 w 555792"/>
                <a:gd name="connsiteY26" fmla="*/ 126954 h 129021"/>
                <a:gd name="connsiteX27" fmla="*/ 530582 w 555792"/>
                <a:gd name="connsiteY27" fmla="*/ 126954 h 129021"/>
                <a:gd name="connsiteX28" fmla="*/ 530582 w 555792"/>
                <a:gd name="connsiteY28" fmla="*/ 75914 h 129021"/>
                <a:gd name="connsiteX29" fmla="*/ 519946 w 555792"/>
                <a:gd name="connsiteY29" fmla="*/ 60936 h 129021"/>
                <a:gd name="connsiteX30" fmla="*/ 516402 w 555792"/>
                <a:gd name="connsiteY30" fmla="*/ 60796 h 129021"/>
                <a:gd name="connsiteX31" fmla="*/ 499858 w 555792"/>
                <a:gd name="connsiteY31" fmla="*/ 83150 h 129021"/>
                <a:gd name="connsiteX32" fmla="*/ 499858 w 555792"/>
                <a:gd name="connsiteY32" fmla="*/ 126954 h 129021"/>
                <a:gd name="connsiteX33" fmla="*/ 474780 w 555792"/>
                <a:gd name="connsiteY33" fmla="*/ 126954 h 129021"/>
                <a:gd name="connsiteX34" fmla="*/ 474780 w 555792"/>
                <a:gd name="connsiteY34" fmla="*/ 75914 h 129021"/>
                <a:gd name="connsiteX35" fmla="*/ 464116 w 555792"/>
                <a:gd name="connsiteY35" fmla="*/ 60954 h 129021"/>
                <a:gd name="connsiteX36" fmla="*/ 460862 w 555792"/>
                <a:gd name="connsiteY36" fmla="*/ 60796 h 129021"/>
                <a:gd name="connsiteX37" fmla="*/ 444318 w 555792"/>
                <a:gd name="connsiteY37" fmla="*/ 83150 h 129021"/>
                <a:gd name="connsiteX38" fmla="*/ 444318 w 555792"/>
                <a:gd name="connsiteY38" fmla="*/ 126954 h 129021"/>
                <a:gd name="connsiteX39" fmla="*/ 418977 w 555792"/>
                <a:gd name="connsiteY39" fmla="*/ 126954 h 129021"/>
                <a:gd name="connsiteX40" fmla="*/ 418977 w 555792"/>
                <a:gd name="connsiteY40" fmla="*/ 41285 h 129021"/>
                <a:gd name="connsiteX41" fmla="*/ 444318 w 555792"/>
                <a:gd name="connsiteY41" fmla="*/ 41285 h 129021"/>
                <a:gd name="connsiteX42" fmla="*/ 444318 w 555792"/>
                <a:gd name="connsiteY42" fmla="*/ 52785 h 129021"/>
                <a:gd name="connsiteX43" fmla="*/ 468871 w 555792"/>
                <a:gd name="connsiteY43" fmla="*/ 39863 h 129021"/>
                <a:gd name="connsiteX44" fmla="*/ 364489 w 555792"/>
                <a:gd name="connsiteY44" fmla="*/ 39863 h 129021"/>
                <a:gd name="connsiteX45" fmla="*/ 409656 w 555792"/>
                <a:gd name="connsiteY45" fmla="*/ 84443 h 129021"/>
                <a:gd name="connsiteX46" fmla="*/ 409656 w 555792"/>
                <a:gd name="connsiteY46" fmla="*/ 84572 h 129021"/>
                <a:gd name="connsiteX47" fmla="*/ 364227 w 555792"/>
                <a:gd name="connsiteY47" fmla="*/ 129021 h 129021"/>
                <a:gd name="connsiteX48" fmla="*/ 319059 w 555792"/>
                <a:gd name="connsiteY48" fmla="*/ 84313 h 129021"/>
                <a:gd name="connsiteX49" fmla="*/ 364489 w 555792"/>
                <a:gd name="connsiteY49" fmla="*/ 39863 h 129021"/>
                <a:gd name="connsiteX50" fmla="*/ 0 w 555792"/>
                <a:gd name="connsiteY50" fmla="*/ 7947 h 129021"/>
                <a:gd name="connsiteX51" fmla="*/ 27179 w 555792"/>
                <a:gd name="connsiteY51" fmla="*/ 7947 h 129021"/>
                <a:gd name="connsiteX52" fmla="*/ 27179 w 555792"/>
                <a:gd name="connsiteY52" fmla="*/ 54206 h 129021"/>
                <a:gd name="connsiteX53" fmla="*/ 75236 w 555792"/>
                <a:gd name="connsiteY53" fmla="*/ 54206 h 129021"/>
                <a:gd name="connsiteX54" fmla="*/ 75236 w 555792"/>
                <a:gd name="connsiteY54" fmla="*/ 7947 h 129021"/>
                <a:gd name="connsiteX55" fmla="*/ 102678 w 555792"/>
                <a:gd name="connsiteY55" fmla="*/ 7947 h 129021"/>
                <a:gd name="connsiteX56" fmla="*/ 102678 w 555792"/>
                <a:gd name="connsiteY56" fmla="*/ 126954 h 129021"/>
                <a:gd name="connsiteX57" fmla="*/ 75236 w 555792"/>
                <a:gd name="connsiteY57" fmla="*/ 126954 h 129021"/>
                <a:gd name="connsiteX58" fmla="*/ 75236 w 555792"/>
                <a:gd name="connsiteY58" fmla="*/ 77207 h 129021"/>
                <a:gd name="connsiteX59" fmla="*/ 27179 w 555792"/>
                <a:gd name="connsiteY59" fmla="*/ 77207 h 129021"/>
                <a:gd name="connsiteX60" fmla="*/ 27179 w 555792"/>
                <a:gd name="connsiteY60" fmla="*/ 126954 h 129021"/>
                <a:gd name="connsiteX61" fmla="*/ 0 w 555792"/>
                <a:gd name="connsiteY61" fmla="*/ 126954 h 129021"/>
                <a:gd name="connsiteX62" fmla="*/ 210736 w 555792"/>
                <a:gd name="connsiteY62" fmla="*/ 6526 h 129021"/>
                <a:gd name="connsiteX63" fmla="*/ 236078 w 555792"/>
                <a:gd name="connsiteY63" fmla="*/ 6526 h 129021"/>
                <a:gd name="connsiteX64" fmla="*/ 236078 w 555792"/>
                <a:gd name="connsiteY64" fmla="*/ 126955 h 129021"/>
                <a:gd name="connsiteX65" fmla="*/ 210736 w 555792"/>
                <a:gd name="connsiteY65" fmla="*/ 126955 h 129021"/>
                <a:gd name="connsiteX66" fmla="*/ 166619 w 555792"/>
                <a:gd name="connsiteY66" fmla="*/ 6526 h 129021"/>
                <a:gd name="connsiteX67" fmla="*/ 192093 w 555792"/>
                <a:gd name="connsiteY67" fmla="*/ 6526 h 129021"/>
                <a:gd name="connsiteX68" fmla="*/ 192093 w 555792"/>
                <a:gd name="connsiteY68" fmla="*/ 126955 h 129021"/>
                <a:gd name="connsiteX69" fmla="*/ 166619 w 555792"/>
                <a:gd name="connsiteY69" fmla="*/ 126955 h 129021"/>
                <a:gd name="connsiteX70" fmla="*/ 134188 w 555792"/>
                <a:gd name="connsiteY70" fmla="*/ 66 h 129021"/>
                <a:gd name="connsiteX71" fmla="*/ 134452 w 555792"/>
                <a:gd name="connsiteY71" fmla="*/ 66 h 129021"/>
                <a:gd name="connsiteX72" fmla="*/ 151030 w 555792"/>
                <a:gd name="connsiteY72" fmla="*/ 13600 h 129021"/>
                <a:gd name="connsiteX73" fmla="*/ 137277 w 555792"/>
                <a:gd name="connsiteY73" fmla="*/ 29915 h 129021"/>
                <a:gd name="connsiteX74" fmla="*/ 134452 w 555792"/>
                <a:gd name="connsiteY74" fmla="*/ 29915 h 129021"/>
                <a:gd name="connsiteX75" fmla="*/ 119350 w 555792"/>
                <a:gd name="connsiteY75" fmla="*/ 15316 h 129021"/>
                <a:gd name="connsiteX76" fmla="*/ 119352 w 555792"/>
                <a:gd name="connsiteY76" fmla="*/ 14926 h 129021"/>
                <a:gd name="connsiteX77" fmla="*/ 134188 w 555792"/>
                <a:gd name="connsiteY77" fmla="*/ 66 h 129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555792" h="129021">
                  <a:moveTo>
                    <a:pt x="364489" y="61830"/>
                  </a:moveTo>
                  <a:cubicBezTo>
                    <a:pt x="353167" y="62674"/>
                    <a:pt x="344170" y="71529"/>
                    <a:pt x="343312" y="82670"/>
                  </a:cubicBezTo>
                  <a:cubicBezTo>
                    <a:pt x="342353" y="95123"/>
                    <a:pt x="351834" y="105983"/>
                    <a:pt x="364489" y="106926"/>
                  </a:cubicBezTo>
                  <a:cubicBezTo>
                    <a:pt x="365644" y="107012"/>
                    <a:pt x="366805" y="107012"/>
                    <a:pt x="367960" y="106926"/>
                  </a:cubicBezTo>
                  <a:cubicBezTo>
                    <a:pt x="380614" y="105983"/>
                    <a:pt x="390095" y="95123"/>
                    <a:pt x="389136" y="82670"/>
                  </a:cubicBezTo>
                  <a:cubicBezTo>
                    <a:pt x="388178" y="70217"/>
                    <a:pt x="377143" y="60887"/>
                    <a:pt x="364489" y="61830"/>
                  </a:cubicBezTo>
                  <a:close/>
                  <a:moveTo>
                    <a:pt x="255246" y="41285"/>
                  </a:moveTo>
                  <a:lnTo>
                    <a:pt x="280588" y="41285"/>
                  </a:lnTo>
                  <a:lnTo>
                    <a:pt x="280588" y="126955"/>
                  </a:lnTo>
                  <a:lnTo>
                    <a:pt x="255246" y="126955"/>
                  </a:lnTo>
                  <a:close/>
                  <a:moveTo>
                    <a:pt x="121846" y="40770"/>
                  </a:moveTo>
                  <a:lnTo>
                    <a:pt x="147188" y="40770"/>
                  </a:lnTo>
                  <a:lnTo>
                    <a:pt x="147188" y="126439"/>
                  </a:lnTo>
                  <a:lnTo>
                    <a:pt x="121846" y="126439"/>
                  </a:lnTo>
                  <a:close/>
                  <a:moveTo>
                    <a:pt x="301329" y="40638"/>
                  </a:moveTo>
                  <a:cubicBezTo>
                    <a:pt x="301505" y="40635"/>
                    <a:pt x="301682" y="40635"/>
                    <a:pt x="301859" y="40638"/>
                  </a:cubicBezTo>
                  <a:cubicBezTo>
                    <a:pt x="310198" y="40638"/>
                    <a:pt x="316958" y="47292"/>
                    <a:pt x="316958" y="55499"/>
                  </a:cubicBezTo>
                  <a:cubicBezTo>
                    <a:pt x="316958" y="63706"/>
                    <a:pt x="310198" y="70359"/>
                    <a:pt x="301859" y="70359"/>
                  </a:cubicBezTo>
                  <a:cubicBezTo>
                    <a:pt x="293664" y="70433"/>
                    <a:pt x="286961" y="63956"/>
                    <a:pt x="286885" y="55893"/>
                  </a:cubicBezTo>
                  <a:cubicBezTo>
                    <a:pt x="286883" y="55718"/>
                    <a:pt x="286885" y="55544"/>
                    <a:pt x="286890" y="55370"/>
                  </a:cubicBezTo>
                  <a:cubicBezTo>
                    <a:pt x="286743" y="47379"/>
                    <a:pt x="293207" y="40783"/>
                    <a:pt x="301329" y="40638"/>
                  </a:cubicBezTo>
                  <a:close/>
                  <a:moveTo>
                    <a:pt x="468871" y="39863"/>
                  </a:moveTo>
                  <a:cubicBezTo>
                    <a:pt x="480066" y="38933"/>
                    <a:pt x="490621" y="45114"/>
                    <a:pt x="495131" y="55240"/>
                  </a:cubicBezTo>
                  <a:cubicBezTo>
                    <a:pt x="501466" y="45339"/>
                    <a:pt x="512660" y="39487"/>
                    <a:pt x="524542" y="39863"/>
                  </a:cubicBezTo>
                  <a:cubicBezTo>
                    <a:pt x="540599" y="38721"/>
                    <a:pt x="554556" y="50605"/>
                    <a:pt x="555716" y="66406"/>
                  </a:cubicBezTo>
                  <a:cubicBezTo>
                    <a:pt x="555772" y="67162"/>
                    <a:pt x="555797" y="67920"/>
                    <a:pt x="555792" y="68678"/>
                  </a:cubicBezTo>
                  <a:lnTo>
                    <a:pt x="555792" y="126954"/>
                  </a:lnTo>
                  <a:lnTo>
                    <a:pt x="530582" y="126954"/>
                  </a:lnTo>
                  <a:lnTo>
                    <a:pt x="530582" y="75914"/>
                  </a:lnTo>
                  <a:cubicBezTo>
                    <a:pt x="531848" y="68888"/>
                    <a:pt x="527086" y="62181"/>
                    <a:pt x="519946" y="60936"/>
                  </a:cubicBezTo>
                  <a:cubicBezTo>
                    <a:pt x="518776" y="60732"/>
                    <a:pt x="517584" y="60685"/>
                    <a:pt x="516402" y="60796"/>
                  </a:cubicBezTo>
                  <a:cubicBezTo>
                    <a:pt x="505898" y="60796"/>
                    <a:pt x="499858" y="69324"/>
                    <a:pt x="499858" y="83150"/>
                  </a:cubicBezTo>
                  <a:lnTo>
                    <a:pt x="499858" y="126954"/>
                  </a:lnTo>
                  <a:lnTo>
                    <a:pt x="474780" y="126954"/>
                  </a:lnTo>
                  <a:lnTo>
                    <a:pt x="474780" y="75914"/>
                  </a:lnTo>
                  <a:cubicBezTo>
                    <a:pt x="476033" y="68885"/>
                    <a:pt x="471259" y="62187"/>
                    <a:pt x="464116" y="60954"/>
                  </a:cubicBezTo>
                  <a:cubicBezTo>
                    <a:pt x="463043" y="60769"/>
                    <a:pt x="461949" y="60716"/>
                    <a:pt x="460862" y="60796"/>
                  </a:cubicBezTo>
                  <a:cubicBezTo>
                    <a:pt x="450489" y="60796"/>
                    <a:pt x="444318" y="69454"/>
                    <a:pt x="444318" y="83150"/>
                  </a:cubicBezTo>
                  <a:lnTo>
                    <a:pt x="444318" y="126954"/>
                  </a:lnTo>
                  <a:lnTo>
                    <a:pt x="418977" y="126954"/>
                  </a:lnTo>
                  <a:lnTo>
                    <a:pt x="418977" y="41285"/>
                  </a:lnTo>
                  <a:lnTo>
                    <a:pt x="444318" y="41285"/>
                  </a:lnTo>
                  <a:lnTo>
                    <a:pt x="444318" y="52785"/>
                  </a:lnTo>
                  <a:cubicBezTo>
                    <a:pt x="449587" y="44489"/>
                    <a:pt x="458935" y="39570"/>
                    <a:pt x="468871" y="39863"/>
                  </a:cubicBezTo>
                  <a:close/>
                  <a:moveTo>
                    <a:pt x="364489" y="39863"/>
                  </a:moveTo>
                  <a:cubicBezTo>
                    <a:pt x="389455" y="39935"/>
                    <a:pt x="409656" y="59873"/>
                    <a:pt x="409656" y="84443"/>
                  </a:cubicBezTo>
                  <a:cubicBezTo>
                    <a:pt x="409656" y="84486"/>
                    <a:pt x="409656" y="84529"/>
                    <a:pt x="409656" y="84572"/>
                  </a:cubicBezTo>
                  <a:cubicBezTo>
                    <a:pt x="409583" y="109192"/>
                    <a:pt x="389244" y="129093"/>
                    <a:pt x="364227" y="129021"/>
                  </a:cubicBezTo>
                  <a:cubicBezTo>
                    <a:pt x="339208" y="128950"/>
                    <a:pt x="318986" y="108934"/>
                    <a:pt x="319059" y="84313"/>
                  </a:cubicBezTo>
                  <a:cubicBezTo>
                    <a:pt x="319131" y="59693"/>
                    <a:pt x="339471" y="39792"/>
                    <a:pt x="364489" y="39863"/>
                  </a:cubicBezTo>
                  <a:close/>
                  <a:moveTo>
                    <a:pt x="0" y="7947"/>
                  </a:moveTo>
                  <a:lnTo>
                    <a:pt x="27179" y="7947"/>
                  </a:lnTo>
                  <a:lnTo>
                    <a:pt x="27179" y="54206"/>
                  </a:lnTo>
                  <a:lnTo>
                    <a:pt x="75236" y="54206"/>
                  </a:lnTo>
                  <a:lnTo>
                    <a:pt x="75236" y="7947"/>
                  </a:lnTo>
                  <a:lnTo>
                    <a:pt x="102678" y="7947"/>
                  </a:lnTo>
                  <a:lnTo>
                    <a:pt x="102678" y="126954"/>
                  </a:lnTo>
                  <a:lnTo>
                    <a:pt x="75236" y="126954"/>
                  </a:lnTo>
                  <a:lnTo>
                    <a:pt x="75236" y="77207"/>
                  </a:lnTo>
                  <a:lnTo>
                    <a:pt x="27179" y="77207"/>
                  </a:lnTo>
                  <a:lnTo>
                    <a:pt x="27179" y="126954"/>
                  </a:lnTo>
                  <a:lnTo>
                    <a:pt x="0" y="126954"/>
                  </a:lnTo>
                  <a:close/>
                  <a:moveTo>
                    <a:pt x="210736" y="6526"/>
                  </a:moveTo>
                  <a:lnTo>
                    <a:pt x="236078" y="6526"/>
                  </a:lnTo>
                  <a:lnTo>
                    <a:pt x="236078" y="126955"/>
                  </a:lnTo>
                  <a:lnTo>
                    <a:pt x="210736" y="126955"/>
                  </a:lnTo>
                  <a:close/>
                  <a:moveTo>
                    <a:pt x="166619" y="6526"/>
                  </a:moveTo>
                  <a:lnTo>
                    <a:pt x="192093" y="6526"/>
                  </a:lnTo>
                  <a:lnTo>
                    <a:pt x="192093" y="126955"/>
                  </a:lnTo>
                  <a:lnTo>
                    <a:pt x="166619" y="126955"/>
                  </a:lnTo>
                  <a:close/>
                  <a:moveTo>
                    <a:pt x="134188" y="66"/>
                  </a:moveTo>
                  <a:cubicBezTo>
                    <a:pt x="134276" y="65"/>
                    <a:pt x="134364" y="65"/>
                    <a:pt x="134452" y="66"/>
                  </a:cubicBezTo>
                  <a:cubicBezTo>
                    <a:pt x="142828" y="-702"/>
                    <a:pt x="150250" y="5357"/>
                    <a:pt x="151030" y="13600"/>
                  </a:cubicBezTo>
                  <a:cubicBezTo>
                    <a:pt x="151810" y="21842"/>
                    <a:pt x="145653" y="29148"/>
                    <a:pt x="137277" y="29915"/>
                  </a:cubicBezTo>
                  <a:cubicBezTo>
                    <a:pt x="136338" y="30002"/>
                    <a:pt x="135392" y="30002"/>
                    <a:pt x="134452" y="29915"/>
                  </a:cubicBezTo>
                  <a:cubicBezTo>
                    <a:pt x="126185" y="29988"/>
                    <a:pt x="119424" y="23451"/>
                    <a:pt x="119350" y="15316"/>
                  </a:cubicBezTo>
                  <a:cubicBezTo>
                    <a:pt x="119349" y="15186"/>
                    <a:pt x="119349" y="15056"/>
                    <a:pt x="119352" y="14926"/>
                  </a:cubicBezTo>
                  <a:cubicBezTo>
                    <a:pt x="119279" y="6790"/>
                    <a:pt x="125921" y="137"/>
                    <a:pt x="134188" y="66"/>
                  </a:cubicBezTo>
                  <a:close/>
                </a:path>
              </a:pathLst>
            </a:custGeom>
            <a:solidFill>
              <a:srgbClr val="000839"/>
            </a:solidFill>
            <a:ln w="9525" cap="flat">
              <a:noFill/>
              <a:prstDash val="solid"/>
              <a:miter/>
            </a:ln>
          </p:spPr>
          <p:txBody>
            <a:bodyPr wrap="square" rtlCol="0" anchor="ctr">
              <a:noAutofit/>
            </a:bodyPr>
            <a:lstStyle/>
            <a:p>
              <a:endParaRPr lang="en-US"/>
            </a:p>
          </p:txBody>
        </p:sp>
      </p:grpSp>
    </p:spTree>
    <p:extLst>
      <p:ext uri="{BB962C8B-B14F-4D97-AF65-F5344CB8AC3E}">
        <p14:creationId xmlns:p14="http://schemas.microsoft.com/office/powerpoint/2010/main" val="16497169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Divider - Inset Photo">
    <p:bg>
      <p:bgPr>
        <a:solidFill>
          <a:schemeClr val="accent2"/>
        </a:solidFill>
        <a:effectLst/>
      </p:bgPr>
    </p:bg>
    <p:spTree>
      <p:nvGrpSpPr>
        <p:cNvPr id="1" name=""/>
        <p:cNvGrpSpPr/>
        <p:nvPr/>
      </p:nvGrpSpPr>
      <p:grpSpPr>
        <a:xfrm>
          <a:off x="0" y="0"/>
          <a:ext cx="0" cy="0"/>
          <a:chOff x="0" y="0"/>
          <a:chExt cx="0" cy="0"/>
        </a:xfrm>
      </p:grpSpPr>
      <p:sp>
        <p:nvSpPr>
          <p:cNvPr id="26" name="Slide Number Placeholder 5">
            <a:extLst>
              <a:ext uri="{FF2B5EF4-FFF2-40B4-BE49-F238E27FC236}">
                <a16:creationId xmlns:a16="http://schemas.microsoft.com/office/drawing/2014/main" id="{6AA0B4D3-F1D5-E840-816A-8B71734B0CEE}"/>
              </a:ext>
            </a:extLst>
          </p:cNvPr>
          <p:cNvSpPr>
            <a:spLocks noGrp="1"/>
          </p:cNvSpPr>
          <p:nvPr>
            <p:ph type="sldNum" sz="quarter" idx="4"/>
          </p:nvPr>
        </p:nvSpPr>
        <p:spPr>
          <a:xfrm>
            <a:off x="11537879" y="6325527"/>
            <a:ext cx="370726" cy="365125"/>
          </a:xfrm>
          <a:prstGeom prst="rect">
            <a:avLst/>
          </a:prstGeom>
        </p:spPr>
        <p:txBody>
          <a:bodyPr vert="horz" lIns="91440" tIns="45720" rIns="91440" bIns="45720" rtlCol="0" anchor="b"/>
          <a:lstStyle>
            <a:lvl1pPr algn="r">
              <a:defRPr sz="800" b="1" i="0">
                <a:solidFill>
                  <a:schemeClr val="bg1"/>
                </a:solidFill>
                <a:latin typeface="+mj-lt"/>
              </a:defRPr>
            </a:lvl1pPr>
          </a:lstStyle>
          <a:p>
            <a:fld id="{EB3C441C-A16D-4531-8F9E-BFE4D57FBC82}" type="slidenum">
              <a:rPr lang="en-US" smtClean="0"/>
              <a:t>‹N°›</a:t>
            </a:fld>
            <a:endParaRPr lang="en-US"/>
          </a:p>
        </p:txBody>
      </p:sp>
      <p:sp>
        <p:nvSpPr>
          <p:cNvPr id="30" name="Footer Placeholder 54">
            <a:extLst>
              <a:ext uri="{FF2B5EF4-FFF2-40B4-BE49-F238E27FC236}">
                <a16:creationId xmlns:a16="http://schemas.microsoft.com/office/drawing/2014/main" id="{FBF5E17B-C670-4E4D-BB7F-743CB1137D68}"/>
              </a:ext>
            </a:extLst>
          </p:cNvPr>
          <p:cNvSpPr>
            <a:spLocks noGrp="1"/>
          </p:cNvSpPr>
          <p:nvPr>
            <p:ph type="ftr" sz="quarter" idx="15"/>
          </p:nvPr>
        </p:nvSpPr>
        <p:spPr>
          <a:xfrm>
            <a:off x="1819551" y="6340392"/>
            <a:ext cx="4114800" cy="365125"/>
          </a:xfrm>
          <a:prstGeom prst="rect">
            <a:avLst/>
          </a:prstGeom>
        </p:spPr>
        <p:txBody>
          <a:bodyPr anchor="b" anchorCtr="0"/>
          <a:lstStyle>
            <a:lvl1pPr>
              <a:defRPr sz="700">
                <a:solidFill>
                  <a:schemeClr val="bg1"/>
                </a:solidFill>
              </a:defRPr>
            </a:lvl1pPr>
          </a:lstStyle>
          <a:p>
            <a:endParaRPr lang="en-US"/>
          </a:p>
        </p:txBody>
      </p:sp>
      <p:sp>
        <p:nvSpPr>
          <p:cNvPr id="31" name="Title 8">
            <a:extLst>
              <a:ext uri="{FF2B5EF4-FFF2-40B4-BE49-F238E27FC236}">
                <a16:creationId xmlns:a16="http://schemas.microsoft.com/office/drawing/2014/main" id="{9577566B-579A-F64E-8ABD-A539C8592B64}"/>
              </a:ext>
            </a:extLst>
          </p:cNvPr>
          <p:cNvSpPr>
            <a:spLocks noGrp="1"/>
          </p:cNvSpPr>
          <p:nvPr>
            <p:ph type="title"/>
          </p:nvPr>
        </p:nvSpPr>
        <p:spPr>
          <a:xfrm>
            <a:off x="591194" y="1634837"/>
            <a:ext cx="5904997" cy="2968831"/>
          </a:xfrm>
          <a:prstGeom prst="rect">
            <a:avLst/>
          </a:prstGeom>
        </p:spPr>
        <p:txBody>
          <a:bodyPr/>
          <a:lstStyle>
            <a:lvl1pPr>
              <a:lnSpc>
                <a:spcPct val="84000"/>
              </a:lnSpc>
              <a:defRPr sz="4800" b="1" i="0" cap="all" baseline="0">
                <a:solidFill>
                  <a:schemeClr val="bg1"/>
                </a:solidFill>
                <a:latin typeface="+mj-lt"/>
              </a:defRPr>
            </a:lvl1pPr>
          </a:lstStyle>
          <a:p>
            <a:r>
              <a:rPr lang="en-US"/>
              <a:t>Click to edit Master title style</a:t>
            </a:r>
          </a:p>
        </p:txBody>
      </p:sp>
      <p:sp>
        <p:nvSpPr>
          <p:cNvPr id="22" name="Text Placeholder 3">
            <a:extLst>
              <a:ext uri="{FF2B5EF4-FFF2-40B4-BE49-F238E27FC236}">
                <a16:creationId xmlns:a16="http://schemas.microsoft.com/office/drawing/2014/main" id="{33FB9C49-9DBC-3E4D-A8EB-ABE9A53CF81B}"/>
              </a:ext>
            </a:extLst>
          </p:cNvPr>
          <p:cNvSpPr>
            <a:spLocks noGrp="1"/>
          </p:cNvSpPr>
          <p:nvPr>
            <p:ph type="body" sz="quarter" idx="13"/>
          </p:nvPr>
        </p:nvSpPr>
        <p:spPr>
          <a:xfrm>
            <a:off x="688350" y="498222"/>
            <a:ext cx="1997663" cy="244682"/>
          </a:xfrm>
          <a:prstGeom prst="rect">
            <a:avLst/>
          </a:prstGeom>
          <a:solidFill>
            <a:schemeClr val="accent1"/>
          </a:solidFill>
          <a:ln>
            <a:noFill/>
          </a:ln>
        </p:spPr>
        <p:txBody>
          <a:bodyPr wrap="none" anchor="ctr">
            <a:spAutoFit/>
          </a:bodyPr>
          <a:lstStyle>
            <a:lvl1pPr marL="0" indent="0">
              <a:buNone/>
              <a:defRPr sz="1100" b="1" cap="all" spc="50" baseline="0">
                <a:solidFill>
                  <a:schemeClr val="bg1"/>
                </a:solidFill>
                <a:latin typeface="+mj-lt"/>
              </a:defRPr>
            </a:lvl1pPr>
          </a:lstStyle>
          <a:p>
            <a:pPr lvl="0"/>
            <a:r>
              <a:rPr lang="en-US"/>
              <a:t>Edit Master text styles</a:t>
            </a:r>
          </a:p>
        </p:txBody>
      </p:sp>
      <p:sp>
        <p:nvSpPr>
          <p:cNvPr id="25" name="Rectangle 24">
            <a:extLst>
              <a:ext uri="{FF2B5EF4-FFF2-40B4-BE49-F238E27FC236}">
                <a16:creationId xmlns:a16="http://schemas.microsoft.com/office/drawing/2014/main" id="{312AE114-3F08-5E48-A419-8755E6D8EE37}"/>
              </a:ext>
            </a:extLst>
          </p:cNvPr>
          <p:cNvSpPr/>
          <p:nvPr/>
        </p:nvSpPr>
        <p:spPr>
          <a:xfrm>
            <a:off x="6766560" y="772886"/>
            <a:ext cx="5425440" cy="54116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70DCE612-2AA6-2B44-8C91-B57F2CD5726D}"/>
              </a:ext>
            </a:extLst>
          </p:cNvPr>
          <p:cNvSpPr>
            <a:spLocks noGrp="1"/>
          </p:cNvSpPr>
          <p:nvPr>
            <p:ph type="pic" sz="quarter" idx="16"/>
          </p:nvPr>
        </p:nvSpPr>
        <p:spPr>
          <a:xfrm>
            <a:off x="6766559" y="769654"/>
            <a:ext cx="5425440" cy="5411651"/>
          </a:xfrm>
          <a:prstGeom prst="rect">
            <a:avLst/>
          </a:prstGeom>
        </p:spPr>
        <p:txBody>
          <a:bodyPr anchor="ctr"/>
          <a:lstStyle>
            <a:lvl1pPr marL="0" indent="0" algn="ctr">
              <a:buNone/>
              <a:defRPr/>
            </a:lvl1pPr>
          </a:lstStyle>
          <a:p>
            <a:r>
              <a:rPr lang="en-US"/>
              <a:t>Click icon to add picture</a:t>
            </a:r>
          </a:p>
        </p:txBody>
      </p:sp>
      <p:grpSp>
        <p:nvGrpSpPr>
          <p:cNvPr id="23" name="Group 22">
            <a:extLst>
              <a:ext uri="{FF2B5EF4-FFF2-40B4-BE49-F238E27FC236}">
                <a16:creationId xmlns:a16="http://schemas.microsoft.com/office/drawing/2014/main" id="{9EDA95B7-AC5B-924F-8B1B-AB8E372524C9}"/>
              </a:ext>
            </a:extLst>
          </p:cNvPr>
          <p:cNvGrpSpPr/>
          <p:nvPr/>
        </p:nvGrpSpPr>
        <p:grpSpPr>
          <a:xfrm>
            <a:off x="3047" y="6305605"/>
            <a:ext cx="1254409" cy="552395"/>
            <a:chOff x="3047" y="6305605"/>
            <a:chExt cx="1254409" cy="552395"/>
          </a:xfrm>
        </p:grpSpPr>
        <p:grpSp>
          <p:nvGrpSpPr>
            <p:cNvPr id="24" name="Group 23">
              <a:extLst>
                <a:ext uri="{FF2B5EF4-FFF2-40B4-BE49-F238E27FC236}">
                  <a16:creationId xmlns:a16="http://schemas.microsoft.com/office/drawing/2014/main" id="{EC8E4ABD-4CE8-FA40-985A-FD9702DA5B1B}"/>
                </a:ext>
              </a:extLst>
            </p:cNvPr>
            <p:cNvGrpSpPr/>
            <p:nvPr/>
          </p:nvGrpSpPr>
          <p:grpSpPr>
            <a:xfrm>
              <a:off x="3047" y="6305605"/>
              <a:ext cx="551693" cy="552395"/>
              <a:chOff x="3047" y="6305605"/>
              <a:chExt cx="551693" cy="552395"/>
            </a:xfrm>
          </p:grpSpPr>
          <p:sp>
            <p:nvSpPr>
              <p:cNvPr id="28" name="Rectangle 27">
                <a:extLst>
                  <a:ext uri="{FF2B5EF4-FFF2-40B4-BE49-F238E27FC236}">
                    <a16:creationId xmlns:a16="http://schemas.microsoft.com/office/drawing/2014/main" id="{FAFF1EB4-ACBC-1445-9538-8B7B1F662D62}"/>
                  </a:ext>
                </a:extLst>
              </p:cNvPr>
              <p:cNvSpPr/>
              <p:nvPr/>
            </p:nvSpPr>
            <p:spPr>
              <a:xfrm>
                <a:off x="3047" y="6305605"/>
                <a:ext cx="551693" cy="552395"/>
              </a:xfrm>
              <a:prstGeom prst="rect">
                <a:avLst/>
              </a:prstGeom>
              <a:solidFill>
                <a:srgbClr val="5369E4"/>
              </a:solidFill>
              <a:ln w="9525"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B0FE4C0-FB2A-974E-82D2-15CE05C43478}"/>
                  </a:ext>
                </a:extLst>
              </p:cNvPr>
              <p:cNvSpPr/>
              <p:nvPr/>
            </p:nvSpPr>
            <p:spPr>
              <a:xfrm>
                <a:off x="173577" y="6501753"/>
                <a:ext cx="279408" cy="175345"/>
              </a:xfrm>
              <a:custGeom>
                <a:avLst/>
                <a:gdLst>
                  <a:gd name="connsiteX0" fmla="*/ 102941 w 279408"/>
                  <a:gd name="connsiteY0" fmla="*/ 59439 h 175345"/>
                  <a:gd name="connsiteX1" fmla="*/ 132352 w 279408"/>
                  <a:gd name="connsiteY1" fmla="*/ 88384 h 175345"/>
                  <a:gd name="connsiteX2" fmla="*/ 102941 w 279408"/>
                  <a:gd name="connsiteY2" fmla="*/ 117329 h 175345"/>
                  <a:gd name="connsiteX3" fmla="*/ 73528 w 279408"/>
                  <a:gd name="connsiteY3" fmla="*/ 88384 h 175345"/>
                  <a:gd name="connsiteX4" fmla="*/ 102941 w 279408"/>
                  <a:gd name="connsiteY4" fmla="*/ 59439 h 175345"/>
                  <a:gd name="connsiteX5" fmla="*/ 147056 w 279408"/>
                  <a:gd name="connsiteY5" fmla="*/ 1809 h 175345"/>
                  <a:gd name="connsiteX6" fmla="*/ 205880 w 279408"/>
                  <a:gd name="connsiteY6" fmla="*/ 1809 h 175345"/>
                  <a:gd name="connsiteX7" fmla="*/ 205880 w 279408"/>
                  <a:gd name="connsiteY7" fmla="*/ 59698 h 175345"/>
                  <a:gd name="connsiteX8" fmla="*/ 205880 w 279408"/>
                  <a:gd name="connsiteY8" fmla="*/ 117457 h 175345"/>
                  <a:gd name="connsiteX9" fmla="*/ 205880 w 279408"/>
                  <a:gd name="connsiteY9" fmla="*/ 175345 h 175345"/>
                  <a:gd name="connsiteX10" fmla="*/ 147056 w 279408"/>
                  <a:gd name="connsiteY10" fmla="*/ 175345 h 175345"/>
                  <a:gd name="connsiteX11" fmla="*/ 147056 w 279408"/>
                  <a:gd name="connsiteY11" fmla="*/ 117457 h 175345"/>
                  <a:gd name="connsiteX12" fmla="*/ 147056 w 279408"/>
                  <a:gd name="connsiteY12" fmla="*/ 59698 h 175345"/>
                  <a:gd name="connsiteX13" fmla="*/ 0 w 279408"/>
                  <a:gd name="connsiteY13" fmla="*/ 1809 h 175345"/>
                  <a:gd name="connsiteX14" fmla="*/ 58824 w 279408"/>
                  <a:gd name="connsiteY14" fmla="*/ 1809 h 175345"/>
                  <a:gd name="connsiteX15" fmla="*/ 58824 w 279408"/>
                  <a:gd name="connsiteY15" fmla="*/ 59698 h 175345"/>
                  <a:gd name="connsiteX16" fmla="*/ 58824 w 279408"/>
                  <a:gd name="connsiteY16" fmla="*/ 117457 h 175345"/>
                  <a:gd name="connsiteX17" fmla="*/ 58824 w 279408"/>
                  <a:gd name="connsiteY17" fmla="*/ 175345 h 175345"/>
                  <a:gd name="connsiteX18" fmla="*/ 0 w 279408"/>
                  <a:gd name="connsiteY18" fmla="*/ 175345 h 175345"/>
                  <a:gd name="connsiteX19" fmla="*/ 0 w 279408"/>
                  <a:gd name="connsiteY19" fmla="*/ 117457 h 175345"/>
                  <a:gd name="connsiteX20" fmla="*/ 0 w 279408"/>
                  <a:gd name="connsiteY20" fmla="*/ 59698 h 175345"/>
                  <a:gd name="connsiteX21" fmla="*/ 249997 w 279408"/>
                  <a:gd name="connsiteY21" fmla="*/ 0 h 175345"/>
                  <a:gd name="connsiteX22" fmla="*/ 279408 w 279408"/>
                  <a:gd name="connsiteY22" fmla="*/ 28945 h 175345"/>
                  <a:gd name="connsiteX23" fmla="*/ 249997 w 279408"/>
                  <a:gd name="connsiteY23" fmla="*/ 57890 h 175345"/>
                  <a:gd name="connsiteX24" fmla="*/ 220584 w 279408"/>
                  <a:gd name="connsiteY24" fmla="*/ 28945 h 175345"/>
                  <a:gd name="connsiteX25" fmla="*/ 249997 w 279408"/>
                  <a:gd name="connsiteY25" fmla="*/ 0 h 175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79408" h="175345">
                    <a:moveTo>
                      <a:pt x="102941" y="59439"/>
                    </a:moveTo>
                    <a:cubicBezTo>
                      <a:pt x="119184" y="59439"/>
                      <a:pt x="132352" y="72399"/>
                      <a:pt x="132352" y="88384"/>
                    </a:cubicBezTo>
                    <a:cubicBezTo>
                      <a:pt x="132352" y="104370"/>
                      <a:pt x="119184" y="117329"/>
                      <a:pt x="102941" y="117329"/>
                    </a:cubicBezTo>
                    <a:cubicBezTo>
                      <a:pt x="86696" y="117329"/>
                      <a:pt x="73528" y="104370"/>
                      <a:pt x="73528" y="88384"/>
                    </a:cubicBezTo>
                    <a:cubicBezTo>
                      <a:pt x="73528" y="72399"/>
                      <a:pt x="86696" y="59439"/>
                      <a:pt x="102941" y="59439"/>
                    </a:cubicBezTo>
                    <a:close/>
                    <a:moveTo>
                      <a:pt x="147056" y="1809"/>
                    </a:moveTo>
                    <a:lnTo>
                      <a:pt x="205880" y="1809"/>
                    </a:lnTo>
                    <a:lnTo>
                      <a:pt x="205880" y="59698"/>
                    </a:lnTo>
                    <a:lnTo>
                      <a:pt x="205880" y="117457"/>
                    </a:lnTo>
                    <a:lnTo>
                      <a:pt x="205880" y="175345"/>
                    </a:lnTo>
                    <a:lnTo>
                      <a:pt x="147056" y="175345"/>
                    </a:lnTo>
                    <a:lnTo>
                      <a:pt x="147056" y="117457"/>
                    </a:lnTo>
                    <a:lnTo>
                      <a:pt x="147056" y="59698"/>
                    </a:lnTo>
                    <a:close/>
                    <a:moveTo>
                      <a:pt x="0" y="1809"/>
                    </a:moveTo>
                    <a:lnTo>
                      <a:pt x="58824" y="1809"/>
                    </a:lnTo>
                    <a:lnTo>
                      <a:pt x="58824" y="59698"/>
                    </a:lnTo>
                    <a:lnTo>
                      <a:pt x="58824" y="117457"/>
                    </a:lnTo>
                    <a:lnTo>
                      <a:pt x="58824" y="175345"/>
                    </a:lnTo>
                    <a:lnTo>
                      <a:pt x="0" y="175345"/>
                    </a:lnTo>
                    <a:lnTo>
                      <a:pt x="0" y="117457"/>
                    </a:lnTo>
                    <a:lnTo>
                      <a:pt x="0" y="59698"/>
                    </a:lnTo>
                    <a:close/>
                    <a:moveTo>
                      <a:pt x="249997" y="0"/>
                    </a:moveTo>
                    <a:cubicBezTo>
                      <a:pt x="266240" y="0"/>
                      <a:pt x="279408" y="12960"/>
                      <a:pt x="279408" y="28945"/>
                    </a:cubicBezTo>
                    <a:cubicBezTo>
                      <a:pt x="279408" y="44931"/>
                      <a:pt x="266240" y="57890"/>
                      <a:pt x="249997" y="57890"/>
                    </a:cubicBezTo>
                    <a:cubicBezTo>
                      <a:pt x="233752" y="57890"/>
                      <a:pt x="220584" y="44931"/>
                      <a:pt x="220584" y="28945"/>
                    </a:cubicBezTo>
                    <a:cubicBezTo>
                      <a:pt x="220584" y="12960"/>
                      <a:pt x="233752" y="0"/>
                      <a:pt x="249997" y="0"/>
                    </a:cubicBezTo>
                    <a:close/>
                  </a:path>
                </a:pathLst>
              </a:custGeom>
              <a:solidFill>
                <a:srgbClr val="FFFFFF"/>
              </a:solidFill>
              <a:ln w="9525" cap="flat">
                <a:noFill/>
                <a:prstDash val="solid"/>
                <a:miter/>
              </a:ln>
            </p:spPr>
            <p:txBody>
              <a:bodyPr wrap="square" rtlCol="0" anchor="ctr">
                <a:noAutofit/>
              </a:bodyPr>
              <a:lstStyle/>
              <a:p>
                <a:endParaRPr lang="en-US"/>
              </a:p>
            </p:txBody>
          </p:sp>
        </p:grpSp>
        <p:sp>
          <p:nvSpPr>
            <p:cNvPr id="27" name="Freeform 26">
              <a:extLst>
                <a:ext uri="{FF2B5EF4-FFF2-40B4-BE49-F238E27FC236}">
                  <a16:creationId xmlns:a16="http://schemas.microsoft.com/office/drawing/2014/main" id="{3116D2F0-36BA-B249-9AA4-B958C56C1DC7}"/>
                </a:ext>
              </a:extLst>
            </p:cNvPr>
            <p:cNvSpPr/>
            <p:nvPr/>
          </p:nvSpPr>
          <p:spPr>
            <a:xfrm>
              <a:off x="701664" y="6524947"/>
              <a:ext cx="555792" cy="129021"/>
            </a:xfrm>
            <a:custGeom>
              <a:avLst/>
              <a:gdLst>
                <a:gd name="connsiteX0" fmla="*/ 364489 w 555792"/>
                <a:gd name="connsiteY0" fmla="*/ 61830 h 129021"/>
                <a:gd name="connsiteX1" fmla="*/ 343312 w 555792"/>
                <a:gd name="connsiteY1" fmla="*/ 82670 h 129021"/>
                <a:gd name="connsiteX2" fmla="*/ 364489 w 555792"/>
                <a:gd name="connsiteY2" fmla="*/ 106926 h 129021"/>
                <a:gd name="connsiteX3" fmla="*/ 367960 w 555792"/>
                <a:gd name="connsiteY3" fmla="*/ 106926 h 129021"/>
                <a:gd name="connsiteX4" fmla="*/ 389136 w 555792"/>
                <a:gd name="connsiteY4" fmla="*/ 82670 h 129021"/>
                <a:gd name="connsiteX5" fmla="*/ 364489 w 555792"/>
                <a:gd name="connsiteY5" fmla="*/ 61830 h 129021"/>
                <a:gd name="connsiteX6" fmla="*/ 255246 w 555792"/>
                <a:gd name="connsiteY6" fmla="*/ 41285 h 129021"/>
                <a:gd name="connsiteX7" fmla="*/ 280588 w 555792"/>
                <a:gd name="connsiteY7" fmla="*/ 41285 h 129021"/>
                <a:gd name="connsiteX8" fmla="*/ 280588 w 555792"/>
                <a:gd name="connsiteY8" fmla="*/ 126955 h 129021"/>
                <a:gd name="connsiteX9" fmla="*/ 255246 w 555792"/>
                <a:gd name="connsiteY9" fmla="*/ 126955 h 129021"/>
                <a:gd name="connsiteX10" fmla="*/ 121846 w 555792"/>
                <a:gd name="connsiteY10" fmla="*/ 40770 h 129021"/>
                <a:gd name="connsiteX11" fmla="*/ 147188 w 555792"/>
                <a:gd name="connsiteY11" fmla="*/ 40770 h 129021"/>
                <a:gd name="connsiteX12" fmla="*/ 147188 w 555792"/>
                <a:gd name="connsiteY12" fmla="*/ 126439 h 129021"/>
                <a:gd name="connsiteX13" fmla="*/ 121846 w 555792"/>
                <a:gd name="connsiteY13" fmla="*/ 126439 h 129021"/>
                <a:gd name="connsiteX14" fmla="*/ 301329 w 555792"/>
                <a:gd name="connsiteY14" fmla="*/ 40638 h 129021"/>
                <a:gd name="connsiteX15" fmla="*/ 301859 w 555792"/>
                <a:gd name="connsiteY15" fmla="*/ 40638 h 129021"/>
                <a:gd name="connsiteX16" fmla="*/ 316958 w 555792"/>
                <a:gd name="connsiteY16" fmla="*/ 55499 h 129021"/>
                <a:gd name="connsiteX17" fmla="*/ 301859 w 555792"/>
                <a:gd name="connsiteY17" fmla="*/ 70359 h 129021"/>
                <a:gd name="connsiteX18" fmla="*/ 286885 w 555792"/>
                <a:gd name="connsiteY18" fmla="*/ 55893 h 129021"/>
                <a:gd name="connsiteX19" fmla="*/ 286890 w 555792"/>
                <a:gd name="connsiteY19" fmla="*/ 55370 h 129021"/>
                <a:gd name="connsiteX20" fmla="*/ 301329 w 555792"/>
                <a:gd name="connsiteY20" fmla="*/ 40638 h 129021"/>
                <a:gd name="connsiteX21" fmla="*/ 468871 w 555792"/>
                <a:gd name="connsiteY21" fmla="*/ 39863 h 129021"/>
                <a:gd name="connsiteX22" fmla="*/ 495131 w 555792"/>
                <a:gd name="connsiteY22" fmla="*/ 55240 h 129021"/>
                <a:gd name="connsiteX23" fmla="*/ 524542 w 555792"/>
                <a:gd name="connsiteY23" fmla="*/ 39863 h 129021"/>
                <a:gd name="connsiteX24" fmla="*/ 555716 w 555792"/>
                <a:gd name="connsiteY24" fmla="*/ 66406 h 129021"/>
                <a:gd name="connsiteX25" fmla="*/ 555792 w 555792"/>
                <a:gd name="connsiteY25" fmla="*/ 68678 h 129021"/>
                <a:gd name="connsiteX26" fmla="*/ 555792 w 555792"/>
                <a:gd name="connsiteY26" fmla="*/ 126954 h 129021"/>
                <a:gd name="connsiteX27" fmla="*/ 530582 w 555792"/>
                <a:gd name="connsiteY27" fmla="*/ 126954 h 129021"/>
                <a:gd name="connsiteX28" fmla="*/ 530582 w 555792"/>
                <a:gd name="connsiteY28" fmla="*/ 75914 h 129021"/>
                <a:gd name="connsiteX29" fmla="*/ 519946 w 555792"/>
                <a:gd name="connsiteY29" fmla="*/ 60936 h 129021"/>
                <a:gd name="connsiteX30" fmla="*/ 516402 w 555792"/>
                <a:gd name="connsiteY30" fmla="*/ 60796 h 129021"/>
                <a:gd name="connsiteX31" fmla="*/ 499858 w 555792"/>
                <a:gd name="connsiteY31" fmla="*/ 83150 h 129021"/>
                <a:gd name="connsiteX32" fmla="*/ 499858 w 555792"/>
                <a:gd name="connsiteY32" fmla="*/ 126954 h 129021"/>
                <a:gd name="connsiteX33" fmla="*/ 474780 w 555792"/>
                <a:gd name="connsiteY33" fmla="*/ 126954 h 129021"/>
                <a:gd name="connsiteX34" fmla="*/ 474780 w 555792"/>
                <a:gd name="connsiteY34" fmla="*/ 75914 h 129021"/>
                <a:gd name="connsiteX35" fmla="*/ 464116 w 555792"/>
                <a:gd name="connsiteY35" fmla="*/ 60954 h 129021"/>
                <a:gd name="connsiteX36" fmla="*/ 460862 w 555792"/>
                <a:gd name="connsiteY36" fmla="*/ 60796 h 129021"/>
                <a:gd name="connsiteX37" fmla="*/ 444318 w 555792"/>
                <a:gd name="connsiteY37" fmla="*/ 83150 h 129021"/>
                <a:gd name="connsiteX38" fmla="*/ 444318 w 555792"/>
                <a:gd name="connsiteY38" fmla="*/ 126954 h 129021"/>
                <a:gd name="connsiteX39" fmla="*/ 418977 w 555792"/>
                <a:gd name="connsiteY39" fmla="*/ 126954 h 129021"/>
                <a:gd name="connsiteX40" fmla="*/ 418977 w 555792"/>
                <a:gd name="connsiteY40" fmla="*/ 41285 h 129021"/>
                <a:gd name="connsiteX41" fmla="*/ 444318 w 555792"/>
                <a:gd name="connsiteY41" fmla="*/ 41285 h 129021"/>
                <a:gd name="connsiteX42" fmla="*/ 444318 w 555792"/>
                <a:gd name="connsiteY42" fmla="*/ 52785 h 129021"/>
                <a:gd name="connsiteX43" fmla="*/ 468871 w 555792"/>
                <a:gd name="connsiteY43" fmla="*/ 39863 h 129021"/>
                <a:gd name="connsiteX44" fmla="*/ 364489 w 555792"/>
                <a:gd name="connsiteY44" fmla="*/ 39863 h 129021"/>
                <a:gd name="connsiteX45" fmla="*/ 409656 w 555792"/>
                <a:gd name="connsiteY45" fmla="*/ 84443 h 129021"/>
                <a:gd name="connsiteX46" fmla="*/ 409656 w 555792"/>
                <a:gd name="connsiteY46" fmla="*/ 84572 h 129021"/>
                <a:gd name="connsiteX47" fmla="*/ 364227 w 555792"/>
                <a:gd name="connsiteY47" fmla="*/ 129021 h 129021"/>
                <a:gd name="connsiteX48" fmla="*/ 319059 w 555792"/>
                <a:gd name="connsiteY48" fmla="*/ 84313 h 129021"/>
                <a:gd name="connsiteX49" fmla="*/ 364489 w 555792"/>
                <a:gd name="connsiteY49" fmla="*/ 39863 h 129021"/>
                <a:gd name="connsiteX50" fmla="*/ 0 w 555792"/>
                <a:gd name="connsiteY50" fmla="*/ 7947 h 129021"/>
                <a:gd name="connsiteX51" fmla="*/ 27179 w 555792"/>
                <a:gd name="connsiteY51" fmla="*/ 7947 h 129021"/>
                <a:gd name="connsiteX52" fmla="*/ 27179 w 555792"/>
                <a:gd name="connsiteY52" fmla="*/ 54206 h 129021"/>
                <a:gd name="connsiteX53" fmla="*/ 75236 w 555792"/>
                <a:gd name="connsiteY53" fmla="*/ 54206 h 129021"/>
                <a:gd name="connsiteX54" fmla="*/ 75236 w 555792"/>
                <a:gd name="connsiteY54" fmla="*/ 7947 h 129021"/>
                <a:gd name="connsiteX55" fmla="*/ 102678 w 555792"/>
                <a:gd name="connsiteY55" fmla="*/ 7947 h 129021"/>
                <a:gd name="connsiteX56" fmla="*/ 102678 w 555792"/>
                <a:gd name="connsiteY56" fmla="*/ 126954 h 129021"/>
                <a:gd name="connsiteX57" fmla="*/ 75236 w 555792"/>
                <a:gd name="connsiteY57" fmla="*/ 126954 h 129021"/>
                <a:gd name="connsiteX58" fmla="*/ 75236 w 555792"/>
                <a:gd name="connsiteY58" fmla="*/ 77207 h 129021"/>
                <a:gd name="connsiteX59" fmla="*/ 27179 w 555792"/>
                <a:gd name="connsiteY59" fmla="*/ 77207 h 129021"/>
                <a:gd name="connsiteX60" fmla="*/ 27179 w 555792"/>
                <a:gd name="connsiteY60" fmla="*/ 126954 h 129021"/>
                <a:gd name="connsiteX61" fmla="*/ 0 w 555792"/>
                <a:gd name="connsiteY61" fmla="*/ 126954 h 129021"/>
                <a:gd name="connsiteX62" fmla="*/ 210736 w 555792"/>
                <a:gd name="connsiteY62" fmla="*/ 6526 h 129021"/>
                <a:gd name="connsiteX63" fmla="*/ 236078 w 555792"/>
                <a:gd name="connsiteY63" fmla="*/ 6526 h 129021"/>
                <a:gd name="connsiteX64" fmla="*/ 236078 w 555792"/>
                <a:gd name="connsiteY64" fmla="*/ 126955 h 129021"/>
                <a:gd name="connsiteX65" fmla="*/ 210736 w 555792"/>
                <a:gd name="connsiteY65" fmla="*/ 126955 h 129021"/>
                <a:gd name="connsiteX66" fmla="*/ 166619 w 555792"/>
                <a:gd name="connsiteY66" fmla="*/ 6526 h 129021"/>
                <a:gd name="connsiteX67" fmla="*/ 192093 w 555792"/>
                <a:gd name="connsiteY67" fmla="*/ 6526 h 129021"/>
                <a:gd name="connsiteX68" fmla="*/ 192093 w 555792"/>
                <a:gd name="connsiteY68" fmla="*/ 126955 h 129021"/>
                <a:gd name="connsiteX69" fmla="*/ 166619 w 555792"/>
                <a:gd name="connsiteY69" fmla="*/ 126955 h 129021"/>
                <a:gd name="connsiteX70" fmla="*/ 134188 w 555792"/>
                <a:gd name="connsiteY70" fmla="*/ 66 h 129021"/>
                <a:gd name="connsiteX71" fmla="*/ 134452 w 555792"/>
                <a:gd name="connsiteY71" fmla="*/ 66 h 129021"/>
                <a:gd name="connsiteX72" fmla="*/ 151030 w 555792"/>
                <a:gd name="connsiteY72" fmla="*/ 13600 h 129021"/>
                <a:gd name="connsiteX73" fmla="*/ 137277 w 555792"/>
                <a:gd name="connsiteY73" fmla="*/ 29915 h 129021"/>
                <a:gd name="connsiteX74" fmla="*/ 134452 w 555792"/>
                <a:gd name="connsiteY74" fmla="*/ 29915 h 129021"/>
                <a:gd name="connsiteX75" fmla="*/ 119350 w 555792"/>
                <a:gd name="connsiteY75" fmla="*/ 15316 h 129021"/>
                <a:gd name="connsiteX76" fmla="*/ 119352 w 555792"/>
                <a:gd name="connsiteY76" fmla="*/ 14926 h 129021"/>
                <a:gd name="connsiteX77" fmla="*/ 134188 w 555792"/>
                <a:gd name="connsiteY77" fmla="*/ 66 h 129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555792" h="129021">
                  <a:moveTo>
                    <a:pt x="364489" y="61830"/>
                  </a:moveTo>
                  <a:cubicBezTo>
                    <a:pt x="353167" y="62674"/>
                    <a:pt x="344170" y="71529"/>
                    <a:pt x="343312" y="82670"/>
                  </a:cubicBezTo>
                  <a:cubicBezTo>
                    <a:pt x="342353" y="95123"/>
                    <a:pt x="351834" y="105983"/>
                    <a:pt x="364489" y="106926"/>
                  </a:cubicBezTo>
                  <a:cubicBezTo>
                    <a:pt x="365644" y="107012"/>
                    <a:pt x="366805" y="107012"/>
                    <a:pt x="367960" y="106926"/>
                  </a:cubicBezTo>
                  <a:cubicBezTo>
                    <a:pt x="380614" y="105983"/>
                    <a:pt x="390095" y="95123"/>
                    <a:pt x="389136" y="82670"/>
                  </a:cubicBezTo>
                  <a:cubicBezTo>
                    <a:pt x="388178" y="70217"/>
                    <a:pt x="377143" y="60887"/>
                    <a:pt x="364489" y="61830"/>
                  </a:cubicBezTo>
                  <a:close/>
                  <a:moveTo>
                    <a:pt x="255246" y="41285"/>
                  </a:moveTo>
                  <a:lnTo>
                    <a:pt x="280588" y="41285"/>
                  </a:lnTo>
                  <a:lnTo>
                    <a:pt x="280588" y="126955"/>
                  </a:lnTo>
                  <a:lnTo>
                    <a:pt x="255246" y="126955"/>
                  </a:lnTo>
                  <a:close/>
                  <a:moveTo>
                    <a:pt x="121846" y="40770"/>
                  </a:moveTo>
                  <a:lnTo>
                    <a:pt x="147188" y="40770"/>
                  </a:lnTo>
                  <a:lnTo>
                    <a:pt x="147188" y="126439"/>
                  </a:lnTo>
                  <a:lnTo>
                    <a:pt x="121846" y="126439"/>
                  </a:lnTo>
                  <a:close/>
                  <a:moveTo>
                    <a:pt x="301329" y="40638"/>
                  </a:moveTo>
                  <a:cubicBezTo>
                    <a:pt x="301505" y="40635"/>
                    <a:pt x="301682" y="40635"/>
                    <a:pt x="301859" y="40638"/>
                  </a:cubicBezTo>
                  <a:cubicBezTo>
                    <a:pt x="310198" y="40638"/>
                    <a:pt x="316958" y="47292"/>
                    <a:pt x="316958" y="55499"/>
                  </a:cubicBezTo>
                  <a:cubicBezTo>
                    <a:pt x="316958" y="63706"/>
                    <a:pt x="310198" y="70359"/>
                    <a:pt x="301859" y="70359"/>
                  </a:cubicBezTo>
                  <a:cubicBezTo>
                    <a:pt x="293664" y="70433"/>
                    <a:pt x="286961" y="63956"/>
                    <a:pt x="286885" y="55893"/>
                  </a:cubicBezTo>
                  <a:cubicBezTo>
                    <a:pt x="286883" y="55718"/>
                    <a:pt x="286885" y="55544"/>
                    <a:pt x="286890" y="55370"/>
                  </a:cubicBezTo>
                  <a:cubicBezTo>
                    <a:pt x="286743" y="47379"/>
                    <a:pt x="293207" y="40783"/>
                    <a:pt x="301329" y="40638"/>
                  </a:cubicBezTo>
                  <a:close/>
                  <a:moveTo>
                    <a:pt x="468871" y="39863"/>
                  </a:moveTo>
                  <a:cubicBezTo>
                    <a:pt x="480066" y="38933"/>
                    <a:pt x="490621" y="45114"/>
                    <a:pt x="495131" y="55240"/>
                  </a:cubicBezTo>
                  <a:cubicBezTo>
                    <a:pt x="501466" y="45339"/>
                    <a:pt x="512660" y="39487"/>
                    <a:pt x="524542" y="39863"/>
                  </a:cubicBezTo>
                  <a:cubicBezTo>
                    <a:pt x="540599" y="38721"/>
                    <a:pt x="554556" y="50605"/>
                    <a:pt x="555716" y="66406"/>
                  </a:cubicBezTo>
                  <a:cubicBezTo>
                    <a:pt x="555772" y="67162"/>
                    <a:pt x="555797" y="67920"/>
                    <a:pt x="555792" y="68678"/>
                  </a:cubicBezTo>
                  <a:lnTo>
                    <a:pt x="555792" y="126954"/>
                  </a:lnTo>
                  <a:lnTo>
                    <a:pt x="530582" y="126954"/>
                  </a:lnTo>
                  <a:lnTo>
                    <a:pt x="530582" y="75914"/>
                  </a:lnTo>
                  <a:cubicBezTo>
                    <a:pt x="531848" y="68888"/>
                    <a:pt x="527086" y="62181"/>
                    <a:pt x="519946" y="60936"/>
                  </a:cubicBezTo>
                  <a:cubicBezTo>
                    <a:pt x="518776" y="60732"/>
                    <a:pt x="517584" y="60685"/>
                    <a:pt x="516402" y="60796"/>
                  </a:cubicBezTo>
                  <a:cubicBezTo>
                    <a:pt x="505898" y="60796"/>
                    <a:pt x="499858" y="69324"/>
                    <a:pt x="499858" y="83150"/>
                  </a:cubicBezTo>
                  <a:lnTo>
                    <a:pt x="499858" y="126954"/>
                  </a:lnTo>
                  <a:lnTo>
                    <a:pt x="474780" y="126954"/>
                  </a:lnTo>
                  <a:lnTo>
                    <a:pt x="474780" y="75914"/>
                  </a:lnTo>
                  <a:cubicBezTo>
                    <a:pt x="476033" y="68885"/>
                    <a:pt x="471259" y="62187"/>
                    <a:pt x="464116" y="60954"/>
                  </a:cubicBezTo>
                  <a:cubicBezTo>
                    <a:pt x="463043" y="60769"/>
                    <a:pt x="461949" y="60716"/>
                    <a:pt x="460862" y="60796"/>
                  </a:cubicBezTo>
                  <a:cubicBezTo>
                    <a:pt x="450489" y="60796"/>
                    <a:pt x="444318" y="69454"/>
                    <a:pt x="444318" y="83150"/>
                  </a:cubicBezTo>
                  <a:lnTo>
                    <a:pt x="444318" y="126954"/>
                  </a:lnTo>
                  <a:lnTo>
                    <a:pt x="418977" y="126954"/>
                  </a:lnTo>
                  <a:lnTo>
                    <a:pt x="418977" y="41285"/>
                  </a:lnTo>
                  <a:lnTo>
                    <a:pt x="444318" y="41285"/>
                  </a:lnTo>
                  <a:lnTo>
                    <a:pt x="444318" y="52785"/>
                  </a:lnTo>
                  <a:cubicBezTo>
                    <a:pt x="449587" y="44489"/>
                    <a:pt x="458935" y="39570"/>
                    <a:pt x="468871" y="39863"/>
                  </a:cubicBezTo>
                  <a:close/>
                  <a:moveTo>
                    <a:pt x="364489" y="39863"/>
                  </a:moveTo>
                  <a:cubicBezTo>
                    <a:pt x="389455" y="39935"/>
                    <a:pt x="409656" y="59873"/>
                    <a:pt x="409656" y="84443"/>
                  </a:cubicBezTo>
                  <a:cubicBezTo>
                    <a:pt x="409656" y="84486"/>
                    <a:pt x="409656" y="84529"/>
                    <a:pt x="409656" y="84572"/>
                  </a:cubicBezTo>
                  <a:cubicBezTo>
                    <a:pt x="409583" y="109192"/>
                    <a:pt x="389244" y="129093"/>
                    <a:pt x="364227" y="129021"/>
                  </a:cubicBezTo>
                  <a:cubicBezTo>
                    <a:pt x="339208" y="128950"/>
                    <a:pt x="318986" y="108934"/>
                    <a:pt x="319059" y="84313"/>
                  </a:cubicBezTo>
                  <a:cubicBezTo>
                    <a:pt x="319131" y="59693"/>
                    <a:pt x="339471" y="39792"/>
                    <a:pt x="364489" y="39863"/>
                  </a:cubicBezTo>
                  <a:close/>
                  <a:moveTo>
                    <a:pt x="0" y="7947"/>
                  </a:moveTo>
                  <a:lnTo>
                    <a:pt x="27179" y="7947"/>
                  </a:lnTo>
                  <a:lnTo>
                    <a:pt x="27179" y="54206"/>
                  </a:lnTo>
                  <a:lnTo>
                    <a:pt x="75236" y="54206"/>
                  </a:lnTo>
                  <a:lnTo>
                    <a:pt x="75236" y="7947"/>
                  </a:lnTo>
                  <a:lnTo>
                    <a:pt x="102678" y="7947"/>
                  </a:lnTo>
                  <a:lnTo>
                    <a:pt x="102678" y="126954"/>
                  </a:lnTo>
                  <a:lnTo>
                    <a:pt x="75236" y="126954"/>
                  </a:lnTo>
                  <a:lnTo>
                    <a:pt x="75236" y="77207"/>
                  </a:lnTo>
                  <a:lnTo>
                    <a:pt x="27179" y="77207"/>
                  </a:lnTo>
                  <a:lnTo>
                    <a:pt x="27179" y="126954"/>
                  </a:lnTo>
                  <a:lnTo>
                    <a:pt x="0" y="126954"/>
                  </a:lnTo>
                  <a:close/>
                  <a:moveTo>
                    <a:pt x="210736" y="6526"/>
                  </a:moveTo>
                  <a:lnTo>
                    <a:pt x="236078" y="6526"/>
                  </a:lnTo>
                  <a:lnTo>
                    <a:pt x="236078" y="126955"/>
                  </a:lnTo>
                  <a:lnTo>
                    <a:pt x="210736" y="126955"/>
                  </a:lnTo>
                  <a:close/>
                  <a:moveTo>
                    <a:pt x="166619" y="6526"/>
                  </a:moveTo>
                  <a:lnTo>
                    <a:pt x="192093" y="6526"/>
                  </a:lnTo>
                  <a:lnTo>
                    <a:pt x="192093" y="126955"/>
                  </a:lnTo>
                  <a:lnTo>
                    <a:pt x="166619" y="126955"/>
                  </a:lnTo>
                  <a:close/>
                  <a:moveTo>
                    <a:pt x="134188" y="66"/>
                  </a:moveTo>
                  <a:cubicBezTo>
                    <a:pt x="134276" y="65"/>
                    <a:pt x="134364" y="65"/>
                    <a:pt x="134452" y="66"/>
                  </a:cubicBezTo>
                  <a:cubicBezTo>
                    <a:pt x="142828" y="-702"/>
                    <a:pt x="150250" y="5357"/>
                    <a:pt x="151030" y="13600"/>
                  </a:cubicBezTo>
                  <a:cubicBezTo>
                    <a:pt x="151810" y="21842"/>
                    <a:pt x="145653" y="29148"/>
                    <a:pt x="137277" y="29915"/>
                  </a:cubicBezTo>
                  <a:cubicBezTo>
                    <a:pt x="136338" y="30002"/>
                    <a:pt x="135392" y="30002"/>
                    <a:pt x="134452" y="29915"/>
                  </a:cubicBezTo>
                  <a:cubicBezTo>
                    <a:pt x="126185" y="29988"/>
                    <a:pt x="119424" y="23451"/>
                    <a:pt x="119350" y="15316"/>
                  </a:cubicBezTo>
                  <a:cubicBezTo>
                    <a:pt x="119349" y="15186"/>
                    <a:pt x="119349" y="15056"/>
                    <a:pt x="119352" y="14926"/>
                  </a:cubicBezTo>
                  <a:cubicBezTo>
                    <a:pt x="119279" y="6790"/>
                    <a:pt x="125921" y="137"/>
                    <a:pt x="134188" y="66"/>
                  </a:cubicBezTo>
                  <a:close/>
                </a:path>
              </a:pathLst>
            </a:custGeom>
            <a:solidFill>
              <a:schemeClr val="bg1"/>
            </a:solidFill>
            <a:ln w="9525" cap="flat">
              <a:noFill/>
              <a:prstDash val="solid"/>
              <a:miter/>
            </a:ln>
          </p:spPr>
          <p:txBody>
            <a:bodyPr wrap="square" rtlCol="0" anchor="ctr">
              <a:noAutofit/>
            </a:bodyPr>
            <a:lstStyle/>
            <a:p>
              <a:endParaRPr lang="en-US"/>
            </a:p>
          </p:txBody>
        </p:sp>
      </p:grpSp>
    </p:spTree>
    <p:extLst>
      <p:ext uri="{BB962C8B-B14F-4D97-AF65-F5344CB8AC3E}">
        <p14:creationId xmlns:p14="http://schemas.microsoft.com/office/powerpoint/2010/main" val="38161946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Cover - Photo 2">
    <p:bg>
      <p:bgPr>
        <a:solidFill>
          <a:schemeClr val="accent6">
            <a:lumMod val="20000"/>
            <a:lumOff val="80000"/>
          </a:schemeClr>
        </a:solidFill>
        <a:effectLst/>
      </p:bgPr>
    </p:bg>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A7329591-4FA8-A343-8F99-8BAC5D6D2DC7}"/>
              </a:ext>
            </a:extLst>
          </p:cNvPr>
          <p:cNvSpPr/>
          <p:nvPr/>
        </p:nvSpPr>
        <p:spPr>
          <a:xfrm>
            <a:off x="0" y="0"/>
            <a:ext cx="12188952" cy="68580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0" name="Freeform 199">
            <a:extLst>
              <a:ext uri="{FF2B5EF4-FFF2-40B4-BE49-F238E27FC236}">
                <a16:creationId xmlns:a16="http://schemas.microsoft.com/office/drawing/2014/main" id="{31B4DCE3-1FE7-CF44-A904-75DB36CE690E}"/>
              </a:ext>
            </a:extLst>
          </p:cNvPr>
          <p:cNvSpPr/>
          <p:nvPr/>
        </p:nvSpPr>
        <p:spPr>
          <a:xfrm>
            <a:off x="0" y="4289"/>
            <a:ext cx="12191999" cy="4534608"/>
          </a:xfrm>
          <a:custGeom>
            <a:avLst/>
            <a:gdLst>
              <a:gd name="connsiteX0" fmla="*/ 6055850 w 12191999"/>
              <a:gd name="connsiteY0" fmla="*/ 4332345 h 4534608"/>
              <a:gd name="connsiteX1" fmla="*/ 6092081 w 12191999"/>
              <a:gd name="connsiteY1" fmla="*/ 4411315 h 4534608"/>
              <a:gd name="connsiteX2" fmla="*/ 6199073 w 12191999"/>
              <a:gd name="connsiteY2" fmla="*/ 4332345 h 4534608"/>
              <a:gd name="connsiteX3" fmla="*/ 6228764 w 12191999"/>
              <a:gd name="connsiteY3" fmla="*/ 4406085 h 4534608"/>
              <a:gd name="connsiteX4" fmla="*/ 6342298 w 12191999"/>
              <a:gd name="connsiteY4" fmla="*/ 4332345 h 4534608"/>
              <a:gd name="connsiteX5" fmla="*/ 6366234 w 12191999"/>
              <a:gd name="connsiteY5" fmla="*/ 4400332 h 4534608"/>
              <a:gd name="connsiteX6" fmla="*/ 6485523 w 12191999"/>
              <a:gd name="connsiteY6" fmla="*/ 4332345 h 4534608"/>
              <a:gd name="connsiteX7" fmla="*/ 6504750 w 12191999"/>
              <a:gd name="connsiteY7" fmla="*/ 4394449 h 4534608"/>
              <a:gd name="connsiteX8" fmla="*/ 6628616 w 12191999"/>
              <a:gd name="connsiteY8" fmla="*/ 4332345 h 4534608"/>
              <a:gd name="connsiteX9" fmla="*/ 6644051 w 12191999"/>
              <a:gd name="connsiteY9" fmla="*/ 4388566 h 4534608"/>
              <a:gd name="connsiteX10" fmla="*/ 6771840 w 12191999"/>
              <a:gd name="connsiteY10" fmla="*/ 4332345 h 4534608"/>
              <a:gd name="connsiteX11" fmla="*/ 6783874 w 12191999"/>
              <a:gd name="connsiteY11" fmla="*/ 4382813 h 4534608"/>
              <a:gd name="connsiteX12" fmla="*/ 6915065 w 12191999"/>
              <a:gd name="connsiteY12" fmla="*/ 4332345 h 4534608"/>
              <a:gd name="connsiteX13" fmla="*/ 6924482 w 12191999"/>
              <a:gd name="connsiteY13" fmla="*/ 4377191 h 4534608"/>
              <a:gd name="connsiteX14" fmla="*/ 7058289 w 12191999"/>
              <a:gd name="connsiteY14" fmla="*/ 4332345 h 4534608"/>
              <a:gd name="connsiteX15" fmla="*/ 7065483 w 12191999"/>
              <a:gd name="connsiteY15" fmla="*/ 4371831 h 4534608"/>
              <a:gd name="connsiteX16" fmla="*/ 7201513 w 12191999"/>
              <a:gd name="connsiteY16" fmla="*/ 4332345 h 4534608"/>
              <a:gd name="connsiteX17" fmla="*/ 7206876 w 12191999"/>
              <a:gd name="connsiteY17" fmla="*/ 4366600 h 4534608"/>
              <a:gd name="connsiteX18" fmla="*/ 7344606 w 12191999"/>
              <a:gd name="connsiteY18" fmla="*/ 4332345 h 4534608"/>
              <a:gd name="connsiteX19" fmla="*/ 7348662 w 12191999"/>
              <a:gd name="connsiteY19" fmla="*/ 4361764 h 4534608"/>
              <a:gd name="connsiteX20" fmla="*/ 7487831 w 12191999"/>
              <a:gd name="connsiteY20" fmla="*/ 4332345 h 4534608"/>
              <a:gd name="connsiteX21" fmla="*/ 7490708 w 12191999"/>
              <a:gd name="connsiteY21" fmla="*/ 4357317 h 4534608"/>
              <a:gd name="connsiteX22" fmla="*/ 7631056 w 12191999"/>
              <a:gd name="connsiteY22" fmla="*/ 4332345 h 4534608"/>
              <a:gd name="connsiteX23" fmla="*/ 7633018 w 12191999"/>
              <a:gd name="connsiteY23" fmla="*/ 4353003 h 4534608"/>
              <a:gd name="connsiteX24" fmla="*/ 7774281 w 12191999"/>
              <a:gd name="connsiteY24" fmla="*/ 4332345 h 4534608"/>
              <a:gd name="connsiteX25" fmla="*/ 7775587 w 12191999"/>
              <a:gd name="connsiteY25" fmla="*/ 4348950 h 4534608"/>
              <a:gd name="connsiteX26" fmla="*/ 7917504 w 12191999"/>
              <a:gd name="connsiteY26" fmla="*/ 4332345 h 4534608"/>
              <a:gd name="connsiteX27" fmla="*/ 7918289 w 12191999"/>
              <a:gd name="connsiteY27" fmla="*/ 4345158 h 4534608"/>
              <a:gd name="connsiteX28" fmla="*/ 8060597 w 12191999"/>
              <a:gd name="connsiteY28" fmla="*/ 4332345 h 4534608"/>
              <a:gd name="connsiteX29" fmla="*/ 8061122 w 12191999"/>
              <a:gd name="connsiteY29" fmla="*/ 4341628 h 4534608"/>
              <a:gd name="connsiteX30" fmla="*/ 8203822 w 12191999"/>
              <a:gd name="connsiteY30" fmla="*/ 4332345 h 4534608"/>
              <a:gd name="connsiteX31" fmla="*/ 8204084 w 12191999"/>
              <a:gd name="connsiteY31" fmla="*/ 4338229 h 4534608"/>
              <a:gd name="connsiteX32" fmla="*/ 8213109 w 12191999"/>
              <a:gd name="connsiteY32" fmla="*/ 4337968 h 4534608"/>
              <a:gd name="connsiteX33" fmla="*/ 8301005 w 12191999"/>
              <a:gd name="connsiteY33" fmla="*/ 4334306 h 4534608"/>
              <a:gd name="connsiteX34" fmla="*/ 8301005 w 12191999"/>
              <a:gd name="connsiteY34" fmla="*/ 4332345 h 4534608"/>
              <a:gd name="connsiteX35" fmla="*/ 12189515 w 12191999"/>
              <a:gd name="connsiteY35" fmla="*/ 4332345 h 4534608"/>
              <a:gd name="connsiteX36" fmla="*/ 12189515 w 12191999"/>
              <a:gd name="connsiteY36" fmla="*/ 4534608 h 4534608"/>
              <a:gd name="connsiteX37" fmla="*/ 8301005 w 12191999"/>
              <a:gd name="connsiteY37" fmla="*/ 4534608 h 4534608"/>
              <a:gd name="connsiteX38" fmla="*/ 8301005 w 12191999"/>
              <a:gd name="connsiteY38" fmla="*/ 4531863 h 4534608"/>
              <a:gd name="connsiteX39" fmla="*/ 8170730 w 12191999"/>
              <a:gd name="connsiteY39" fmla="*/ 4534608 h 4534608"/>
              <a:gd name="connsiteX40" fmla="*/ 8170599 w 12191999"/>
              <a:gd name="connsiteY40" fmla="*/ 4529117 h 4534608"/>
              <a:gd name="connsiteX41" fmla="*/ 8040324 w 12191999"/>
              <a:gd name="connsiteY41" fmla="*/ 4534608 h 4534608"/>
              <a:gd name="connsiteX42" fmla="*/ 8040194 w 12191999"/>
              <a:gd name="connsiteY42" fmla="*/ 4526110 h 4534608"/>
              <a:gd name="connsiteX43" fmla="*/ 7910049 w 12191999"/>
              <a:gd name="connsiteY43" fmla="*/ 4534608 h 4534608"/>
              <a:gd name="connsiteX44" fmla="*/ 7909656 w 12191999"/>
              <a:gd name="connsiteY44" fmla="*/ 4522842 h 4534608"/>
              <a:gd name="connsiteX45" fmla="*/ 7779774 w 12191999"/>
              <a:gd name="connsiteY45" fmla="*/ 4534608 h 4534608"/>
              <a:gd name="connsiteX46" fmla="*/ 7778989 w 12191999"/>
              <a:gd name="connsiteY46" fmla="*/ 4519442 h 4534608"/>
              <a:gd name="connsiteX47" fmla="*/ 7649499 w 12191999"/>
              <a:gd name="connsiteY47" fmla="*/ 4534608 h 4534608"/>
              <a:gd name="connsiteX48" fmla="*/ 7648191 w 12191999"/>
              <a:gd name="connsiteY48" fmla="*/ 4515650 h 4534608"/>
              <a:gd name="connsiteX49" fmla="*/ 7519093 w 12191999"/>
              <a:gd name="connsiteY49" fmla="*/ 4534608 h 4534608"/>
              <a:gd name="connsiteX50" fmla="*/ 7517261 w 12191999"/>
              <a:gd name="connsiteY50" fmla="*/ 4511728 h 4534608"/>
              <a:gd name="connsiteX51" fmla="*/ 7388816 w 12191999"/>
              <a:gd name="connsiteY51" fmla="*/ 4534608 h 4534608"/>
              <a:gd name="connsiteX52" fmla="*/ 7386200 w 12191999"/>
              <a:gd name="connsiteY52" fmla="*/ 4507544 h 4534608"/>
              <a:gd name="connsiteX53" fmla="*/ 7258541 w 12191999"/>
              <a:gd name="connsiteY53" fmla="*/ 4534608 h 4534608"/>
              <a:gd name="connsiteX54" fmla="*/ 7254880 w 12191999"/>
              <a:gd name="connsiteY54" fmla="*/ 4503099 h 4534608"/>
              <a:gd name="connsiteX55" fmla="*/ 7128135 w 12191999"/>
              <a:gd name="connsiteY55" fmla="*/ 4534608 h 4534608"/>
              <a:gd name="connsiteX56" fmla="*/ 7123296 w 12191999"/>
              <a:gd name="connsiteY56" fmla="*/ 4498261 h 4534608"/>
              <a:gd name="connsiteX57" fmla="*/ 6997860 w 12191999"/>
              <a:gd name="connsiteY57" fmla="*/ 4534608 h 4534608"/>
              <a:gd name="connsiteX58" fmla="*/ 6991320 w 12191999"/>
              <a:gd name="connsiteY58" fmla="*/ 4493162 h 4534608"/>
              <a:gd name="connsiteX59" fmla="*/ 6867585 w 12191999"/>
              <a:gd name="connsiteY59" fmla="*/ 4534608 h 4534608"/>
              <a:gd name="connsiteX60" fmla="*/ 6859083 w 12191999"/>
              <a:gd name="connsiteY60" fmla="*/ 4487801 h 4534608"/>
              <a:gd name="connsiteX61" fmla="*/ 6737310 w 12191999"/>
              <a:gd name="connsiteY61" fmla="*/ 4534608 h 4534608"/>
              <a:gd name="connsiteX62" fmla="*/ 6726322 w 12191999"/>
              <a:gd name="connsiteY62" fmla="*/ 4482179 h 4534608"/>
              <a:gd name="connsiteX63" fmla="*/ 6606904 w 12191999"/>
              <a:gd name="connsiteY63" fmla="*/ 4534608 h 4534608"/>
              <a:gd name="connsiteX64" fmla="*/ 6593040 w 12191999"/>
              <a:gd name="connsiteY64" fmla="*/ 4476295 h 4534608"/>
              <a:gd name="connsiteX65" fmla="*/ 6476628 w 12191999"/>
              <a:gd name="connsiteY65" fmla="*/ 4534608 h 4534608"/>
              <a:gd name="connsiteX66" fmla="*/ 6459101 w 12191999"/>
              <a:gd name="connsiteY66" fmla="*/ 4470282 h 4534608"/>
              <a:gd name="connsiteX67" fmla="*/ 6346352 w 12191999"/>
              <a:gd name="connsiteY67" fmla="*/ 4534608 h 4534608"/>
              <a:gd name="connsiteX68" fmla="*/ 6324509 w 12191999"/>
              <a:gd name="connsiteY68" fmla="*/ 4464137 h 4534608"/>
              <a:gd name="connsiteX69" fmla="*/ 6215947 w 12191999"/>
              <a:gd name="connsiteY69" fmla="*/ 4534608 h 4534608"/>
              <a:gd name="connsiteX70" fmla="*/ 6189002 w 12191999"/>
              <a:gd name="connsiteY70" fmla="*/ 4458254 h 4534608"/>
              <a:gd name="connsiteX71" fmla="*/ 6085672 w 12191999"/>
              <a:gd name="connsiteY71" fmla="*/ 4534608 h 4534608"/>
              <a:gd name="connsiteX72" fmla="*/ 6052710 w 12191999"/>
              <a:gd name="connsiteY72" fmla="*/ 4452631 h 4534608"/>
              <a:gd name="connsiteX73" fmla="*/ 5955396 w 12191999"/>
              <a:gd name="connsiteY73" fmla="*/ 4534608 h 4534608"/>
              <a:gd name="connsiteX74" fmla="*/ 5916418 w 12191999"/>
              <a:gd name="connsiteY74" fmla="*/ 4449754 h 4534608"/>
              <a:gd name="connsiteX75" fmla="*/ 5912625 w 12191999"/>
              <a:gd name="connsiteY75" fmla="*/ 4332345 h 4534608"/>
              <a:gd name="connsiteX76" fmla="*/ 5953696 w 12191999"/>
              <a:gd name="connsiteY76" fmla="*/ 4410662 h 4534608"/>
              <a:gd name="connsiteX77" fmla="*/ 5825120 w 12191999"/>
              <a:gd name="connsiteY77" fmla="*/ 4534608 h 4534608"/>
              <a:gd name="connsiteX78" fmla="*/ 5784049 w 12191999"/>
              <a:gd name="connsiteY78" fmla="*/ 4456292 h 4534608"/>
              <a:gd name="connsiteX79" fmla="*/ 5769534 w 12191999"/>
              <a:gd name="connsiteY79" fmla="*/ 4332345 h 4534608"/>
              <a:gd name="connsiteX80" fmla="*/ 5812697 w 12191999"/>
              <a:gd name="connsiteY80" fmla="*/ 4404125 h 4534608"/>
              <a:gd name="connsiteX81" fmla="*/ 5694716 w 12191999"/>
              <a:gd name="connsiteY81" fmla="*/ 4534608 h 4534608"/>
              <a:gd name="connsiteX82" fmla="*/ 5651552 w 12191999"/>
              <a:gd name="connsiteY82" fmla="*/ 4462829 h 4534608"/>
              <a:gd name="connsiteX83" fmla="*/ 5626305 w 12191999"/>
              <a:gd name="connsiteY83" fmla="*/ 4332345 h 4534608"/>
              <a:gd name="connsiteX84" fmla="*/ 5671693 w 12191999"/>
              <a:gd name="connsiteY84" fmla="*/ 4397587 h 4534608"/>
              <a:gd name="connsiteX85" fmla="*/ 5564438 w 12191999"/>
              <a:gd name="connsiteY85" fmla="*/ 4534608 h 4534608"/>
              <a:gd name="connsiteX86" fmla="*/ 5519050 w 12191999"/>
              <a:gd name="connsiteY86" fmla="*/ 4469366 h 4534608"/>
              <a:gd name="connsiteX87" fmla="*/ 5483083 w 12191999"/>
              <a:gd name="connsiteY87" fmla="*/ 4332345 h 4534608"/>
              <a:gd name="connsiteX88" fmla="*/ 5530694 w 12191999"/>
              <a:gd name="connsiteY88" fmla="*/ 4391050 h 4534608"/>
              <a:gd name="connsiteX89" fmla="*/ 5434164 w 12191999"/>
              <a:gd name="connsiteY89" fmla="*/ 4534608 h 4534608"/>
              <a:gd name="connsiteX90" fmla="*/ 5386553 w 12191999"/>
              <a:gd name="connsiteY90" fmla="*/ 4475904 h 4534608"/>
              <a:gd name="connsiteX91" fmla="*/ 5339858 w 12191999"/>
              <a:gd name="connsiteY91" fmla="*/ 4332345 h 4534608"/>
              <a:gd name="connsiteX92" fmla="*/ 5389562 w 12191999"/>
              <a:gd name="connsiteY92" fmla="*/ 4384512 h 4534608"/>
              <a:gd name="connsiteX93" fmla="*/ 5303757 w 12191999"/>
              <a:gd name="connsiteY93" fmla="*/ 4534608 h 4534608"/>
              <a:gd name="connsiteX94" fmla="*/ 5254053 w 12191999"/>
              <a:gd name="connsiteY94" fmla="*/ 4482441 h 4534608"/>
              <a:gd name="connsiteX95" fmla="*/ 5196635 w 12191999"/>
              <a:gd name="connsiteY95" fmla="*/ 4332345 h 4534608"/>
              <a:gd name="connsiteX96" fmla="*/ 5248563 w 12191999"/>
              <a:gd name="connsiteY96" fmla="*/ 4377975 h 4534608"/>
              <a:gd name="connsiteX97" fmla="*/ 5173483 w 12191999"/>
              <a:gd name="connsiteY97" fmla="*/ 4534608 h 4534608"/>
              <a:gd name="connsiteX98" fmla="*/ 5121556 w 12191999"/>
              <a:gd name="connsiteY98" fmla="*/ 4488848 h 4534608"/>
              <a:gd name="connsiteX99" fmla="*/ 5053542 w 12191999"/>
              <a:gd name="connsiteY99" fmla="*/ 4332345 h 4534608"/>
              <a:gd name="connsiteX100" fmla="*/ 5107562 w 12191999"/>
              <a:gd name="connsiteY100" fmla="*/ 4371568 h 4534608"/>
              <a:gd name="connsiteX101" fmla="*/ 5043208 w 12191999"/>
              <a:gd name="connsiteY101" fmla="*/ 4534608 h 4534608"/>
              <a:gd name="connsiteX102" fmla="*/ 4989187 w 12191999"/>
              <a:gd name="connsiteY102" fmla="*/ 4495385 h 4534608"/>
              <a:gd name="connsiteX103" fmla="*/ 4910318 w 12191999"/>
              <a:gd name="connsiteY103" fmla="*/ 4332345 h 4534608"/>
              <a:gd name="connsiteX104" fmla="*/ 4966429 w 12191999"/>
              <a:gd name="connsiteY104" fmla="*/ 4365032 h 4534608"/>
              <a:gd name="connsiteX105" fmla="*/ 4912934 w 12191999"/>
              <a:gd name="connsiteY105" fmla="*/ 4534608 h 4534608"/>
              <a:gd name="connsiteX106" fmla="*/ 4856690 w 12191999"/>
              <a:gd name="connsiteY106" fmla="*/ 4501921 h 4534608"/>
              <a:gd name="connsiteX107" fmla="*/ 4767072 w 12191999"/>
              <a:gd name="connsiteY107" fmla="*/ 4332345 h 4534608"/>
              <a:gd name="connsiteX108" fmla="*/ 4825410 w 12191999"/>
              <a:gd name="connsiteY108" fmla="*/ 4358495 h 4534608"/>
              <a:gd name="connsiteX109" fmla="*/ 4782507 w 12191999"/>
              <a:gd name="connsiteY109" fmla="*/ 4534608 h 4534608"/>
              <a:gd name="connsiteX110" fmla="*/ 4724171 w 12191999"/>
              <a:gd name="connsiteY110" fmla="*/ 4508459 h 4534608"/>
              <a:gd name="connsiteX111" fmla="*/ 4623867 w 12191999"/>
              <a:gd name="connsiteY111" fmla="*/ 4332345 h 4534608"/>
              <a:gd name="connsiteX112" fmla="*/ 4684428 w 12191999"/>
              <a:gd name="connsiteY112" fmla="*/ 4351957 h 4534608"/>
              <a:gd name="connsiteX113" fmla="*/ 4652251 w 12191999"/>
              <a:gd name="connsiteY113" fmla="*/ 4534608 h 4534608"/>
              <a:gd name="connsiteX114" fmla="*/ 4591691 w 12191999"/>
              <a:gd name="connsiteY114" fmla="*/ 4514996 h 4534608"/>
              <a:gd name="connsiteX115" fmla="*/ 4480647 w 12191999"/>
              <a:gd name="connsiteY115" fmla="*/ 4332345 h 4534608"/>
              <a:gd name="connsiteX116" fmla="*/ 4543432 w 12191999"/>
              <a:gd name="connsiteY116" fmla="*/ 4345420 h 4534608"/>
              <a:gd name="connsiteX117" fmla="*/ 4521981 w 12191999"/>
              <a:gd name="connsiteY117" fmla="*/ 4534608 h 4534608"/>
              <a:gd name="connsiteX118" fmla="*/ 4459197 w 12191999"/>
              <a:gd name="connsiteY118" fmla="*/ 4521534 h 4534608"/>
              <a:gd name="connsiteX119" fmla="*/ 4337550 w 12191999"/>
              <a:gd name="connsiteY119" fmla="*/ 4332345 h 4534608"/>
              <a:gd name="connsiteX120" fmla="*/ 4402296 w 12191999"/>
              <a:gd name="connsiteY120" fmla="*/ 4338883 h 4534608"/>
              <a:gd name="connsiteX121" fmla="*/ 4391570 w 12191999"/>
              <a:gd name="connsiteY121" fmla="*/ 4534608 h 4534608"/>
              <a:gd name="connsiteX122" fmla="*/ 4326825 w 12191999"/>
              <a:gd name="connsiteY122" fmla="*/ 4528071 h 4534608"/>
              <a:gd name="connsiteX123" fmla="*/ 4194332 w 12191999"/>
              <a:gd name="connsiteY123" fmla="*/ 4332345 h 4534608"/>
              <a:gd name="connsiteX124" fmla="*/ 4196426 w 12191999"/>
              <a:gd name="connsiteY124" fmla="*/ 4332345 h 4534608"/>
              <a:gd name="connsiteX125" fmla="*/ 4261296 w 12191999"/>
              <a:gd name="connsiteY125" fmla="*/ 4332345 h 4534608"/>
              <a:gd name="connsiteX126" fmla="*/ 4263390 w 12191999"/>
              <a:gd name="connsiteY126" fmla="*/ 4332345 h 4534608"/>
              <a:gd name="connsiteX127" fmla="*/ 4263390 w 12191999"/>
              <a:gd name="connsiteY127" fmla="*/ 4534478 h 4534608"/>
              <a:gd name="connsiteX128" fmla="*/ 4261296 w 12191999"/>
              <a:gd name="connsiteY128" fmla="*/ 4534478 h 4534608"/>
              <a:gd name="connsiteX129" fmla="*/ 4196426 w 12191999"/>
              <a:gd name="connsiteY129" fmla="*/ 4534478 h 4534608"/>
              <a:gd name="connsiteX130" fmla="*/ 4194332 w 12191999"/>
              <a:gd name="connsiteY130" fmla="*/ 4534478 h 4534608"/>
              <a:gd name="connsiteX131" fmla="*/ 4120170 w 12191999"/>
              <a:gd name="connsiteY131" fmla="*/ 4332345 h 4534608"/>
              <a:gd name="connsiteX132" fmla="*/ 4130896 w 12191999"/>
              <a:gd name="connsiteY132" fmla="*/ 4528071 h 4534608"/>
              <a:gd name="connsiteX133" fmla="*/ 4066018 w 12191999"/>
              <a:gd name="connsiteY133" fmla="*/ 4534608 h 4534608"/>
              <a:gd name="connsiteX134" fmla="*/ 4055294 w 12191999"/>
              <a:gd name="connsiteY134" fmla="*/ 4338883 h 4534608"/>
              <a:gd name="connsiteX135" fmla="*/ 3976947 w 12191999"/>
              <a:gd name="connsiteY135" fmla="*/ 4332345 h 4534608"/>
              <a:gd name="connsiteX136" fmla="*/ 3998396 w 12191999"/>
              <a:gd name="connsiteY136" fmla="*/ 4521534 h 4534608"/>
              <a:gd name="connsiteX137" fmla="*/ 3935741 w 12191999"/>
              <a:gd name="connsiteY137" fmla="*/ 4534608 h 4534608"/>
              <a:gd name="connsiteX138" fmla="*/ 3914293 w 12191999"/>
              <a:gd name="connsiteY138" fmla="*/ 4345420 h 4534608"/>
              <a:gd name="connsiteX139" fmla="*/ 3833720 w 12191999"/>
              <a:gd name="connsiteY139" fmla="*/ 4332345 h 4534608"/>
              <a:gd name="connsiteX140" fmla="*/ 3865897 w 12191999"/>
              <a:gd name="connsiteY140" fmla="*/ 4514996 h 4534608"/>
              <a:gd name="connsiteX141" fmla="*/ 3805467 w 12191999"/>
              <a:gd name="connsiteY141" fmla="*/ 4534608 h 4534608"/>
              <a:gd name="connsiteX142" fmla="*/ 3773292 w 12191999"/>
              <a:gd name="connsiteY142" fmla="*/ 4351957 h 4534608"/>
              <a:gd name="connsiteX143" fmla="*/ 3690629 w 12191999"/>
              <a:gd name="connsiteY143" fmla="*/ 4332345 h 4534608"/>
              <a:gd name="connsiteX144" fmla="*/ 3733396 w 12191999"/>
              <a:gd name="connsiteY144" fmla="*/ 4508459 h 4534608"/>
              <a:gd name="connsiteX145" fmla="*/ 3675062 w 12191999"/>
              <a:gd name="connsiteY145" fmla="*/ 4534608 h 4534608"/>
              <a:gd name="connsiteX146" fmla="*/ 3632158 w 12191999"/>
              <a:gd name="connsiteY146" fmla="*/ 4358495 h 4534608"/>
              <a:gd name="connsiteX147" fmla="*/ 3547400 w 12191999"/>
              <a:gd name="connsiteY147" fmla="*/ 4332345 h 4534608"/>
              <a:gd name="connsiteX148" fmla="*/ 3601030 w 12191999"/>
              <a:gd name="connsiteY148" fmla="*/ 4501921 h 4534608"/>
              <a:gd name="connsiteX149" fmla="*/ 3544786 w 12191999"/>
              <a:gd name="connsiteY149" fmla="*/ 4534608 h 4534608"/>
              <a:gd name="connsiteX150" fmla="*/ 3491159 w 12191999"/>
              <a:gd name="connsiteY150" fmla="*/ 4365032 h 4534608"/>
              <a:gd name="connsiteX151" fmla="*/ 3404180 w 12191999"/>
              <a:gd name="connsiteY151" fmla="*/ 4332345 h 4534608"/>
              <a:gd name="connsiteX152" fmla="*/ 3468533 w 12191999"/>
              <a:gd name="connsiteY152" fmla="*/ 4495385 h 4534608"/>
              <a:gd name="connsiteX153" fmla="*/ 3414513 w 12191999"/>
              <a:gd name="connsiteY153" fmla="*/ 4534608 h 4534608"/>
              <a:gd name="connsiteX154" fmla="*/ 3350159 w 12191999"/>
              <a:gd name="connsiteY154" fmla="*/ 4371568 h 4534608"/>
              <a:gd name="connsiteX155" fmla="*/ 3260954 w 12191999"/>
              <a:gd name="connsiteY155" fmla="*/ 4332345 h 4534608"/>
              <a:gd name="connsiteX156" fmla="*/ 3336034 w 12191999"/>
              <a:gd name="connsiteY156" fmla="*/ 4488848 h 4534608"/>
              <a:gd name="connsiteX157" fmla="*/ 3284105 w 12191999"/>
              <a:gd name="connsiteY157" fmla="*/ 4534608 h 4534608"/>
              <a:gd name="connsiteX158" fmla="*/ 3209157 w 12191999"/>
              <a:gd name="connsiteY158" fmla="*/ 4377975 h 4534608"/>
              <a:gd name="connsiteX159" fmla="*/ 3117730 w 12191999"/>
              <a:gd name="connsiteY159" fmla="*/ 4332345 h 4534608"/>
              <a:gd name="connsiteX160" fmla="*/ 3203536 w 12191999"/>
              <a:gd name="connsiteY160" fmla="*/ 4482441 h 4534608"/>
              <a:gd name="connsiteX161" fmla="*/ 3153831 w 12191999"/>
              <a:gd name="connsiteY161" fmla="*/ 4534608 h 4534608"/>
              <a:gd name="connsiteX162" fmla="*/ 3068027 w 12191999"/>
              <a:gd name="connsiteY162" fmla="*/ 4384512 h 4534608"/>
              <a:gd name="connsiteX163" fmla="*/ 2974635 w 12191999"/>
              <a:gd name="connsiteY163" fmla="*/ 4332345 h 4534608"/>
              <a:gd name="connsiteX164" fmla="*/ 3071033 w 12191999"/>
              <a:gd name="connsiteY164" fmla="*/ 4475904 h 4534608"/>
              <a:gd name="connsiteX165" fmla="*/ 3023555 w 12191999"/>
              <a:gd name="connsiteY165" fmla="*/ 4534608 h 4534608"/>
              <a:gd name="connsiteX166" fmla="*/ 2927026 w 12191999"/>
              <a:gd name="connsiteY166" fmla="*/ 4391050 h 4534608"/>
              <a:gd name="connsiteX167" fmla="*/ 2831413 w 12191999"/>
              <a:gd name="connsiteY167" fmla="*/ 4332345 h 4534608"/>
              <a:gd name="connsiteX168" fmla="*/ 2938666 w 12191999"/>
              <a:gd name="connsiteY168" fmla="*/ 4469366 h 4534608"/>
              <a:gd name="connsiteX169" fmla="*/ 2893280 w 12191999"/>
              <a:gd name="connsiteY169" fmla="*/ 4534608 h 4534608"/>
              <a:gd name="connsiteX170" fmla="*/ 2786026 w 12191999"/>
              <a:gd name="connsiteY170" fmla="*/ 4397587 h 4534608"/>
              <a:gd name="connsiteX171" fmla="*/ 2688188 w 12191999"/>
              <a:gd name="connsiteY171" fmla="*/ 4332345 h 4534608"/>
              <a:gd name="connsiteX172" fmla="*/ 2806169 w 12191999"/>
              <a:gd name="connsiteY172" fmla="*/ 4462829 h 4534608"/>
              <a:gd name="connsiteX173" fmla="*/ 2762871 w 12191999"/>
              <a:gd name="connsiteY173" fmla="*/ 4534608 h 4534608"/>
              <a:gd name="connsiteX174" fmla="*/ 2645025 w 12191999"/>
              <a:gd name="connsiteY174" fmla="*/ 4404125 h 4534608"/>
              <a:gd name="connsiteX175" fmla="*/ 2544961 w 12191999"/>
              <a:gd name="connsiteY175" fmla="*/ 4332345 h 4534608"/>
              <a:gd name="connsiteX176" fmla="*/ 2673669 w 12191999"/>
              <a:gd name="connsiteY176" fmla="*/ 4456292 h 4534608"/>
              <a:gd name="connsiteX177" fmla="*/ 2632599 w 12191999"/>
              <a:gd name="connsiteY177" fmla="*/ 4534608 h 4534608"/>
              <a:gd name="connsiteX178" fmla="*/ 2503890 w 12191999"/>
              <a:gd name="connsiteY178" fmla="*/ 4410662 h 4534608"/>
              <a:gd name="connsiteX179" fmla="*/ 0 w 12191999"/>
              <a:gd name="connsiteY179" fmla="*/ 4332345 h 4534608"/>
              <a:gd name="connsiteX180" fmla="*/ 156594 w 12191999"/>
              <a:gd name="connsiteY180" fmla="*/ 4332345 h 4534608"/>
              <a:gd name="connsiteX181" fmla="*/ 156594 w 12191999"/>
              <a:gd name="connsiteY181" fmla="*/ 4334306 h 4534608"/>
              <a:gd name="connsiteX182" fmla="*/ 244621 w 12191999"/>
              <a:gd name="connsiteY182" fmla="*/ 4337968 h 4534608"/>
              <a:gd name="connsiteX183" fmla="*/ 253646 w 12191999"/>
              <a:gd name="connsiteY183" fmla="*/ 4338229 h 4534608"/>
              <a:gd name="connsiteX184" fmla="*/ 253777 w 12191999"/>
              <a:gd name="connsiteY184" fmla="*/ 4332345 h 4534608"/>
              <a:gd name="connsiteX185" fmla="*/ 396605 w 12191999"/>
              <a:gd name="connsiteY185" fmla="*/ 4341628 h 4534608"/>
              <a:gd name="connsiteX186" fmla="*/ 396998 w 12191999"/>
              <a:gd name="connsiteY186" fmla="*/ 4332345 h 4534608"/>
              <a:gd name="connsiteX187" fmla="*/ 539437 w 12191999"/>
              <a:gd name="connsiteY187" fmla="*/ 4345158 h 4534608"/>
              <a:gd name="connsiteX188" fmla="*/ 540222 w 12191999"/>
              <a:gd name="connsiteY188" fmla="*/ 4332345 h 4534608"/>
              <a:gd name="connsiteX189" fmla="*/ 682139 w 12191999"/>
              <a:gd name="connsiteY189" fmla="*/ 4348950 h 4534608"/>
              <a:gd name="connsiteX190" fmla="*/ 683447 w 12191999"/>
              <a:gd name="connsiteY190" fmla="*/ 4332345 h 4534608"/>
              <a:gd name="connsiteX191" fmla="*/ 824579 w 12191999"/>
              <a:gd name="connsiteY191" fmla="*/ 4353003 h 4534608"/>
              <a:gd name="connsiteX192" fmla="*/ 826671 w 12191999"/>
              <a:gd name="connsiteY192" fmla="*/ 4332345 h 4534608"/>
              <a:gd name="connsiteX193" fmla="*/ 966885 w 12191999"/>
              <a:gd name="connsiteY193" fmla="*/ 4357317 h 4534608"/>
              <a:gd name="connsiteX194" fmla="*/ 969762 w 12191999"/>
              <a:gd name="connsiteY194" fmla="*/ 4332345 h 4534608"/>
              <a:gd name="connsiteX195" fmla="*/ 1109062 w 12191999"/>
              <a:gd name="connsiteY195" fmla="*/ 4361764 h 4534608"/>
              <a:gd name="connsiteX196" fmla="*/ 1112981 w 12191999"/>
              <a:gd name="connsiteY196" fmla="*/ 4332345 h 4534608"/>
              <a:gd name="connsiteX197" fmla="*/ 1250844 w 12191999"/>
              <a:gd name="connsiteY197" fmla="*/ 4366600 h 4534608"/>
              <a:gd name="connsiteX198" fmla="*/ 1256206 w 12191999"/>
              <a:gd name="connsiteY198" fmla="*/ 4332345 h 4534608"/>
              <a:gd name="connsiteX199" fmla="*/ 1392235 w 12191999"/>
              <a:gd name="connsiteY199" fmla="*/ 4371831 h 4534608"/>
              <a:gd name="connsiteX200" fmla="*/ 1399430 w 12191999"/>
              <a:gd name="connsiteY200" fmla="*/ 4332345 h 4534608"/>
              <a:gd name="connsiteX201" fmla="*/ 1533237 w 12191999"/>
              <a:gd name="connsiteY201" fmla="*/ 4377191 h 4534608"/>
              <a:gd name="connsiteX202" fmla="*/ 1542654 w 12191999"/>
              <a:gd name="connsiteY202" fmla="*/ 4332345 h 4534608"/>
              <a:gd name="connsiteX203" fmla="*/ 1673714 w 12191999"/>
              <a:gd name="connsiteY203" fmla="*/ 4382813 h 4534608"/>
              <a:gd name="connsiteX204" fmla="*/ 1685747 w 12191999"/>
              <a:gd name="connsiteY204" fmla="*/ 4332345 h 4534608"/>
              <a:gd name="connsiteX205" fmla="*/ 1813669 w 12191999"/>
              <a:gd name="connsiteY205" fmla="*/ 4388566 h 4534608"/>
              <a:gd name="connsiteX206" fmla="*/ 1828972 w 12191999"/>
              <a:gd name="connsiteY206" fmla="*/ 4332345 h 4534608"/>
              <a:gd name="connsiteX207" fmla="*/ 1952969 w 12191999"/>
              <a:gd name="connsiteY207" fmla="*/ 4394449 h 4534608"/>
              <a:gd name="connsiteX208" fmla="*/ 1972197 w 12191999"/>
              <a:gd name="connsiteY208" fmla="*/ 4332345 h 4534608"/>
              <a:gd name="connsiteX209" fmla="*/ 2091354 w 12191999"/>
              <a:gd name="connsiteY209" fmla="*/ 4400332 h 4534608"/>
              <a:gd name="connsiteX210" fmla="*/ 2115422 w 12191999"/>
              <a:gd name="connsiteY210" fmla="*/ 4332345 h 4534608"/>
              <a:gd name="connsiteX211" fmla="*/ 2228955 w 12191999"/>
              <a:gd name="connsiteY211" fmla="*/ 4406085 h 4534608"/>
              <a:gd name="connsiteX212" fmla="*/ 2258513 w 12191999"/>
              <a:gd name="connsiteY212" fmla="*/ 4332345 h 4534608"/>
              <a:gd name="connsiteX213" fmla="*/ 2365509 w 12191999"/>
              <a:gd name="connsiteY213" fmla="*/ 4411315 h 4534608"/>
              <a:gd name="connsiteX214" fmla="*/ 2401740 w 12191999"/>
              <a:gd name="connsiteY214" fmla="*/ 4332345 h 4534608"/>
              <a:gd name="connsiteX215" fmla="*/ 2541172 w 12191999"/>
              <a:gd name="connsiteY215" fmla="*/ 4449754 h 4534608"/>
              <a:gd name="connsiteX216" fmla="*/ 2502324 w 12191999"/>
              <a:gd name="connsiteY216" fmla="*/ 4534608 h 4534608"/>
              <a:gd name="connsiteX217" fmla="*/ 2405010 w 12191999"/>
              <a:gd name="connsiteY217" fmla="*/ 4452631 h 4534608"/>
              <a:gd name="connsiteX218" fmla="*/ 2371916 w 12191999"/>
              <a:gd name="connsiteY218" fmla="*/ 4534608 h 4534608"/>
              <a:gd name="connsiteX219" fmla="*/ 2268586 w 12191999"/>
              <a:gd name="connsiteY219" fmla="*/ 4458254 h 4534608"/>
              <a:gd name="connsiteX220" fmla="*/ 2241639 w 12191999"/>
              <a:gd name="connsiteY220" fmla="*/ 4534608 h 4534608"/>
              <a:gd name="connsiteX221" fmla="*/ 2133210 w 12191999"/>
              <a:gd name="connsiteY221" fmla="*/ 4464137 h 4534608"/>
              <a:gd name="connsiteX222" fmla="*/ 2111367 w 12191999"/>
              <a:gd name="connsiteY222" fmla="*/ 4534608 h 4534608"/>
              <a:gd name="connsiteX223" fmla="*/ 1998618 w 12191999"/>
              <a:gd name="connsiteY223" fmla="*/ 4470282 h 4534608"/>
              <a:gd name="connsiteX224" fmla="*/ 1981091 w 12191999"/>
              <a:gd name="connsiteY224" fmla="*/ 4534608 h 4534608"/>
              <a:gd name="connsiteX225" fmla="*/ 1864680 w 12191999"/>
              <a:gd name="connsiteY225" fmla="*/ 4476295 h 4534608"/>
              <a:gd name="connsiteX226" fmla="*/ 1850685 w 12191999"/>
              <a:gd name="connsiteY226" fmla="*/ 4534608 h 4534608"/>
              <a:gd name="connsiteX227" fmla="*/ 1731396 w 12191999"/>
              <a:gd name="connsiteY227" fmla="*/ 4482179 h 4534608"/>
              <a:gd name="connsiteX228" fmla="*/ 1720409 w 12191999"/>
              <a:gd name="connsiteY228" fmla="*/ 4534608 h 4534608"/>
              <a:gd name="connsiteX229" fmla="*/ 1598636 w 12191999"/>
              <a:gd name="connsiteY229" fmla="*/ 4487801 h 4534608"/>
              <a:gd name="connsiteX230" fmla="*/ 1590135 w 12191999"/>
              <a:gd name="connsiteY230" fmla="*/ 4534608 h 4534608"/>
              <a:gd name="connsiteX231" fmla="*/ 1466268 w 12191999"/>
              <a:gd name="connsiteY231" fmla="*/ 4493162 h 4534608"/>
              <a:gd name="connsiteX232" fmla="*/ 1459729 w 12191999"/>
              <a:gd name="connsiteY232" fmla="*/ 4534608 h 4534608"/>
              <a:gd name="connsiteX233" fmla="*/ 1334423 w 12191999"/>
              <a:gd name="connsiteY233" fmla="*/ 4498261 h 4534608"/>
              <a:gd name="connsiteX234" fmla="*/ 1329452 w 12191999"/>
              <a:gd name="connsiteY234" fmla="*/ 4534608 h 4534608"/>
              <a:gd name="connsiteX235" fmla="*/ 1202840 w 12191999"/>
              <a:gd name="connsiteY235" fmla="*/ 4503099 h 4534608"/>
              <a:gd name="connsiteX236" fmla="*/ 1199177 w 12191999"/>
              <a:gd name="connsiteY236" fmla="*/ 4534608 h 4534608"/>
              <a:gd name="connsiteX237" fmla="*/ 1071392 w 12191999"/>
              <a:gd name="connsiteY237" fmla="*/ 4507544 h 4534608"/>
              <a:gd name="connsiteX238" fmla="*/ 1068907 w 12191999"/>
              <a:gd name="connsiteY238" fmla="*/ 4534608 h 4534608"/>
              <a:gd name="connsiteX239" fmla="*/ 940333 w 12191999"/>
              <a:gd name="connsiteY239" fmla="*/ 4511728 h 4534608"/>
              <a:gd name="connsiteX240" fmla="*/ 938501 w 12191999"/>
              <a:gd name="connsiteY240" fmla="*/ 4534608 h 4534608"/>
              <a:gd name="connsiteX241" fmla="*/ 809406 w 12191999"/>
              <a:gd name="connsiteY241" fmla="*/ 4515650 h 4534608"/>
              <a:gd name="connsiteX242" fmla="*/ 808229 w 12191999"/>
              <a:gd name="connsiteY242" fmla="*/ 4534608 h 4534608"/>
              <a:gd name="connsiteX243" fmla="*/ 678607 w 12191999"/>
              <a:gd name="connsiteY243" fmla="*/ 4519442 h 4534608"/>
              <a:gd name="connsiteX244" fmla="*/ 677953 w 12191999"/>
              <a:gd name="connsiteY244" fmla="*/ 4534608 h 4534608"/>
              <a:gd name="connsiteX245" fmla="*/ 548070 w 12191999"/>
              <a:gd name="connsiteY245" fmla="*/ 4522842 h 4534608"/>
              <a:gd name="connsiteX246" fmla="*/ 547546 w 12191999"/>
              <a:gd name="connsiteY246" fmla="*/ 4534608 h 4534608"/>
              <a:gd name="connsiteX247" fmla="*/ 417403 w 12191999"/>
              <a:gd name="connsiteY247" fmla="*/ 4526110 h 4534608"/>
              <a:gd name="connsiteX248" fmla="*/ 417271 w 12191999"/>
              <a:gd name="connsiteY248" fmla="*/ 4534608 h 4534608"/>
              <a:gd name="connsiteX249" fmla="*/ 286996 w 12191999"/>
              <a:gd name="connsiteY249" fmla="*/ 4529117 h 4534608"/>
              <a:gd name="connsiteX250" fmla="*/ 286996 w 12191999"/>
              <a:gd name="connsiteY250" fmla="*/ 4534608 h 4534608"/>
              <a:gd name="connsiteX251" fmla="*/ 156594 w 12191999"/>
              <a:gd name="connsiteY251" fmla="*/ 4531863 h 4534608"/>
              <a:gd name="connsiteX252" fmla="*/ 156594 w 12191999"/>
              <a:gd name="connsiteY252" fmla="*/ 4534608 h 4534608"/>
              <a:gd name="connsiteX253" fmla="*/ 0 w 12191999"/>
              <a:gd name="connsiteY253" fmla="*/ 4534608 h 4534608"/>
              <a:gd name="connsiteX254" fmla="*/ 6055850 w 12191999"/>
              <a:gd name="connsiteY254" fmla="*/ 4075824 h 4534608"/>
              <a:gd name="connsiteX255" fmla="*/ 6092081 w 12191999"/>
              <a:gd name="connsiteY255" fmla="*/ 4154793 h 4534608"/>
              <a:gd name="connsiteX256" fmla="*/ 6199073 w 12191999"/>
              <a:gd name="connsiteY256" fmla="*/ 4075824 h 4534608"/>
              <a:gd name="connsiteX257" fmla="*/ 6228764 w 12191999"/>
              <a:gd name="connsiteY257" fmla="*/ 4149564 h 4534608"/>
              <a:gd name="connsiteX258" fmla="*/ 6342298 w 12191999"/>
              <a:gd name="connsiteY258" fmla="*/ 4075824 h 4534608"/>
              <a:gd name="connsiteX259" fmla="*/ 6366234 w 12191999"/>
              <a:gd name="connsiteY259" fmla="*/ 4143811 h 4534608"/>
              <a:gd name="connsiteX260" fmla="*/ 6485523 w 12191999"/>
              <a:gd name="connsiteY260" fmla="*/ 4075824 h 4534608"/>
              <a:gd name="connsiteX261" fmla="*/ 6504750 w 12191999"/>
              <a:gd name="connsiteY261" fmla="*/ 4137928 h 4534608"/>
              <a:gd name="connsiteX262" fmla="*/ 6628616 w 12191999"/>
              <a:gd name="connsiteY262" fmla="*/ 4075824 h 4534608"/>
              <a:gd name="connsiteX263" fmla="*/ 6644051 w 12191999"/>
              <a:gd name="connsiteY263" fmla="*/ 4132045 h 4534608"/>
              <a:gd name="connsiteX264" fmla="*/ 6771840 w 12191999"/>
              <a:gd name="connsiteY264" fmla="*/ 4075824 h 4534608"/>
              <a:gd name="connsiteX265" fmla="*/ 6783874 w 12191999"/>
              <a:gd name="connsiteY265" fmla="*/ 4126292 h 4534608"/>
              <a:gd name="connsiteX266" fmla="*/ 6915065 w 12191999"/>
              <a:gd name="connsiteY266" fmla="*/ 4075824 h 4534608"/>
              <a:gd name="connsiteX267" fmla="*/ 6924482 w 12191999"/>
              <a:gd name="connsiteY267" fmla="*/ 4120669 h 4534608"/>
              <a:gd name="connsiteX268" fmla="*/ 7058289 w 12191999"/>
              <a:gd name="connsiteY268" fmla="*/ 4075824 h 4534608"/>
              <a:gd name="connsiteX269" fmla="*/ 7065483 w 12191999"/>
              <a:gd name="connsiteY269" fmla="*/ 4115310 h 4534608"/>
              <a:gd name="connsiteX270" fmla="*/ 7201513 w 12191999"/>
              <a:gd name="connsiteY270" fmla="*/ 4075824 h 4534608"/>
              <a:gd name="connsiteX271" fmla="*/ 7206876 w 12191999"/>
              <a:gd name="connsiteY271" fmla="*/ 4110079 h 4534608"/>
              <a:gd name="connsiteX272" fmla="*/ 7344606 w 12191999"/>
              <a:gd name="connsiteY272" fmla="*/ 4075824 h 4534608"/>
              <a:gd name="connsiteX273" fmla="*/ 7348662 w 12191999"/>
              <a:gd name="connsiteY273" fmla="*/ 4105373 h 4534608"/>
              <a:gd name="connsiteX274" fmla="*/ 7487831 w 12191999"/>
              <a:gd name="connsiteY274" fmla="*/ 4075824 h 4534608"/>
              <a:gd name="connsiteX275" fmla="*/ 7490708 w 12191999"/>
              <a:gd name="connsiteY275" fmla="*/ 4100796 h 4534608"/>
              <a:gd name="connsiteX276" fmla="*/ 7631056 w 12191999"/>
              <a:gd name="connsiteY276" fmla="*/ 4075824 h 4534608"/>
              <a:gd name="connsiteX277" fmla="*/ 7633018 w 12191999"/>
              <a:gd name="connsiteY277" fmla="*/ 4096482 h 4534608"/>
              <a:gd name="connsiteX278" fmla="*/ 7774281 w 12191999"/>
              <a:gd name="connsiteY278" fmla="*/ 4075824 h 4534608"/>
              <a:gd name="connsiteX279" fmla="*/ 7775587 w 12191999"/>
              <a:gd name="connsiteY279" fmla="*/ 4092429 h 4534608"/>
              <a:gd name="connsiteX280" fmla="*/ 7917504 w 12191999"/>
              <a:gd name="connsiteY280" fmla="*/ 4075824 h 4534608"/>
              <a:gd name="connsiteX281" fmla="*/ 7918289 w 12191999"/>
              <a:gd name="connsiteY281" fmla="*/ 4088767 h 4534608"/>
              <a:gd name="connsiteX282" fmla="*/ 8060597 w 12191999"/>
              <a:gd name="connsiteY282" fmla="*/ 4075824 h 4534608"/>
              <a:gd name="connsiteX283" fmla="*/ 8061122 w 12191999"/>
              <a:gd name="connsiteY283" fmla="*/ 4085237 h 4534608"/>
              <a:gd name="connsiteX284" fmla="*/ 8203822 w 12191999"/>
              <a:gd name="connsiteY284" fmla="*/ 4075824 h 4534608"/>
              <a:gd name="connsiteX285" fmla="*/ 8204084 w 12191999"/>
              <a:gd name="connsiteY285" fmla="*/ 4081708 h 4534608"/>
              <a:gd name="connsiteX286" fmla="*/ 8213109 w 12191999"/>
              <a:gd name="connsiteY286" fmla="*/ 4081447 h 4534608"/>
              <a:gd name="connsiteX287" fmla="*/ 8301005 w 12191999"/>
              <a:gd name="connsiteY287" fmla="*/ 4077785 h 4534608"/>
              <a:gd name="connsiteX288" fmla="*/ 8301005 w 12191999"/>
              <a:gd name="connsiteY288" fmla="*/ 4075824 h 4534608"/>
              <a:gd name="connsiteX289" fmla="*/ 12189515 w 12191999"/>
              <a:gd name="connsiteY289" fmla="*/ 4075824 h 4534608"/>
              <a:gd name="connsiteX290" fmla="*/ 12189515 w 12191999"/>
              <a:gd name="connsiteY290" fmla="*/ 4278087 h 4534608"/>
              <a:gd name="connsiteX291" fmla="*/ 8301005 w 12191999"/>
              <a:gd name="connsiteY291" fmla="*/ 4278087 h 4534608"/>
              <a:gd name="connsiteX292" fmla="*/ 8301005 w 12191999"/>
              <a:gd name="connsiteY292" fmla="*/ 4275342 h 4534608"/>
              <a:gd name="connsiteX293" fmla="*/ 8170730 w 12191999"/>
              <a:gd name="connsiteY293" fmla="*/ 4278087 h 4534608"/>
              <a:gd name="connsiteX294" fmla="*/ 8170599 w 12191999"/>
              <a:gd name="connsiteY294" fmla="*/ 4272596 h 4534608"/>
              <a:gd name="connsiteX295" fmla="*/ 8040324 w 12191999"/>
              <a:gd name="connsiteY295" fmla="*/ 4278087 h 4534608"/>
              <a:gd name="connsiteX296" fmla="*/ 8040194 w 12191999"/>
              <a:gd name="connsiteY296" fmla="*/ 4269589 h 4534608"/>
              <a:gd name="connsiteX297" fmla="*/ 7910049 w 12191999"/>
              <a:gd name="connsiteY297" fmla="*/ 4278087 h 4534608"/>
              <a:gd name="connsiteX298" fmla="*/ 7909656 w 12191999"/>
              <a:gd name="connsiteY298" fmla="*/ 4266321 h 4534608"/>
              <a:gd name="connsiteX299" fmla="*/ 7779774 w 12191999"/>
              <a:gd name="connsiteY299" fmla="*/ 4278087 h 4534608"/>
              <a:gd name="connsiteX300" fmla="*/ 7778989 w 12191999"/>
              <a:gd name="connsiteY300" fmla="*/ 4262921 h 4534608"/>
              <a:gd name="connsiteX301" fmla="*/ 7649499 w 12191999"/>
              <a:gd name="connsiteY301" fmla="*/ 4278087 h 4534608"/>
              <a:gd name="connsiteX302" fmla="*/ 7648191 w 12191999"/>
              <a:gd name="connsiteY302" fmla="*/ 4259260 h 4534608"/>
              <a:gd name="connsiteX303" fmla="*/ 7519093 w 12191999"/>
              <a:gd name="connsiteY303" fmla="*/ 4278087 h 4534608"/>
              <a:gd name="connsiteX304" fmla="*/ 7517261 w 12191999"/>
              <a:gd name="connsiteY304" fmla="*/ 4255207 h 4534608"/>
              <a:gd name="connsiteX305" fmla="*/ 7388816 w 12191999"/>
              <a:gd name="connsiteY305" fmla="*/ 4278087 h 4534608"/>
              <a:gd name="connsiteX306" fmla="*/ 7386200 w 12191999"/>
              <a:gd name="connsiteY306" fmla="*/ 4251023 h 4534608"/>
              <a:gd name="connsiteX307" fmla="*/ 7258541 w 12191999"/>
              <a:gd name="connsiteY307" fmla="*/ 4278087 h 4534608"/>
              <a:gd name="connsiteX308" fmla="*/ 7254880 w 12191999"/>
              <a:gd name="connsiteY308" fmla="*/ 4246578 h 4534608"/>
              <a:gd name="connsiteX309" fmla="*/ 7128135 w 12191999"/>
              <a:gd name="connsiteY309" fmla="*/ 4278087 h 4534608"/>
              <a:gd name="connsiteX310" fmla="*/ 7123296 w 12191999"/>
              <a:gd name="connsiteY310" fmla="*/ 4241740 h 4534608"/>
              <a:gd name="connsiteX311" fmla="*/ 6997860 w 12191999"/>
              <a:gd name="connsiteY311" fmla="*/ 4278087 h 4534608"/>
              <a:gd name="connsiteX312" fmla="*/ 6991320 w 12191999"/>
              <a:gd name="connsiteY312" fmla="*/ 4236641 h 4534608"/>
              <a:gd name="connsiteX313" fmla="*/ 6867585 w 12191999"/>
              <a:gd name="connsiteY313" fmla="*/ 4278087 h 4534608"/>
              <a:gd name="connsiteX314" fmla="*/ 6859083 w 12191999"/>
              <a:gd name="connsiteY314" fmla="*/ 4231280 h 4534608"/>
              <a:gd name="connsiteX315" fmla="*/ 6737310 w 12191999"/>
              <a:gd name="connsiteY315" fmla="*/ 4278087 h 4534608"/>
              <a:gd name="connsiteX316" fmla="*/ 6726322 w 12191999"/>
              <a:gd name="connsiteY316" fmla="*/ 4225658 h 4534608"/>
              <a:gd name="connsiteX317" fmla="*/ 6606904 w 12191999"/>
              <a:gd name="connsiteY317" fmla="*/ 4278087 h 4534608"/>
              <a:gd name="connsiteX318" fmla="*/ 6593040 w 12191999"/>
              <a:gd name="connsiteY318" fmla="*/ 4219774 h 4534608"/>
              <a:gd name="connsiteX319" fmla="*/ 6476628 w 12191999"/>
              <a:gd name="connsiteY319" fmla="*/ 4278087 h 4534608"/>
              <a:gd name="connsiteX320" fmla="*/ 6459101 w 12191999"/>
              <a:gd name="connsiteY320" fmla="*/ 4213761 h 4534608"/>
              <a:gd name="connsiteX321" fmla="*/ 6346352 w 12191999"/>
              <a:gd name="connsiteY321" fmla="*/ 4278087 h 4534608"/>
              <a:gd name="connsiteX322" fmla="*/ 6324509 w 12191999"/>
              <a:gd name="connsiteY322" fmla="*/ 4207747 h 4534608"/>
              <a:gd name="connsiteX323" fmla="*/ 6215947 w 12191999"/>
              <a:gd name="connsiteY323" fmla="*/ 4278087 h 4534608"/>
              <a:gd name="connsiteX324" fmla="*/ 6189002 w 12191999"/>
              <a:gd name="connsiteY324" fmla="*/ 4201731 h 4534608"/>
              <a:gd name="connsiteX325" fmla="*/ 6085672 w 12191999"/>
              <a:gd name="connsiteY325" fmla="*/ 4278087 h 4534608"/>
              <a:gd name="connsiteX326" fmla="*/ 6052710 w 12191999"/>
              <a:gd name="connsiteY326" fmla="*/ 4196110 h 4534608"/>
              <a:gd name="connsiteX327" fmla="*/ 5955396 w 12191999"/>
              <a:gd name="connsiteY327" fmla="*/ 4278087 h 4534608"/>
              <a:gd name="connsiteX328" fmla="*/ 5916418 w 12191999"/>
              <a:gd name="connsiteY328" fmla="*/ 4193233 h 4534608"/>
              <a:gd name="connsiteX329" fmla="*/ 5912625 w 12191999"/>
              <a:gd name="connsiteY329" fmla="*/ 4075824 h 4534608"/>
              <a:gd name="connsiteX330" fmla="*/ 5953696 w 12191999"/>
              <a:gd name="connsiteY330" fmla="*/ 4154141 h 4534608"/>
              <a:gd name="connsiteX331" fmla="*/ 5825120 w 12191999"/>
              <a:gd name="connsiteY331" fmla="*/ 4278087 h 4534608"/>
              <a:gd name="connsiteX332" fmla="*/ 5784049 w 12191999"/>
              <a:gd name="connsiteY332" fmla="*/ 4199771 h 4534608"/>
              <a:gd name="connsiteX333" fmla="*/ 5769534 w 12191999"/>
              <a:gd name="connsiteY333" fmla="*/ 4075824 h 4534608"/>
              <a:gd name="connsiteX334" fmla="*/ 5812697 w 12191999"/>
              <a:gd name="connsiteY334" fmla="*/ 4147603 h 4534608"/>
              <a:gd name="connsiteX335" fmla="*/ 5694716 w 12191999"/>
              <a:gd name="connsiteY335" fmla="*/ 4278087 h 4534608"/>
              <a:gd name="connsiteX336" fmla="*/ 5651552 w 12191999"/>
              <a:gd name="connsiteY336" fmla="*/ 4206308 h 4534608"/>
              <a:gd name="connsiteX337" fmla="*/ 5626305 w 12191999"/>
              <a:gd name="connsiteY337" fmla="*/ 4075824 h 4534608"/>
              <a:gd name="connsiteX338" fmla="*/ 5671693 w 12191999"/>
              <a:gd name="connsiteY338" fmla="*/ 4141066 h 4534608"/>
              <a:gd name="connsiteX339" fmla="*/ 5564438 w 12191999"/>
              <a:gd name="connsiteY339" fmla="*/ 4278087 h 4534608"/>
              <a:gd name="connsiteX340" fmla="*/ 5519050 w 12191999"/>
              <a:gd name="connsiteY340" fmla="*/ 4212845 h 4534608"/>
              <a:gd name="connsiteX341" fmla="*/ 5483083 w 12191999"/>
              <a:gd name="connsiteY341" fmla="*/ 4075824 h 4534608"/>
              <a:gd name="connsiteX342" fmla="*/ 5530694 w 12191999"/>
              <a:gd name="connsiteY342" fmla="*/ 4134529 h 4534608"/>
              <a:gd name="connsiteX343" fmla="*/ 5434164 w 12191999"/>
              <a:gd name="connsiteY343" fmla="*/ 4278087 h 4534608"/>
              <a:gd name="connsiteX344" fmla="*/ 5386553 w 12191999"/>
              <a:gd name="connsiteY344" fmla="*/ 4219383 h 4534608"/>
              <a:gd name="connsiteX345" fmla="*/ 5339858 w 12191999"/>
              <a:gd name="connsiteY345" fmla="*/ 4075824 h 4534608"/>
              <a:gd name="connsiteX346" fmla="*/ 5389562 w 12191999"/>
              <a:gd name="connsiteY346" fmla="*/ 4127991 h 4534608"/>
              <a:gd name="connsiteX347" fmla="*/ 5303757 w 12191999"/>
              <a:gd name="connsiteY347" fmla="*/ 4278087 h 4534608"/>
              <a:gd name="connsiteX348" fmla="*/ 5254053 w 12191999"/>
              <a:gd name="connsiteY348" fmla="*/ 4225920 h 4534608"/>
              <a:gd name="connsiteX349" fmla="*/ 5196635 w 12191999"/>
              <a:gd name="connsiteY349" fmla="*/ 4075824 h 4534608"/>
              <a:gd name="connsiteX350" fmla="*/ 5248563 w 12191999"/>
              <a:gd name="connsiteY350" fmla="*/ 4121454 h 4534608"/>
              <a:gd name="connsiteX351" fmla="*/ 5173483 w 12191999"/>
              <a:gd name="connsiteY351" fmla="*/ 4278087 h 4534608"/>
              <a:gd name="connsiteX352" fmla="*/ 5121556 w 12191999"/>
              <a:gd name="connsiteY352" fmla="*/ 4232458 h 4534608"/>
              <a:gd name="connsiteX353" fmla="*/ 5053542 w 12191999"/>
              <a:gd name="connsiteY353" fmla="*/ 4075824 h 4534608"/>
              <a:gd name="connsiteX354" fmla="*/ 5107562 w 12191999"/>
              <a:gd name="connsiteY354" fmla="*/ 4115047 h 4534608"/>
              <a:gd name="connsiteX355" fmla="*/ 5043208 w 12191999"/>
              <a:gd name="connsiteY355" fmla="*/ 4278087 h 4534608"/>
              <a:gd name="connsiteX356" fmla="*/ 4989187 w 12191999"/>
              <a:gd name="connsiteY356" fmla="*/ 4238864 h 4534608"/>
              <a:gd name="connsiteX357" fmla="*/ 4910318 w 12191999"/>
              <a:gd name="connsiteY357" fmla="*/ 4075824 h 4534608"/>
              <a:gd name="connsiteX358" fmla="*/ 4966429 w 12191999"/>
              <a:gd name="connsiteY358" fmla="*/ 4108511 h 4534608"/>
              <a:gd name="connsiteX359" fmla="*/ 4912934 w 12191999"/>
              <a:gd name="connsiteY359" fmla="*/ 4278087 h 4534608"/>
              <a:gd name="connsiteX360" fmla="*/ 4856690 w 12191999"/>
              <a:gd name="connsiteY360" fmla="*/ 4245400 h 4534608"/>
              <a:gd name="connsiteX361" fmla="*/ 4767091 w 12191999"/>
              <a:gd name="connsiteY361" fmla="*/ 4075824 h 4534608"/>
              <a:gd name="connsiteX362" fmla="*/ 4825429 w 12191999"/>
              <a:gd name="connsiteY362" fmla="*/ 4101974 h 4534608"/>
              <a:gd name="connsiteX363" fmla="*/ 4782526 w 12191999"/>
              <a:gd name="connsiteY363" fmla="*/ 4278087 h 4534608"/>
              <a:gd name="connsiteX364" fmla="*/ 4724190 w 12191999"/>
              <a:gd name="connsiteY364" fmla="*/ 4251938 h 4534608"/>
              <a:gd name="connsiteX365" fmla="*/ 4623867 w 12191999"/>
              <a:gd name="connsiteY365" fmla="*/ 4075824 h 4534608"/>
              <a:gd name="connsiteX366" fmla="*/ 4684428 w 12191999"/>
              <a:gd name="connsiteY366" fmla="*/ 4095436 h 4534608"/>
              <a:gd name="connsiteX367" fmla="*/ 4652251 w 12191999"/>
              <a:gd name="connsiteY367" fmla="*/ 4278087 h 4534608"/>
              <a:gd name="connsiteX368" fmla="*/ 4591691 w 12191999"/>
              <a:gd name="connsiteY368" fmla="*/ 4258475 h 4534608"/>
              <a:gd name="connsiteX369" fmla="*/ 4480643 w 12191999"/>
              <a:gd name="connsiteY369" fmla="*/ 4075824 h 4534608"/>
              <a:gd name="connsiteX370" fmla="*/ 4543428 w 12191999"/>
              <a:gd name="connsiteY370" fmla="*/ 4088899 h 4534608"/>
              <a:gd name="connsiteX371" fmla="*/ 4521977 w 12191999"/>
              <a:gd name="connsiteY371" fmla="*/ 4278087 h 4534608"/>
              <a:gd name="connsiteX372" fmla="*/ 4459193 w 12191999"/>
              <a:gd name="connsiteY372" fmla="*/ 4265013 h 4534608"/>
              <a:gd name="connsiteX373" fmla="*/ 4337550 w 12191999"/>
              <a:gd name="connsiteY373" fmla="*/ 4075824 h 4534608"/>
              <a:gd name="connsiteX374" fmla="*/ 4402296 w 12191999"/>
              <a:gd name="connsiteY374" fmla="*/ 4082362 h 4534608"/>
              <a:gd name="connsiteX375" fmla="*/ 4391570 w 12191999"/>
              <a:gd name="connsiteY375" fmla="*/ 4278087 h 4534608"/>
              <a:gd name="connsiteX376" fmla="*/ 4326825 w 12191999"/>
              <a:gd name="connsiteY376" fmla="*/ 4271550 h 4534608"/>
              <a:gd name="connsiteX377" fmla="*/ 4194332 w 12191999"/>
              <a:gd name="connsiteY377" fmla="*/ 4075824 h 4534608"/>
              <a:gd name="connsiteX378" fmla="*/ 4196426 w 12191999"/>
              <a:gd name="connsiteY378" fmla="*/ 4075824 h 4534608"/>
              <a:gd name="connsiteX379" fmla="*/ 4261296 w 12191999"/>
              <a:gd name="connsiteY379" fmla="*/ 4075824 h 4534608"/>
              <a:gd name="connsiteX380" fmla="*/ 4263390 w 12191999"/>
              <a:gd name="connsiteY380" fmla="*/ 4075824 h 4534608"/>
              <a:gd name="connsiteX381" fmla="*/ 4263390 w 12191999"/>
              <a:gd name="connsiteY381" fmla="*/ 4277957 h 4534608"/>
              <a:gd name="connsiteX382" fmla="*/ 4261296 w 12191999"/>
              <a:gd name="connsiteY382" fmla="*/ 4277957 h 4534608"/>
              <a:gd name="connsiteX383" fmla="*/ 4196426 w 12191999"/>
              <a:gd name="connsiteY383" fmla="*/ 4277957 h 4534608"/>
              <a:gd name="connsiteX384" fmla="*/ 4194332 w 12191999"/>
              <a:gd name="connsiteY384" fmla="*/ 4277957 h 4534608"/>
              <a:gd name="connsiteX385" fmla="*/ 4120170 w 12191999"/>
              <a:gd name="connsiteY385" fmla="*/ 4075824 h 4534608"/>
              <a:gd name="connsiteX386" fmla="*/ 4130896 w 12191999"/>
              <a:gd name="connsiteY386" fmla="*/ 4271550 h 4534608"/>
              <a:gd name="connsiteX387" fmla="*/ 4066018 w 12191999"/>
              <a:gd name="connsiteY387" fmla="*/ 4278087 h 4534608"/>
              <a:gd name="connsiteX388" fmla="*/ 4055294 w 12191999"/>
              <a:gd name="connsiteY388" fmla="*/ 4082362 h 4534608"/>
              <a:gd name="connsiteX389" fmla="*/ 3976947 w 12191999"/>
              <a:gd name="connsiteY389" fmla="*/ 4075824 h 4534608"/>
              <a:gd name="connsiteX390" fmla="*/ 3998396 w 12191999"/>
              <a:gd name="connsiteY390" fmla="*/ 4265013 h 4534608"/>
              <a:gd name="connsiteX391" fmla="*/ 3935741 w 12191999"/>
              <a:gd name="connsiteY391" fmla="*/ 4278087 h 4534608"/>
              <a:gd name="connsiteX392" fmla="*/ 3914293 w 12191999"/>
              <a:gd name="connsiteY392" fmla="*/ 4088899 h 4534608"/>
              <a:gd name="connsiteX393" fmla="*/ 3833720 w 12191999"/>
              <a:gd name="connsiteY393" fmla="*/ 4075824 h 4534608"/>
              <a:gd name="connsiteX394" fmla="*/ 3865897 w 12191999"/>
              <a:gd name="connsiteY394" fmla="*/ 4258475 h 4534608"/>
              <a:gd name="connsiteX395" fmla="*/ 3805467 w 12191999"/>
              <a:gd name="connsiteY395" fmla="*/ 4278087 h 4534608"/>
              <a:gd name="connsiteX396" fmla="*/ 3773292 w 12191999"/>
              <a:gd name="connsiteY396" fmla="*/ 4095436 h 4534608"/>
              <a:gd name="connsiteX397" fmla="*/ 3690629 w 12191999"/>
              <a:gd name="connsiteY397" fmla="*/ 4075824 h 4534608"/>
              <a:gd name="connsiteX398" fmla="*/ 3733396 w 12191999"/>
              <a:gd name="connsiteY398" fmla="*/ 4251938 h 4534608"/>
              <a:gd name="connsiteX399" fmla="*/ 3675062 w 12191999"/>
              <a:gd name="connsiteY399" fmla="*/ 4278087 h 4534608"/>
              <a:gd name="connsiteX400" fmla="*/ 3632158 w 12191999"/>
              <a:gd name="connsiteY400" fmla="*/ 4101974 h 4534608"/>
              <a:gd name="connsiteX401" fmla="*/ 3547400 w 12191999"/>
              <a:gd name="connsiteY401" fmla="*/ 4075824 h 4534608"/>
              <a:gd name="connsiteX402" fmla="*/ 3601030 w 12191999"/>
              <a:gd name="connsiteY402" fmla="*/ 4245400 h 4534608"/>
              <a:gd name="connsiteX403" fmla="*/ 3544786 w 12191999"/>
              <a:gd name="connsiteY403" fmla="*/ 4278087 h 4534608"/>
              <a:gd name="connsiteX404" fmla="*/ 3491159 w 12191999"/>
              <a:gd name="connsiteY404" fmla="*/ 4108511 h 4534608"/>
              <a:gd name="connsiteX405" fmla="*/ 3404180 w 12191999"/>
              <a:gd name="connsiteY405" fmla="*/ 4075824 h 4534608"/>
              <a:gd name="connsiteX406" fmla="*/ 3468533 w 12191999"/>
              <a:gd name="connsiteY406" fmla="*/ 4238864 h 4534608"/>
              <a:gd name="connsiteX407" fmla="*/ 3414513 w 12191999"/>
              <a:gd name="connsiteY407" fmla="*/ 4278087 h 4534608"/>
              <a:gd name="connsiteX408" fmla="*/ 3350159 w 12191999"/>
              <a:gd name="connsiteY408" fmla="*/ 4115047 h 4534608"/>
              <a:gd name="connsiteX409" fmla="*/ 3260954 w 12191999"/>
              <a:gd name="connsiteY409" fmla="*/ 4075824 h 4534608"/>
              <a:gd name="connsiteX410" fmla="*/ 3336034 w 12191999"/>
              <a:gd name="connsiteY410" fmla="*/ 4232458 h 4534608"/>
              <a:gd name="connsiteX411" fmla="*/ 3284105 w 12191999"/>
              <a:gd name="connsiteY411" fmla="*/ 4278087 h 4534608"/>
              <a:gd name="connsiteX412" fmla="*/ 3209157 w 12191999"/>
              <a:gd name="connsiteY412" fmla="*/ 4121454 h 4534608"/>
              <a:gd name="connsiteX413" fmla="*/ 3117730 w 12191999"/>
              <a:gd name="connsiteY413" fmla="*/ 4075824 h 4534608"/>
              <a:gd name="connsiteX414" fmla="*/ 3203536 w 12191999"/>
              <a:gd name="connsiteY414" fmla="*/ 4225920 h 4534608"/>
              <a:gd name="connsiteX415" fmla="*/ 3153831 w 12191999"/>
              <a:gd name="connsiteY415" fmla="*/ 4278087 h 4534608"/>
              <a:gd name="connsiteX416" fmla="*/ 3068027 w 12191999"/>
              <a:gd name="connsiteY416" fmla="*/ 4127991 h 4534608"/>
              <a:gd name="connsiteX417" fmla="*/ 2974635 w 12191999"/>
              <a:gd name="connsiteY417" fmla="*/ 4075824 h 4534608"/>
              <a:gd name="connsiteX418" fmla="*/ 3071033 w 12191999"/>
              <a:gd name="connsiteY418" fmla="*/ 4219383 h 4534608"/>
              <a:gd name="connsiteX419" fmla="*/ 3023555 w 12191999"/>
              <a:gd name="connsiteY419" fmla="*/ 4278087 h 4534608"/>
              <a:gd name="connsiteX420" fmla="*/ 2927026 w 12191999"/>
              <a:gd name="connsiteY420" fmla="*/ 4134529 h 4534608"/>
              <a:gd name="connsiteX421" fmla="*/ 2831413 w 12191999"/>
              <a:gd name="connsiteY421" fmla="*/ 4075824 h 4534608"/>
              <a:gd name="connsiteX422" fmla="*/ 2938666 w 12191999"/>
              <a:gd name="connsiteY422" fmla="*/ 4212845 h 4534608"/>
              <a:gd name="connsiteX423" fmla="*/ 2893280 w 12191999"/>
              <a:gd name="connsiteY423" fmla="*/ 4278087 h 4534608"/>
              <a:gd name="connsiteX424" fmla="*/ 2786026 w 12191999"/>
              <a:gd name="connsiteY424" fmla="*/ 4141066 h 4534608"/>
              <a:gd name="connsiteX425" fmla="*/ 2688188 w 12191999"/>
              <a:gd name="connsiteY425" fmla="*/ 4075824 h 4534608"/>
              <a:gd name="connsiteX426" fmla="*/ 2806169 w 12191999"/>
              <a:gd name="connsiteY426" fmla="*/ 4206308 h 4534608"/>
              <a:gd name="connsiteX427" fmla="*/ 2762871 w 12191999"/>
              <a:gd name="connsiteY427" fmla="*/ 4278087 h 4534608"/>
              <a:gd name="connsiteX428" fmla="*/ 2645025 w 12191999"/>
              <a:gd name="connsiteY428" fmla="*/ 4147603 h 4534608"/>
              <a:gd name="connsiteX429" fmla="*/ 2544961 w 12191999"/>
              <a:gd name="connsiteY429" fmla="*/ 4075824 h 4534608"/>
              <a:gd name="connsiteX430" fmla="*/ 2673669 w 12191999"/>
              <a:gd name="connsiteY430" fmla="*/ 4199771 h 4534608"/>
              <a:gd name="connsiteX431" fmla="*/ 2632599 w 12191999"/>
              <a:gd name="connsiteY431" fmla="*/ 4278087 h 4534608"/>
              <a:gd name="connsiteX432" fmla="*/ 2503890 w 12191999"/>
              <a:gd name="connsiteY432" fmla="*/ 4154141 h 4534608"/>
              <a:gd name="connsiteX433" fmla="*/ 0 w 12191999"/>
              <a:gd name="connsiteY433" fmla="*/ 4075824 h 4534608"/>
              <a:gd name="connsiteX434" fmla="*/ 156594 w 12191999"/>
              <a:gd name="connsiteY434" fmla="*/ 4075824 h 4534608"/>
              <a:gd name="connsiteX435" fmla="*/ 156594 w 12191999"/>
              <a:gd name="connsiteY435" fmla="*/ 4077785 h 4534608"/>
              <a:gd name="connsiteX436" fmla="*/ 244621 w 12191999"/>
              <a:gd name="connsiteY436" fmla="*/ 4081447 h 4534608"/>
              <a:gd name="connsiteX437" fmla="*/ 253646 w 12191999"/>
              <a:gd name="connsiteY437" fmla="*/ 4081708 h 4534608"/>
              <a:gd name="connsiteX438" fmla="*/ 253777 w 12191999"/>
              <a:gd name="connsiteY438" fmla="*/ 4075824 h 4534608"/>
              <a:gd name="connsiteX439" fmla="*/ 396605 w 12191999"/>
              <a:gd name="connsiteY439" fmla="*/ 4085237 h 4534608"/>
              <a:gd name="connsiteX440" fmla="*/ 396998 w 12191999"/>
              <a:gd name="connsiteY440" fmla="*/ 4075824 h 4534608"/>
              <a:gd name="connsiteX441" fmla="*/ 539437 w 12191999"/>
              <a:gd name="connsiteY441" fmla="*/ 4088767 h 4534608"/>
              <a:gd name="connsiteX442" fmla="*/ 540222 w 12191999"/>
              <a:gd name="connsiteY442" fmla="*/ 4075824 h 4534608"/>
              <a:gd name="connsiteX443" fmla="*/ 682139 w 12191999"/>
              <a:gd name="connsiteY443" fmla="*/ 4092429 h 4534608"/>
              <a:gd name="connsiteX444" fmla="*/ 683447 w 12191999"/>
              <a:gd name="connsiteY444" fmla="*/ 4075824 h 4534608"/>
              <a:gd name="connsiteX445" fmla="*/ 824579 w 12191999"/>
              <a:gd name="connsiteY445" fmla="*/ 4096482 h 4534608"/>
              <a:gd name="connsiteX446" fmla="*/ 826671 w 12191999"/>
              <a:gd name="connsiteY446" fmla="*/ 4075824 h 4534608"/>
              <a:gd name="connsiteX447" fmla="*/ 966885 w 12191999"/>
              <a:gd name="connsiteY447" fmla="*/ 4100796 h 4534608"/>
              <a:gd name="connsiteX448" fmla="*/ 969762 w 12191999"/>
              <a:gd name="connsiteY448" fmla="*/ 4075824 h 4534608"/>
              <a:gd name="connsiteX449" fmla="*/ 1109062 w 12191999"/>
              <a:gd name="connsiteY449" fmla="*/ 4105373 h 4534608"/>
              <a:gd name="connsiteX450" fmla="*/ 1112981 w 12191999"/>
              <a:gd name="connsiteY450" fmla="*/ 4075824 h 4534608"/>
              <a:gd name="connsiteX451" fmla="*/ 1250844 w 12191999"/>
              <a:gd name="connsiteY451" fmla="*/ 4110079 h 4534608"/>
              <a:gd name="connsiteX452" fmla="*/ 1256206 w 12191999"/>
              <a:gd name="connsiteY452" fmla="*/ 4075824 h 4534608"/>
              <a:gd name="connsiteX453" fmla="*/ 1392235 w 12191999"/>
              <a:gd name="connsiteY453" fmla="*/ 4115310 h 4534608"/>
              <a:gd name="connsiteX454" fmla="*/ 1399430 w 12191999"/>
              <a:gd name="connsiteY454" fmla="*/ 4075824 h 4534608"/>
              <a:gd name="connsiteX455" fmla="*/ 1533237 w 12191999"/>
              <a:gd name="connsiteY455" fmla="*/ 4120669 h 4534608"/>
              <a:gd name="connsiteX456" fmla="*/ 1542654 w 12191999"/>
              <a:gd name="connsiteY456" fmla="*/ 4075824 h 4534608"/>
              <a:gd name="connsiteX457" fmla="*/ 1673714 w 12191999"/>
              <a:gd name="connsiteY457" fmla="*/ 4126292 h 4534608"/>
              <a:gd name="connsiteX458" fmla="*/ 1685747 w 12191999"/>
              <a:gd name="connsiteY458" fmla="*/ 4075824 h 4534608"/>
              <a:gd name="connsiteX459" fmla="*/ 1813669 w 12191999"/>
              <a:gd name="connsiteY459" fmla="*/ 4132045 h 4534608"/>
              <a:gd name="connsiteX460" fmla="*/ 1828972 w 12191999"/>
              <a:gd name="connsiteY460" fmla="*/ 4075824 h 4534608"/>
              <a:gd name="connsiteX461" fmla="*/ 1952969 w 12191999"/>
              <a:gd name="connsiteY461" fmla="*/ 4137928 h 4534608"/>
              <a:gd name="connsiteX462" fmla="*/ 1972197 w 12191999"/>
              <a:gd name="connsiteY462" fmla="*/ 4075824 h 4534608"/>
              <a:gd name="connsiteX463" fmla="*/ 2091354 w 12191999"/>
              <a:gd name="connsiteY463" fmla="*/ 4143811 h 4534608"/>
              <a:gd name="connsiteX464" fmla="*/ 2115422 w 12191999"/>
              <a:gd name="connsiteY464" fmla="*/ 4075824 h 4534608"/>
              <a:gd name="connsiteX465" fmla="*/ 2228955 w 12191999"/>
              <a:gd name="connsiteY465" fmla="*/ 4149564 h 4534608"/>
              <a:gd name="connsiteX466" fmla="*/ 2258513 w 12191999"/>
              <a:gd name="connsiteY466" fmla="*/ 4075824 h 4534608"/>
              <a:gd name="connsiteX467" fmla="*/ 2365509 w 12191999"/>
              <a:gd name="connsiteY467" fmla="*/ 4154793 h 4534608"/>
              <a:gd name="connsiteX468" fmla="*/ 2401740 w 12191999"/>
              <a:gd name="connsiteY468" fmla="*/ 4075824 h 4534608"/>
              <a:gd name="connsiteX469" fmla="*/ 2541172 w 12191999"/>
              <a:gd name="connsiteY469" fmla="*/ 4193233 h 4534608"/>
              <a:gd name="connsiteX470" fmla="*/ 2502324 w 12191999"/>
              <a:gd name="connsiteY470" fmla="*/ 4278087 h 4534608"/>
              <a:gd name="connsiteX471" fmla="*/ 2405010 w 12191999"/>
              <a:gd name="connsiteY471" fmla="*/ 4196110 h 4534608"/>
              <a:gd name="connsiteX472" fmla="*/ 2371916 w 12191999"/>
              <a:gd name="connsiteY472" fmla="*/ 4278087 h 4534608"/>
              <a:gd name="connsiteX473" fmla="*/ 2268586 w 12191999"/>
              <a:gd name="connsiteY473" fmla="*/ 4201731 h 4534608"/>
              <a:gd name="connsiteX474" fmla="*/ 2241639 w 12191999"/>
              <a:gd name="connsiteY474" fmla="*/ 4278087 h 4534608"/>
              <a:gd name="connsiteX475" fmla="*/ 2133210 w 12191999"/>
              <a:gd name="connsiteY475" fmla="*/ 4207747 h 4534608"/>
              <a:gd name="connsiteX476" fmla="*/ 2111367 w 12191999"/>
              <a:gd name="connsiteY476" fmla="*/ 4278087 h 4534608"/>
              <a:gd name="connsiteX477" fmla="*/ 1998618 w 12191999"/>
              <a:gd name="connsiteY477" fmla="*/ 4213761 h 4534608"/>
              <a:gd name="connsiteX478" fmla="*/ 1981091 w 12191999"/>
              <a:gd name="connsiteY478" fmla="*/ 4278087 h 4534608"/>
              <a:gd name="connsiteX479" fmla="*/ 1864680 w 12191999"/>
              <a:gd name="connsiteY479" fmla="*/ 4219774 h 4534608"/>
              <a:gd name="connsiteX480" fmla="*/ 1850685 w 12191999"/>
              <a:gd name="connsiteY480" fmla="*/ 4278087 h 4534608"/>
              <a:gd name="connsiteX481" fmla="*/ 1731396 w 12191999"/>
              <a:gd name="connsiteY481" fmla="*/ 4225658 h 4534608"/>
              <a:gd name="connsiteX482" fmla="*/ 1720409 w 12191999"/>
              <a:gd name="connsiteY482" fmla="*/ 4278087 h 4534608"/>
              <a:gd name="connsiteX483" fmla="*/ 1598636 w 12191999"/>
              <a:gd name="connsiteY483" fmla="*/ 4231280 h 4534608"/>
              <a:gd name="connsiteX484" fmla="*/ 1590135 w 12191999"/>
              <a:gd name="connsiteY484" fmla="*/ 4278087 h 4534608"/>
              <a:gd name="connsiteX485" fmla="*/ 1466268 w 12191999"/>
              <a:gd name="connsiteY485" fmla="*/ 4236641 h 4534608"/>
              <a:gd name="connsiteX486" fmla="*/ 1459729 w 12191999"/>
              <a:gd name="connsiteY486" fmla="*/ 4278087 h 4534608"/>
              <a:gd name="connsiteX487" fmla="*/ 1334423 w 12191999"/>
              <a:gd name="connsiteY487" fmla="*/ 4241740 h 4534608"/>
              <a:gd name="connsiteX488" fmla="*/ 1329452 w 12191999"/>
              <a:gd name="connsiteY488" fmla="*/ 4278087 h 4534608"/>
              <a:gd name="connsiteX489" fmla="*/ 1202840 w 12191999"/>
              <a:gd name="connsiteY489" fmla="*/ 4246578 h 4534608"/>
              <a:gd name="connsiteX490" fmla="*/ 1199177 w 12191999"/>
              <a:gd name="connsiteY490" fmla="*/ 4278087 h 4534608"/>
              <a:gd name="connsiteX491" fmla="*/ 1071392 w 12191999"/>
              <a:gd name="connsiteY491" fmla="*/ 4251023 h 4534608"/>
              <a:gd name="connsiteX492" fmla="*/ 1068907 w 12191999"/>
              <a:gd name="connsiteY492" fmla="*/ 4278087 h 4534608"/>
              <a:gd name="connsiteX493" fmla="*/ 940333 w 12191999"/>
              <a:gd name="connsiteY493" fmla="*/ 4255207 h 4534608"/>
              <a:gd name="connsiteX494" fmla="*/ 938501 w 12191999"/>
              <a:gd name="connsiteY494" fmla="*/ 4278087 h 4534608"/>
              <a:gd name="connsiteX495" fmla="*/ 809406 w 12191999"/>
              <a:gd name="connsiteY495" fmla="*/ 4259260 h 4534608"/>
              <a:gd name="connsiteX496" fmla="*/ 808229 w 12191999"/>
              <a:gd name="connsiteY496" fmla="*/ 4278087 h 4534608"/>
              <a:gd name="connsiteX497" fmla="*/ 678607 w 12191999"/>
              <a:gd name="connsiteY497" fmla="*/ 4262921 h 4534608"/>
              <a:gd name="connsiteX498" fmla="*/ 677953 w 12191999"/>
              <a:gd name="connsiteY498" fmla="*/ 4278087 h 4534608"/>
              <a:gd name="connsiteX499" fmla="*/ 548070 w 12191999"/>
              <a:gd name="connsiteY499" fmla="*/ 4266321 h 4534608"/>
              <a:gd name="connsiteX500" fmla="*/ 547546 w 12191999"/>
              <a:gd name="connsiteY500" fmla="*/ 4278087 h 4534608"/>
              <a:gd name="connsiteX501" fmla="*/ 417403 w 12191999"/>
              <a:gd name="connsiteY501" fmla="*/ 4269589 h 4534608"/>
              <a:gd name="connsiteX502" fmla="*/ 417271 w 12191999"/>
              <a:gd name="connsiteY502" fmla="*/ 4278087 h 4534608"/>
              <a:gd name="connsiteX503" fmla="*/ 286996 w 12191999"/>
              <a:gd name="connsiteY503" fmla="*/ 4272596 h 4534608"/>
              <a:gd name="connsiteX504" fmla="*/ 286996 w 12191999"/>
              <a:gd name="connsiteY504" fmla="*/ 4278087 h 4534608"/>
              <a:gd name="connsiteX505" fmla="*/ 156594 w 12191999"/>
              <a:gd name="connsiteY505" fmla="*/ 4275342 h 4534608"/>
              <a:gd name="connsiteX506" fmla="*/ 156594 w 12191999"/>
              <a:gd name="connsiteY506" fmla="*/ 4278087 h 4534608"/>
              <a:gd name="connsiteX507" fmla="*/ 0 w 12191999"/>
              <a:gd name="connsiteY507" fmla="*/ 4278087 h 4534608"/>
              <a:gd name="connsiteX508" fmla="*/ 4767106 w 12191999"/>
              <a:gd name="connsiteY508" fmla="*/ 3819311 h 4534608"/>
              <a:gd name="connsiteX509" fmla="*/ 4825444 w 12191999"/>
              <a:gd name="connsiteY509" fmla="*/ 3845461 h 4534608"/>
              <a:gd name="connsiteX510" fmla="*/ 4782541 w 12191999"/>
              <a:gd name="connsiteY510" fmla="*/ 4021574 h 4534608"/>
              <a:gd name="connsiteX511" fmla="*/ 4724205 w 12191999"/>
              <a:gd name="connsiteY511" fmla="*/ 3995425 h 4534608"/>
              <a:gd name="connsiteX512" fmla="*/ 4194332 w 12191999"/>
              <a:gd name="connsiteY512" fmla="*/ 3819304 h 4534608"/>
              <a:gd name="connsiteX513" fmla="*/ 4196426 w 12191999"/>
              <a:gd name="connsiteY513" fmla="*/ 3819304 h 4534608"/>
              <a:gd name="connsiteX514" fmla="*/ 4261296 w 12191999"/>
              <a:gd name="connsiteY514" fmla="*/ 3819304 h 4534608"/>
              <a:gd name="connsiteX515" fmla="*/ 4263390 w 12191999"/>
              <a:gd name="connsiteY515" fmla="*/ 3819304 h 4534608"/>
              <a:gd name="connsiteX516" fmla="*/ 4263390 w 12191999"/>
              <a:gd name="connsiteY516" fmla="*/ 4021437 h 4534608"/>
              <a:gd name="connsiteX517" fmla="*/ 4261296 w 12191999"/>
              <a:gd name="connsiteY517" fmla="*/ 4021437 h 4534608"/>
              <a:gd name="connsiteX518" fmla="*/ 4196426 w 12191999"/>
              <a:gd name="connsiteY518" fmla="*/ 4021437 h 4534608"/>
              <a:gd name="connsiteX519" fmla="*/ 4194332 w 12191999"/>
              <a:gd name="connsiteY519" fmla="*/ 4021437 h 4534608"/>
              <a:gd name="connsiteX520" fmla="*/ 6055850 w 12191999"/>
              <a:gd name="connsiteY520" fmla="*/ 3819301 h 4534608"/>
              <a:gd name="connsiteX521" fmla="*/ 6092081 w 12191999"/>
              <a:gd name="connsiteY521" fmla="*/ 3898402 h 4534608"/>
              <a:gd name="connsiteX522" fmla="*/ 6199073 w 12191999"/>
              <a:gd name="connsiteY522" fmla="*/ 3819301 h 4534608"/>
              <a:gd name="connsiteX523" fmla="*/ 6228764 w 12191999"/>
              <a:gd name="connsiteY523" fmla="*/ 3893041 h 4534608"/>
              <a:gd name="connsiteX524" fmla="*/ 6342298 w 12191999"/>
              <a:gd name="connsiteY524" fmla="*/ 3819301 h 4534608"/>
              <a:gd name="connsiteX525" fmla="*/ 6366234 w 12191999"/>
              <a:gd name="connsiteY525" fmla="*/ 3887288 h 4534608"/>
              <a:gd name="connsiteX526" fmla="*/ 6485523 w 12191999"/>
              <a:gd name="connsiteY526" fmla="*/ 3819301 h 4534608"/>
              <a:gd name="connsiteX527" fmla="*/ 6504750 w 12191999"/>
              <a:gd name="connsiteY527" fmla="*/ 3881405 h 4534608"/>
              <a:gd name="connsiteX528" fmla="*/ 6628616 w 12191999"/>
              <a:gd name="connsiteY528" fmla="*/ 3819301 h 4534608"/>
              <a:gd name="connsiteX529" fmla="*/ 6644051 w 12191999"/>
              <a:gd name="connsiteY529" fmla="*/ 3875522 h 4534608"/>
              <a:gd name="connsiteX530" fmla="*/ 6771840 w 12191999"/>
              <a:gd name="connsiteY530" fmla="*/ 3819301 h 4534608"/>
              <a:gd name="connsiteX531" fmla="*/ 6783874 w 12191999"/>
              <a:gd name="connsiteY531" fmla="*/ 3869769 h 4534608"/>
              <a:gd name="connsiteX532" fmla="*/ 6915065 w 12191999"/>
              <a:gd name="connsiteY532" fmla="*/ 3819301 h 4534608"/>
              <a:gd name="connsiteX533" fmla="*/ 6924482 w 12191999"/>
              <a:gd name="connsiteY533" fmla="*/ 3864146 h 4534608"/>
              <a:gd name="connsiteX534" fmla="*/ 7058289 w 12191999"/>
              <a:gd name="connsiteY534" fmla="*/ 3819301 h 4534608"/>
              <a:gd name="connsiteX535" fmla="*/ 7065483 w 12191999"/>
              <a:gd name="connsiteY535" fmla="*/ 3858787 h 4534608"/>
              <a:gd name="connsiteX536" fmla="*/ 7201513 w 12191999"/>
              <a:gd name="connsiteY536" fmla="*/ 3819301 h 4534608"/>
              <a:gd name="connsiteX537" fmla="*/ 7206876 w 12191999"/>
              <a:gd name="connsiteY537" fmla="*/ 3853688 h 4534608"/>
              <a:gd name="connsiteX538" fmla="*/ 7344606 w 12191999"/>
              <a:gd name="connsiteY538" fmla="*/ 3819301 h 4534608"/>
              <a:gd name="connsiteX539" fmla="*/ 7348662 w 12191999"/>
              <a:gd name="connsiteY539" fmla="*/ 3848850 h 4534608"/>
              <a:gd name="connsiteX540" fmla="*/ 7487831 w 12191999"/>
              <a:gd name="connsiteY540" fmla="*/ 3819301 h 4534608"/>
              <a:gd name="connsiteX541" fmla="*/ 7490708 w 12191999"/>
              <a:gd name="connsiteY541" fmla="*/ 3844273 h 4534608"/>
              <a:gd name="connsiteX542" fmla="*/ 7631056 w 12191999"/>
              <a:gd name="connsiteY542" fmla="*/ 3819301 h 4534608"/>
              <a:gd name="connsiteX543" fmla="*/ 7633018 w 12191999"/>
              <a:gd name="connsiteY543" fmla="*/ 3839959 h 4534608"/>
              <a:gd name="connsiteX544" fmla="*/ 7774281 w 12191999"/>
              <a:gd name="connsiteY544" fmla="*/ 3819301 h 4534608"/>
              <a:gd name="connsiteX545" fmla="*/ 7775587 w 12191999"/>
              <a:gd name="connsiteY545" fmla="*/ 3835906 h 4534608"/>
              <a:gd name="connsiteX546" fmla="*/ 7917504 w 12191999"/>
              <a:gd name="connsiteY546" fmla="*/ 3819301 h 4534608"/>
              <a:gd name="connsiteX547" fmla="*/ 7918289 w 12191999"/>
              <a:gd name="connsiteY547" fmla="*/ 3832115 h 4534608"/>
              <a:gd name="connsiteX548" fmla="*/ 8060597 w 12191999"/>
              <a:gd name="connsiteY548" fmla="*/ 3819301 h 4534608"/>
              <a:gd name="connsiteX549" fmla="*/ 8061122 w 12191999"/>
              <a:gd name="connsiteY549" fmla="*/ 3828714 h 4534608"/>
              <a:gd name="connsiteX550" fmla="*/ 8203822 w 12191999"/>
              <a:gd name="connsiteY550" fmla="*/ 3819301 h 4534608"/>
              <a:gd name="connsiteX551" fmla="*/ 8204084 w 12191999"/>
              <a:gd name="connsiteY551" fmla="*/ 3825185 h 4534608"/>
              <a:gd name="connsiteX552" fmla="*/ 8213109 w 12191999"/>
              <a:gd name="connsiteY552" fmla="*/ 3824924 h 4534608"/>
              <a:gd name="connsiteX553" fmla="*/ 8301005 w 12191999"/>
              <a:gd name="connsiteY553" fmla="*/ 3821262 h 4534608"/>
              <a:gd name="connsiteX554" fmla="*/ 8301005 w 12191999"/>
              <a:gd name="connsiteY554" fmla="*/ 3819301 h 4534608"/>
              <a:gd name="connsiteX555" fmla="*/ 12189515 w 12191999"/>
              <a:gd name="connsiteY555" fmla="*/ 3819301 h 4534608"/>
              <a:gd name="connsiteX556" fmla="*/ 12189515 w 12191999"/>
              <a:gd name="connsiteY556" fmla="*/ 4021564 h 4534608"/>
              <a:gd name="connsiteX557" fmla="*/ 8301005 w 12191999"/>
              <a:gd name="connsiteY557" fmla="*/ 4021564 h 4534608"/>
              <a:gd name="connsiteX558" fmla="*/ 8301005 w 12191999"/>
              <a:gd name="connsiteY558" fmla="*/ 4018950 h 4534608"/>
              <a:gd name="connsiteX559" fmla="*/ 8170730 w 12191999"/>
              <a:gd name="connsiteY559" fmla="*/ 4021564 h 4534608"/>
              <a:gd name="connsiteX560" fmla="*/ 8170599 w 12191999"/>
              <a:gd name="connsiteY560" fmla="*/ 4016074 h 4534608"/>
              <a:gd name="connsiteX561" fmla="*/ 8040324 w 12191999"/>
              <a:gd name="connsiteY561" fmla="*/ 4021564 h 4534608"/>
              <a:gd name="connsiteX562" fmla="*/ 8040194 w 12191999"/>
              <a:gd name="connsiteY562" fmla="*/ 4013066 h 4534608"/>
              <a:gd name="connsiteX563" fmla="*/ 7910049 w 12191999"/>
              <a:gd name="connsiteY563" fmla="*/ 4021564 h 4534608"/>
              <a:gd name="connsiteX564" fmla="*/ 7909656 w 12191999"/>
              <a:gd name="connsiteY564" fmla="*/ 4009798 h 4534608"/>
              <a:gd name="connsiteX565" fmla="*/ 7779774 w 12191999"/>
              <a:gd name="connsiteY565" fmla="*/ 4021564 h 4534608"/>
              <a:gd name="connsiteX566" fmla="*/ 7778989 w 12191999"/>
              <a:gd name="connsiteY566" fmla="*/ 4006398 h 4534608"/>
              <a:gd name="connsiteX567" fmla="*/ 7649499 w 12191999"/>
              <a:gd name="connsiteY567" fmla="*/ 4021564 h 4534608"/>
              <a:gd name="connsiteX568" fmla="*/ 7648191 w 12191999"/>
              <a:gd name="connsiteY568" fmla="*/ 4002737 h 4534608"/>
              <a:gd name="connsiteX569" fmla="*/ 7519093 w 12191999"/>
              <a:gd name="connsiteY569" fmla="*/ 4021564 h 4534608"/>
              <a:gd name="connsiteX570" fmla="*/ 7517261 w 12191999"/>
              <a:gd name="connsiteY570" fmla="*/ 3998683 h 4534608"/>
              <a:gd name="connsiteX571" fmla="*/ 7388816 w 12191999"/>
              <a:gd name="connsiteY571" fmla="*/ 4021564 h 4534608"/>
              <a:gd name="connsiteX572" fmla="*/ 7386200 w 12191999"/>
              <a:gd name="connsiteY572" fmla="*/ 3994501 h 4534608"/>
              <a:gd name="connsiteX573" fmla="*/ 7258541 w 12191999"/>
              <a:gd name="connsiteY573" fmla="*/ 4021564 h 4534608"/>
              <a:gd name="connsiteX574" fmla="*/ 7254880 w 12191999"/>
              <a:gd name="connsiteY574" fmla="*/ 3990055 h 4534608"/>
              <a:gd name="connsiteX575" fmla="*/ 7128135 w 12191999"/>
              <a:gd name="connsiteY575" fmla="*/ 4021564 h 4534608"/>
              <a:gd name="connsiteX576" fmla="*/ 7123296 w 12191999"/>
              <a:gd name="connsiteY576" fmla="*/ 3985217 h 4534608"/>
              <a:gd name="connsiteX577" fmla="*/ 6997860 w 12191999"/>
              <a:gd name="connsiteY577" fmla="*/ 4021564 h 4534608"/>
              <a:gd name="connsiteX578" fmla="*/ 6991320 w 12191999"/>
              <a:gd name="connsiteY578" fmla="*/ 3980118 h 4534608"/>
              <a:gd name="connsiteX579" fmla="*/ 6867585 w 12191999"/>
              <a:gd name="connsiteY579" fmla="*/ 4021564 h 4534608"/>
              <a:gd name="connsiteX580" fmla="*/ 6859083 w 12191999"/>
              <a:gd name="connsiteY580" fmla="*/ 3974757 h 4534608"/>
              <a:gd name="connsiteX581" fmla="*/ 6737310 w 12191999"/>
              <a:gd name="connsiteY581" fmla="*/ 4021564 h 4534608"/>
              <a:gd name="connsiteX582" fmla="*/ 6726322 w 12191999"/>
              <a:gd name="connsiteY582" fmla="*/ 3969136 h 4534608"/>
              <a:gd name="connsiteX583" fmla="*/ 6606904 w 12191999"/>
              <a:gd name="connsiteY583" fmla="*/ 4021564 h 4534608"/>
              <a:gd name="connsiteX584" fmla="*/ 6593040 w 12191999"/>
              <a:gd name="connsiteY584" fmla="*/ 3963251 h 4534608"/>
              <a:gd name="connsiteX585" fmla="*/ 6476628 w 12191999"/>
              <a:gd name="connsiteY585" fmla="*/ 4021564 h 4534608"/>
              <a:gd name="connsiteX586" fmla="*/ 6459101 w 12191999"/>
              <a:gd name="connsiteY586" fmla="*/ 3957237 h 4534608"/>
              <a:gd name="connsiteX587" fmla="*/ 6346352 w 12191999"/>
              <a:gd name="connsiteY587" fmla="*/ 4021564 h 4534608"/>
              <a:gd name="connsiteX588" fmla="*/ 6324509 w 12191999"/>
              <a:gd name="connsiteY588" fmla="*/ 3951224 h 4534608"/>
              <a:gd name="connsiteX589" fmla="*/ 6215947 w 12191999"/>
              <a:gd name="connsiteY589" fmla="*/ 4021564 h 4534608"/>
              <a:gd name="connsiteX590" fmla="*/ 6189002 w 12191999"/>
              <a:gd name="connsiteY590" fmla="*/ 3945210 h 4534608"/>
              <a:gd name="connsiteX591" fmla="*/ 6085672 w 12191999"/>
              <a:gd name="connsiteY591" fmla="*/ 4021564 h 4534608"/>
              <a:gd name="connsiteX592" fmla="*/ 6052710 w 12191999"/>
              <a:gd name="connsiteY592" fmla="*/ 3939587 h 4534608"/>
              <a:gd name="connsiteX593" fmla="*/ 5955396 w 12191999"/>
              <a:gd name="connsiteY593" fmla="*/ 4021564 h 4534608"/>
              <a:gd name="connsiteX594" fmla="*/ 5916418 w 12191999"/>
              <a:gd name="connsiteY594" fmla="*/ 3936710 h 4534608"/>
              <a:gd name="connsiteX595" fmla="*/ 5912625 w 12191999"/>
              <a:gd name="connsiteY595" fmla="*/ 3819301 h 4534608"/>
              <a:gd name="connsiteX596" fmla="*/ 5953696 w 12191999"/>
              <a:gd name="connsiteY596" fmla="*/ 3897618 h 4534608"/>
              <a:gd name="connsiteX597" fmla="*/ 5825120 w 12191999"/>
              <a:gd name="connsiteY597" fmla="*/ 4021564 h 4534608"/>
              <a:gd name="connsiteX598" fmla="*/ 5784049 w 12191999"/>
              <a:gd name="connsiteY598" fmla="*/ 3943248 h 4534608"/>
              <a:gd name="connsiteX599" fmla="*/ 5769534 w 12191999"/>
              <a:gd name="connsiteY599" fmla="*/ 3819301 h 4534608"/>
              <a:gd name="connsiteX600" fmla="*/ 5812697 w 12191999"/>
              <a:gd name="connsiteY600" fmla="*/ 3891080 h 4534608"/>
              <a:gd name="connsiteX601" fmla="*/ 5694716 w 12191999"/>
              <a:gd name="connsiteY601" fmla="*/ 4021564 h 4534608"/>
              <a:gd name="connsiteX602" fmla="*/ 5651552 w 12191999"/>
              <a:gd name="connsiteY602" fmla="*/ 3949785 h 4534608"/>
              <a:gd name="connsiteX603" fmla="*/ 5626305 w 12191999"/>
              <a:gd name="connsiteY603" fmla="*/ 3819301 h 4534608"/>
              <a:gd name="connsiteX604" fmla="*/ 5671693 w 12191999"/>
              <a:gd name="connsiteY604" fmla="*/ 3884543 h 4534608"/>
              <a:gd name="connsiteX605" fmla="*/ 5564438 w 12191999"/>
              <a:gd name="connsiteY605" fmla="*/ 4021564 h 4534608"/>
              <a:gd name="connsiteX606" fmla="*/ 5519050 w 12191999"/>
              <a:gd name="connsiteY606" fmla="*/ 3956322 h 4534608"/>
              <a:gd name="connsiteX607" fmla="*/ 5483083 w 12191999"/>
              <a:gd name="connsiteY607" fmla="*/ 3819301 h 4534608"/>
              <a:gd name="connsiteX608" fmla="*/ 5530694 w 12191999"/>
              <a:gd name="connsiteY608" fmla="*/ 3878006 h 4534608"/>
              <a:gd name="connsiteX609" fmla="*/ 5434164 w 12191999"/>
              <a:gd name="connsiteY609" fmla="*/ 4021564 h 4534608"/>
              <a:gd name="connsiteX610" fmla="*/ 5386553 w 12191999"/>
              <a:gd name="connsiteY610" fmla="*/ 3962860 h 4534608"/>
              <a:gd name="connsiteX611" fmla="*/ 5339858 w 12191999"/>
              <a:gd name="connsiteY611" fmla="*/ 3819301 h 4534608"/>
              <a:gd name="connsiteX612" fmla="*/ 5389562 w 12191999"/>
              <a:gd name="connsiteY612" fmla="*/ 3871468 h 4534608"/>
              <a:gd name="connsiteX613" fmla="*/ 5303757 w 12191999"/>
              <a:gd name="connsiteY613" fmla="*/ 4021564 h 4534608"/>
              <a:gd name="connsiteX614" fmla="*/ 5254053 w 12191999"/>
              <a:gd name="connsiteY614" fmla="*/ 3969397 h 4534608"/>
              <a:gd name="connsiteX615" fmla="*/ 5196635 w 12191999"/>
              <a:gd name="connsiteY615" fmla="*/ 3819301 h 4534608"/>
              <a:gd name="connsiteX616" fmla="*/ 5248563 w 12191999"/>
              <a:gd name="connsiteY616" fmla="*/ 3865061 h 4534608"/>
              <a:gd name="connsiteX617" fmla="*/ 5173483 w 12191999"/>
              <a:gd name="connsiteY617" fmla="*/ 4021564 h 4534608"/>
              <a:gd name="connsiteX618" fmla="*/ 5121556 w 12191999"/>
              <a:gd name="connsiteY618" fmla="*/ 3975934 h 4534608"/>
              <a:gd name="connsiteX619" fmla="*/ 5053542 w 12191999"/>
              <a:gd name="connsiteY619" fmla="*/ 3819301 h 4534608"/>
              <a:gd name="connsiteX620" fmla="*/ 5107562 w 12191999"/>
              <a:gd name="connsiteY620" fmla="*/ 3858524 h 4534608"/>
              <a:gd name="connsiteX621" fmla="*/ 5043208 w 12191999"/>
              <a:gd name="connsiteY621" fmla="*/ 4021564 h 4534608"/>
              <a:gd name="connsiteX622" fmla="*/ 4989187 w 12191999"/>
              <a:gd name="connsiteY622" fmla="*/ 3982341 h 4534608"/>
              <a:gd name="connsiteX623" fmla="*/ 4910318 w 12191999"/>
              <a:gd name="connsiteY623" fmla="*/ 3819301 h 4534608"/>
              <a:gd name="connsiteX624" fmla="*/ 4966429 w 12191999"/>
              <a:gd name="connsiteY624" fmla="*/ 3851988 h 4534608"/>
              <a:gd name="connsiteX625" fmla="*/ 4912934 w 12191999"/>
              <a:gd name="connsiteY625" fmla="*/ 4021564 h 4534608"/>
              <a:gd name="connsiteX626" fmla="*/ 4856690 w 12191999"/>
              <a:gd name="connsiteY626" fmla="*/ 3988877 h 4534608"/>
              <a:gd name="connsiteX627" fmla="*/ 4623867 w 12191999"/>
              <a:gd name="connsiteY627" fmla="*/ 3819301 h 4534608"/>
              <a:gd name="connsiteX628" fmla="*/ 4684428 w 12191999"/>
              <a:gd name="connsiteY628" fmla="*/ 3838913 h 4534608"/>
              <a:gd name="connsiteX629" fmla="*/ 4652251 w 12191999"/>
              <a:gd name="connsiteY629" fmla="*/ 4021564 h 4534608"/>
              <a:gd name="connsiteX630" fmla="*/ 4591691 w 12191999"/>
              <a:gd name="connsiteY630" fmla="*/ 4001952 h 4534608"/>
              <a:gd name="connsiteX631" fmla="*/ 4480643 w 12191999"/>
              <a:gd name="connsiteY631" fmla="*/ 3819301 h 4534608"/>
              <a:gd name="connsiteX632" fmla="*/ 4543428 w 12191999"/>
              <a:gd name="connsiteY632" fmla="*/ 3832376 h 4534608"/>
              <a:gd name="connsiteX633" fmla="*/ 4521977 w 12191999"/>
              <a:gd name="connsiteY633" fmla="*/ 4021564 h 4534608"/>
              <a:gd name="connsiteX634" fmla="*/ 4459193 w 12191999"/>
              <a:gd name="connsiteY634" fmla="*/ 4008489 h 4534608"/>
              <a:gd name="connsiteX635" fmla="*/ 4337550 w 12191999"/>
              <a:gd name="connsiteY635" fmla="*/ 3819301 h 4534608"/>
              <a:gd name="connsiteX636" fmla="*/ 4402296 w 12191999"/>
              <a:gd name="connsiteY636" fmla="*/ 3825839 h 4534608"/>
              <a:gd name="connsiteX637" fmla="*/ 4391570 w 12191999"/>
              <a:gd name="connsiteY637" fmla="*/ 4021564 h 4534608"/>
              <a:gd name="connsiteX638" fmla="*/ 4326825 w 12191999"/>
              <a:gd name="connsiteY638" fmla="*/ 4015027 h 4534608"/>
              <a:gd name="connsiteX639" fmla="*/ 4120170 w 12191999"/>
              <a:gd name="connsiteY639" fmla="*/ 3819301 h 4534608"/>
              <a:gd name="connsiteX640" fmla="*/ 4130896 w 12191999"/>
              <a:gd name="connsiteY640" fmla="*/ 4015027 h 4534608"/>
              <a:gd name="connsiteX641" fmla="*/ 4066018 w 12191999"/>
              <a:gd name="connsiteY641" fmla="*/ 4021564 h 4534608"/>
              <a:gd name="connsiteX642" fmla="*/ 4055294 w 12191999"/>
              <a:gd name="connsiteY642" fmla="*/ 3825839 h 4534608"/>
              <a:gd name="connsiteX643" fmla="*/ 3976947 w 12191999"/>
              <a:gd name="connsiteY643" fmla="*/ 3819301 h 4534608"/>
              <a:gd name="connsiteX644" fmla="*/ 3998396 w 12191999"/>
              <a:gd name="connsiteY644" fmla="*/ 4008489 h 4534608"/>
              <a:gd name="connsiteX645" fmla="*/ 3935741 w 12191999"/>
              <a:gd name="connsiteY645" fmla="*/ 4021564 h 4534608"/>
              <a:gd name="connsiteX646" fmla="*/ 3914293 w 12191999"/>
              <a:gd name="connsiteY646" fmla="*/ 3832376 h 4534608"/>
              <a:gd name="connsiteX647" fmla="*/ 3833720 w 12191999"/>
              <a:gd name="connsiteY647" fmla="*/ 3819301 h 4534608"/>
              <a:gd name="connsiteX648" fmla="*/ 3865897 w 12191999"/>
              <a:gd name="connsiteY648" fmla="*/ 4001952 h 4534608"/>
              <a:gd name="connsiteX649" fmla="*/ 3805467 w 12191999"/>
              <a:gd name="connsiteY649" fmla="*/ 4021564 h 4534608"/>
              <a:gd name="connsiteX650" fmla="*/ 3773292 w 12191999"/>
              <a:gd name="connsiteY650" fmla="*/ 3838913 h 4534608"/>
              <a:gd name="connsiteX651" fmla="*/ 3690627 w 12191999"/>
              <a:gd name="connsiteY651" fmla="*/ 3819301 h 4534608"/>
              <a:gd name="connsiteX652" fmla="*/ 3733396 w 12191999"/>
              <a:gd name="connsiteY652" fmla="*/ 3995415 h 4534608"/>
              <a:gd name="connsiteX653" fmla="*/ 3675062 w 12191999"/>
              <a:gd name="connsiteY653" fmla="*/ 4021564 h 4534608"/>
              <a:gd name="connsiteX654" fmla="*/ 3632158 w 12191999"/>
              <a:gd name="connsiteY654" fmla="*/ 3845451 h 4534608"/>
              <a:gd name="connsiteX655" fmla="*/ 3547400 w 12191999"/>
              <a:gd name="connsiteY655" fmla="*/ 3819301 h 4534608"/>
              <a:gd name="connsiteX656" fmla="*/ 3601030 w 12191999"/>
              <a:gd name="connsiteY656" fmla="*/ 3988877 h 4534608"/>
              <a:gd name="connsiteX657" fmla="*/ 3544786 w 12191999"/>
              <a:gd name="connsiteY657" fmla="*/ 4021564 h 4534608"/>
              <a:gd name="connsiteX658" fmla="*/ 3491159 w 12191999"/>
              <a:gd name="connsiteY658" fmla="*/ 3851988 h 4534608"/>
              <a:gd name="connsiteX659" fmla="*/ 3404180 w 12191999"/>
              <a:gd name="connsiteY659" fmla="*/ 3819301 h 4534608"/>
              <a:gd name="connsiteX660" fmla="*/ 3468533 w 12191999"/>
              <a:gd name="connsiteY660" fmla="*/ 3982341 h 4534608"/>
              <a:gd name="connsiteX661" fmla="*/ 3414513 w 12191999"/>
              <a:gd name="connsiteY661" fmla="*/ 4021564 h 4534608"/>
              <a:gd name="connsiteX662" fmla="*/ 3350159 w 12191999"/>
              <a:gd name="connsiteY662" fmla="*/ 3858524 h 4534608"/>
              <a:gd name="connsiteX663" fmla="*/ 3260954 w 12191999"/>
              <a:gd name="connsiteY663" fmla="*/ 3819301 h 4534608"/>
              <a:gd name="connsiteX664" fmla="*/ 3336034 w 12191999"/>
              <a:gd name="connsiteY664" fmla="*/ 3975934 h 4534608"/>
              <a:gd name="connsiteX665" fmla="*/ 3284105 w 12191999"/>
              <a:gd name="connsiteY665" fmla="*/ 4021564 h 4534608"/>
              <a:gd name="connsiteX666" fmla="*/ 3209157 w 12191999"/>
              <a:gd name="connsiteY666" fmla="*/ 3865061 h 4534608"/>
              <a:gd name="connsiteX667" fmla="*/ 3117730 w 12191999"/>
              <a:gd name="connsiteY667" fmla="*/ 3819301 h 4534608"/>
              <a:gd name="connsiteX668" fmla="*/ 3203536 w 12191999"/>
              <a:gd name="connsiteY668" fmla="*/ 3969397 h 4534608"/>
              <a:gd name="connsiteX669" fmla="*/ 3153831 w 12191999"/>
              <a:gd name="connsiteY669" fmla="*/ 4021564 h 4534608"/>
              <a:gd name="connsiteX670" fmla="*/ 3068027 w 12191999"/>
              <a:gd name="connsiteY670" fmla="*/ 3871468 h 4534608"/>
              <a:gd name="connsiteX671" fmla="*/ 2974635 w 12191999"/>
              <a:gd name="connsiteY671" fmla="*/ 3819301 h 4534608"/>
              <a:gd name="connsiteX672" fmla="*/ 3071033 w 12191999"/>
              <a:gd name="connsiteY672" fmla="*/ 3962860 h 4534608"/>
              <a:gd name="connsiteX673" fmla="*/ 3023555 w 12191999"/>
              <a:gd name="connsiteY673" fmla="*/ 4021564 h 4534608"/>
              <a:gd name="connsiteX674" fmla="*/ 2927026 w 12191999"/>
              <a:gd name="connsiteY674" fmla="*/ 3878006 h 4534608"/>
              <a:gd name="connsiteX675" fmla="*/ 2831413 w 12191999"/>
              <a:gd name="connsiteY675" fmla="*/ 3819301 h 4534608"/>
              <a:gd name="connsiteX676" fmla="*/ 2938666 w 12191999"/>
              <a:gd name="connsiteY676" fmla="*/ 3956322 h 4534608"/>
              <a:gd name="connsiteX677" fmla="*/ 2893280 w 12191999"/>
              <a:gd name="connsiteY677" fmla="*/ 4021564 h 4534608"/>
              <a:gd name="connsiteX678" fmla="*/ 2786026 w 12191999"/>
              <a:gd name="connsiteY678" fmla="*/ 3884543 h 4534608"/>
              <a:gd name="connsiteX679" fmla="*/ 2688188 w 12191999"/>
              <a:gd name="connsiteY679" fmla="*/ 3819301 h 4534608"/>
              <a:gd name="connsiteX680" fmla="*/ 2806169 w 12191999"/>
              <a:gd name="connsiteY680" fmla="*/ 3949785 h 4534608"/>
              <a:gd name="connsiteX681" fmla="*/ 2762871 w 12191999"/>
              <a:gd name="connsiteY681" fmla="*/ 4021564 h 4534608"/>
              <a:gd name="connsiteX682" fmla="*/ 2645025 w 12191999"/>
              <a:gd name="connsiteY682" fmla="*/ 3891080 h 4534608"/>
              <a:gd name="connsiteX683" fmla="*/ 2544961 w 12191999"/>
              <a:gd name="connsiteY683" fmla="*/ 3819301 h 4534608"/>
              <a:gd name="connsiteX684" fmla="*/ 2673669 w 12191999"/>
              <a:gd name="connsiteY684" fmla="*/ 3943248 h 4534608"/>
              <a:gd name="connsiteX685" fmla="*/ 2632599 w 12191999"/>
              <a:gd name="connsiteY685" fmla="*/ 4021564 h 4534608"/>
              <a:gd name="connsiteX686" fmla="*/ 2503890 w 12191999"/>
              <a:gd name="connsiteY686" fmla="*/ 3897618 h 4534608"/>
              <a:gd name="connsiteX687" fmla="*/ 0 w 12191999"/>
              <a:gd name="connsiteY687" fmla="*/ 3819301 h 4534608"/>
              <a:gd name="connsiteX688" fmla="*/ 156594 w 12191999"/>
              <a:gd name="connsiteY688" fmla="*/ 3819301 h 4534608"/>
              <a:gd name="connsiteX689" fmla="*/ 156594 w 12191999"/>
              <a:gd name="connsiteY689" fmla="*/ 3821262 h 4534608"/>
              <a:gd name="connsiteX690" fmla="*/ 244621 w 12191999"/>
              <a:gd name="connsiteY690" fmla="*/ 3824924 h 4534608"/>
              <a:gd name="connsiteX691" fmla="*/ 253647 w 12191999"/>
              <a:gd name="connsiteY691" fmla="*/ 3825185 h 4534608"/>
              <a:gd name="connsiteX692" fmla="*/ 253777 w 12191999"/>
              <a:gd name="connsiteY692" fmla="*/ 3819301 h 4534608"/>
              <a:gd name="connsiteX693" fmla="*/ 396605 w 12191999"/>
              <a:gd name="connsiteY693" fmla="*/ 3828714 h 4534608"/>
              <a:gd name="connsiteX694" fmla="*/ 396998 w 12191999"/>
              <a:gd name="connsiteY694" fmla="*/ 3819301 h 4534608"/>
              <a:gd name="connsiteX695" fmla="*/ 539437 w 12191999"/>
              <a:gd name="connsiteY695" fmla="*/ 3832115 h 4534608"/>
              <a:gd name="connsiteX696" fmla="*/ 540222 w 12191999"/>
              <a:gd name="connsiteY696" fmla="*/ 3819301 h 4534608"/>
              <a:gd name="connsiteX697" fmla="*/ 682139 w 12191999"/>
              <a:gd name="connsiteY697" fmla="*/ 3835906 h 4534608"/>
              <a:gd name="connsiteX698" fmla="*/ 683447 w 12191999"/>
              <a:gd name="connsiteY698" fmla="*/ 3819301 h 4534608"/>
              <a:gd name="connsiteX699" fmla="*/ 824579 w 12191999"/>
              <a:gd name="connsiteY699" fmla="*/ 3839959 h 4534608"/>
              <a:gd name="connsiteX700" fmla="*/ 826671 w 12191999"/>
              <a:gd name="connsiteY700" fmla="*/ 3819301 h 4534608"/>
              <a:gd name="connsiteX701" fmla="*/ 966885 w 12191999"/>
              <a:gd name="connsiteY701" fmla="*/ 3844273 h 4534608"/>
              <a:gd name="connsiteX702" fmla="*/ 969762 w 12191999"/>
              <a:gd name="connsiteY702" fmla="*/ 3819301 h 4534608"/>
              <a:gd name="connsiteX703" fmla="*/ 1109062 w 12191999"/>
              <a:gd name="connsiteY703" fmla="*/ 3848850 h 4534608"/>
              <a:gd name="connsiteX704" fmla="*/ 1112981 w 12191999"/>
              <a:gd name="connsiteY704" fmla="*/ 3819301 h 4534608"/>
              <a:gd name="connsiteX705" fmla="*/ 1250844 w 12191999"/>
              <a:gd name="connsiteY705" fmla="*/ 3853688 h 4534608"/>
              <a:gd name="connsiteX706" fmla="*/ 1256206 w 12191999"/>
              <a:gd name="connsiteY706" fmla="*/ 3819301 h 4534608"/>
              <a:gd name="connsiteX707" fmla="*/ 1392235 w 12191999"/>
              <a:gd name="connsiteY707" fmla="*/ 3858787 h 4534608"/>
              <a:gd name="connsiteX708" fmla="*/ 1399430 w 12191999"/>
              <a:gd name="connsiteY708" fmla="*/ 3819301 h 4534608"/>
              <a:gd name="connsiteX709" fmla="*/ 1533237 w 12191999"/>
              <a:gd name="connsiteY709" fmla="*/ 3864146 h 4534608"/>
              <a:gd name="connsiteX710" fmla="*/ 1542654 w 12191999"/>
              <a:gd name="connsiteY710" fmla="*/ 3819301 h 4534608"/>
              <a:gd name="connsiteX711" fmla="*/ 1673714 w 12191999"/>
              <a:gd name="connsiteY711" fmla="*/ 3869769 h 4534608"/>
              <a:gd name="connsiteX712" fmla="*/ 1685747 w 12191999"/>
              <a:gd name="connsiteY712" fmla="*/ 3819301 h 4534608"/>
              <a:gd name="connsiteX713" fmla="*/ 1813669 w 12191999"/>
              <a:gd name="connsiteY713" fmla="*/ 3875522 h 4534608"/>
              <a:gd name="connsiteX714" fmla="*/ 1828972 w 12191999"/>
              <a:gd name="connsiteY714" fmla="*/ 3819301 h 4534608"/>
              <a:gd name="connsiteX715" fmla="*/ 1952969 w 12191999"/>
              <a:gd name="connsiteY715" fmla="*/ 3881405 h 4534608"/>
              <a:gd name="connsiteX716" fmla="*/ 1972197 w 12191999"/>
              <a:gd name="connsiteY716" fmla="*/ 3819301 h 4534608"/>
              <a:gd name="connsiteX717" fmla="*/ 2091354 w 12191999"/>
              <a:gd name="connsiteY717" fmla="*/ 3887288 h 4534608"/>
              <a:gd name="connsiteX718" fmla="*/ 2115422 w 12191999"/>
              <a:gd name="connsiteY718" fmla="*/ 3819301 h 4534608"/>
              <a:gd name="connsiteX719" fmla="*/ 2228955 w 12191999"/>
              <a:gd name="connsiteY719" fmla="*/ 3893041 h 4534608"/>
              <a:gd name="connsiteX720" fmla="*/ 2258513 w 12191999"/>
              <a:gd name="connsiteY720" fmla="*/ 3819301 h 4534608"/>
              <a:gd name="connsiteX721" fmla="*/ 2365509 w 12191999"/>
              <a:gd name="connsiteY721" fmla="*/ 3898402 h 4534608"/>
              <a:gd name="connsiteX722" fmla="*/ 2401740 w 12191999"/>
              <a:gd name="connsiteY722" fmla="*/ 3819301 h 4534608"/>
              <a:gd name="connsiteX723" fmla="*/ 2541172 w 12191999"/>
              <a:gd name="connsiteY723" fmla="*/ 3936710 h 4534608"/>
              <a:gd name="connsiteX724" fmla="*/ 2502324 w 12191999"/>
              <a:gd name="connsiteY724" fmla="*/ 4021564 h 4534608"/>
              <a:gd name="connsiteX725" fmla="*/ 2405010 w 12191999"/>
              <a:gd name="connsiteY725" fmla="*/ 3939587 h 4534608"/>
              <a:gd name="connsiteX726" fmla="*/ 2371916 w 12191999"/>
              <a:gd name="connsiteY726" fmla="*/ 4021564 h 4534608"/>
              <a:gd name="connsiteX727" fmla="*/ 2268586 w 12191999"/>
              <a:gd name="connsiteY727" fmla="*/ 3945210 h 4534608"/>
              <a:gd name="connsiteX728" fmla="*/ 2241639 w 12191999"/>
              <a:gd name="connsiteY728" fmla="*/ 4021564 h 4534608"/>
              <a:gd name="connsiteX729" fmla="*/ 2133210 w 12191999"/>
              <a:gd name="connsiteY729" fmla="*/ 3951224 h 4534608"/>
              <a:gd name="connsiteX730" fmla="*/ 2111367 w 12191999"/>
              <a:gd name="connsiteY730" fmla="*/ 4021564 h 4534608"/>
              <a:gd name="connsiteX731" fmla="*/ 1998618 w 12191999"/>
              <a:gd name="connsiteY731" fmla="*/ 3957237 h 4534608"/>
              <a:gd name="connsiteX732" fmla="*/ 1981091 w 12191999"/>
              <a:gd name="connsiteY732" fmla="*/ 4021564 h 4534608"/>
              <a:gd name="connsiteX733" fmla="*/ 1864680 w 12191999"/>
              <a:gd name="connsiteY733" fmla="*/ 3963251 h 4534608"/>
              <a:gd name="connsiteX734" fmla="*/ 1850685 w 12191999"/>
              <a:gd name="connsiteY734" fmla="*/ 4021564 h 4534608"/>
              <a:gd name="connsiteX735" fmla="*/ 1731396 w 12191999"/>
              <a:gd name="connsiteY735" fmla="*/ 3969136 h 4534608"/>
              <a:gd name="connsiteX736" fmla="*/ 1720409 w 12191999"/>
              <a:gd name="connsiteY736" fmla="*/ 4021564 h 4534608"/>
              <a:gd name="connsiteX737" fmla="*/ 1598636 w 12191999"/>
              <a:gd name="connsiteY737" fmla="*/ 3974757 h 4534608"/>
              <a:gd name="connsiteX738" fmla="*/ 1590135 w 12191999"/>
              <a:gd name="connsiteY738" fmla="*/ 4021564 h 4534608"/>
              <a:gd name="connsiteX739" fmla="*/ 1466268 w 12191999"/>
              <a:gd name="connsiteY739" fmla="*/ 3980118 h 4534608"/>
              <a:gd name="connsiteX740" fmla="*/ 1459729 w 12191999"/>
              <a:gd name="connsiteY740" fmla="*/ 4021564 h 4534608"/>
              <a:gd name="connsiteX741" fmla="*/ 1334423 w 12191999"/>
              <a:gd name="connsiteY741" fmla="*/ 3985217 h 4534608"/>
              <a:gd name="connsiteX742" fmla="*/ 1329452 w 12191999"/>
              <a:gd name="connsiteY742" fmla="*/ 4021564 h 4534608"/>
              <a:gd name="connsiteX743" fmla="*/ 1202840 w 12191999"/>
              <a:gd name="connsiteY743" fmla="*/ 3990055 h 4534608"/>
              <a:gd name="connsiteX744" fmla="*/ 1199177 w 12191999"/>
              <a:gd name="connsiteY744" fmla="*/ 4021564 h 4534608"/>
              <a:gd name="connsiteX745" fmla="*/ 1071392 w 12191999"/>
              <a:gd name="connsiteY745" fmla="*/ 3994501 h 4534608"/>
              <a:gd name="connsiteX746" fmla="*/ 1068907 w 12191999"/>
              <a:gd name="connsiteY746" fmla="*/ 4021564 h 4534608"/>
              <a:gd name="connsiteX747" fmla="*/ 940333 w 12191999"/>
              <a:gd name="connsiteY747" fmla="*/ 3998683 h 4534608"/>
              <a:gd name="connsiteX748" fmla="*/ 938501 w 12191999"/>
              <a:gd name="connsiteY748" fmla="*/ 4021564 h 4534608"/>
              <a:gd name="connsiteX749" fmla="*/ 809406 w 12191999"/>
              <a:gd name="connsiteY749" fmla="*/ 4002737 h 4534608"/>
              <a:gd name="connsiteX750" fmla="*/ 808229 w 12191999"/>
              <a:gd name="connsiteY750" fmla="*/ 4021564 h 4534608"/>
              <a:gd name="connsiteX751" fmla="*/ 678607 w 12191999"/>
              <a:gd name="connsiteY751" fmla="*/ 4006398 h 4534608"/>
              <a:gd name="connsiteX752" fmla="*/ 677953 w 12191999"/>
              <a:gd name="connsiteY752" fmla="*/ 4021564 h 4534608"/>
              <a:gd name="connsiteX753" fmla="*/ 548070 w 12191999"/>
              <a:gd name="connsiteY753" fmla="*/ 4009798 h 4534608"/>
              <a:gd name="connsiteX754" fmla="*/ 547546 w 12191999"/>
              <a:gd name="connsiteY754" fmla="*/ 4021564 h 4534608"/>
              <a:gd name="connsiteX755" fmla="*/ 417403 w 12191999"/>
              <a:gd name="connsiteY755" fmla="*/ 4013066 h 4534608"/>
              <a:gd name="connsiteX756" fmla="*/ 417271 w 12191999"/>
              <a:gd name="connsiteY756" fmla="*/ 4021564 h 4534608"/>
              <a:gd name="connsiteX757" fmla="*/ 286996 w 12191999"/>
              <a:gd name="connsiteY757" fmla="*/ 4016074 h 4534608"/>
              <a:gd name="connsiteX758" fmla="*/ 286996 w 12191999"/>
              <a:gd name="connsiteY758" fmla="*/ 4021564 h 4534608"/>
              <a:gd name="connsiteX759" fmla="*/ 156594 w 12191999"/>
              <a:gd name="connsiteY759" fmla="*/ 4018950 h 4534608"/>
              <a:gd name="connsiteX760" fmla="*/ 156594 w 12191999"/>
              <a:gd name="connsiteY760" fmla="*/ 4021564 h 4534608"/>
              <a:gd name="connsiteX761" fmla="*/ 0 w 12191999"/>
              <a:gd name="connsiteY761" fmla="*/ 4021564 h 4534608"/>
              <a:gd name="connsiteX762" fmla="*/ 6055850 w 12191999"/>
              <a:gd name="connsiteY762" fmla="*/ 3562783 h 4534608"/>
              <a:gd name="connsiteX763" fmla="*/ 6092081 w 12191999"/>
              <a:gd name="connsiteY763" fmla="*/ 3641754 h 4534608"/>
              <a:gd name="connsiteX764" fmla="*/ 6199073 w 12191999"/>
              <a:gd name="connsiteY764" fmla="*/ 3562783 h 4534608"/>
              <a:gd name="connsiteX765" fmla="*/ 6228764 w 12191999"/>
              <a:gd name="connsiteY765" fmla="*/ 3636523 h 4534608"/>
              <a:gd name="connsiteX766" fmla="*/ 6342298 w 12191999"/>
              <a:gd name="connsiteY766" fmla="*/ 3562783 h 4534608"/>
              <a:gd name="connsiteX767" fmla="*/ 6366234 w 12191999"/>
              <a:gd name="connsiteY767" fmla="*/ 3630770 h 4534608"/>
              <a:gd name="connsiteX768" fmla="*/ 6485523 w 12191999"/>
              <a:gd name="connsiteY768" fmla="*/ 3562783 h 4534608"/>
              <a:gd name="connsiteX769" fmla="*/ 6504750 w 12191999"/>
              <a:gd name="connsiteY769" fmla="*/ 3624887 h 4534608"/>
              <a:gd name="connsiteX770" fmla="*/ 6628616 w 12191999"/>
              <a:gd name="connsiteY770" fmla="*/ 3562783 h 4534608"/>
              <a:gd name="connsiteX771" fmla="*/ 6644051 w 12191999"/>
              <a:gd name="connsiteY771" fmla="*/ 3619004 h 4534608"/>
              <a:gd name="connsiteX772" fmla="*/ 6771840 w 12191999"/>
              <a:gd name="connsiteY772" fmla="*/ 3562783 h 4534608"/>
              <a:gd name="connsiteX773" fmla="*/ 6783874 w 12191999"/>
              <a:gd name="connsiteY773" fmla="*/ 3613251 h 4534608"/>
              <a:gd name="connsiteX774" fmla="*/ 6915065 w 12191999"/>
              <a:gd name="connsiteY774" fmla="*/ 3562783 h 4534608"/>
              <a:gd name="connsiteX775" fmla="*/ 6924482 w 12191999"/>
              <a:gd name="connsiteY775" fmla="*/ 3607628 h 4534608"/>
              <a:gd name="connsiteX776" fmla="*/ 7058289 w 12191999"/>
              <a:gd name="connsiteY776" fmla="*/ 3562783 h 4534608"/>
              <a:gd name="connsiteX777" fmla="*/ 7065483 w 12191999"/>
              <a:gd name="connsiteY777" fmla="*/ 3602269 h 4534608"/>
              <a:gd name="connsiteX778" fmla="*/ 7201513 w 12191999"/>
              <a:gd name="connsiteY778" fmla="*/ 3562783 h 4534608"/>
              <a:gd name="connsiteX779" fmla="*/ 7206876 w 12191999"/>
              <a:gd name="connsiteY779" fmla="*/ 3597170 h 4534608"/>
              <a:gd name="connsiteX780" fmla="*/ 7344606 w 12191999"/>
              <a:gd name="connsiteY780" fmla="*/ 3562783 h 4534608"/>
              <a:gd name="connsiteX781" fmla="*/ 7348662 w 12191999"/>
              <a:gd name="connsiteY781" fmla="*/ 3592332 h 4534608"/>
              <a:gd name="connsiteX782" fmla="*/ 7487831 w 12191999"/>
              <a:gd name="connsiteY782" fmla="*/ 3562783 h 4534608"/>
              <a:gd name="connsiteX783" fmla="*/ 7490708 w 12191999"/>
              <a:gd name="connsiteY783" fmla="*/ 3587755 h 4534608"/>
              <a:gd name="connsiteX784" fmla="*/ 7631056 w 12191999"/>
              <a:gd name="connsiteY784" fmla="*/ 3562783 h 4534608"/>
              <a:gd name="connsiteX785" fmla="*/ 7633018 w 12191999"/>
              <a:gd name="connsiteY785" fmla="*/ 3583441 h 4534608"/>
              <a:gd name="connsiteX786" fmla="*/ 7774281 w 12191999"/>
              <a:gd name="connsiteY786" fmla="*/ 3562783 h 4534608"/>
              <a:gd name="connsiteX787" fmla="*/ 7775587 w 12191999"/>
              <a:gd name="connsiteY787" fmla="*/ 3579388 h 4534608"/>
              <a:gd name="connsiteX788" fmla="*/ 7917504 w 12191999"/>
              <a:gd name="connsiteY788" fmla="*/ 3562783 h 4534608"/>
              <a:gd name="connsiteX789" fmla="*/ 7918289 w 12191999"/>
              <a:gd name="connsiteY789" fmla="*/ 3575727 h 4534608"/>
              <a:gd name="connsiteX790" fmla="*/ 8060597 w 12191999"/>
              <a:gd name="connsiteY790" fmla="*/ 3562783 h 4534608"/>
              <a:gd name="connsiteX791" fmla="*/ 8061122 w 12191999"/>
              <a:gd name="connsiteY791" fmla="*/ 3572196 h 4534608"/>
              <a:gd name="connsiteX792" fmla="*/ 8203822 w 12191999"/>
              <a:gd name="connsiteY792" fmla="*/ 3562783 h 4534608"/>
              <a:gd name="connsiteX793" fmla="*/ 8204084 w 12191999"/>
              <a:gd name="connsiteY793" fmla="*/ 3568667 h 4534608"/>
              <a:gd name="connsiteX794" fmla="*/ 8213109 w 12191999"/>
              <a:gd name="connsiteY794" fmla="*/ 3568406 h 4534608"/>
              <a:gd name="connsiteX795" fmla="*/ 8301005 w 12191999"/>
              <a:gd name="connsiteY795" fmla="*/ 3564744 h 4534608"/>
              <a:gd name="connsiteX796" fmla="*/ 8301005 w 12191999"/>
              <a:gd name="connsiteY796" fmla="*/ 3562783 h 4534608"/>
              <a:gd name="connsiteX797" fmla="*/ 12189515 w 12191999"/>
              <a:gd name="connsiteY797" fmla="*/ 3562783 h 4534608"/>
              <a:gd name="connsiteX798" fmla="*/ 12189515 w 12191999"/>
              <a:gd name="connsiteY798" fmla="*/ 3765046 h 4534608"/>
              <a:gd name="connsiteX799" fmla="*/ 8301005 w 12191999"/>
              <a:gd name="connsiteY799" fmla="*/ 3765046 h 4534608"/>
              <a:gd name="connsiteX800" fmla="*/ 8301005 w 12191999"/>
              <a:gd name="connsiteY800" fmla="*/ 3762432 h 4534608"/>
              <a:gd name="connsiteX801" fmla="*/ 8170730 w 12191999"/>
              <a:gd name="connsiteY801" fmla="*/ 3765046 h 4534608"/>
              <a:gd name="connsiteX802" fmla="*/ 8170599 w 12191999"/>
              <a:gd name="connsiteY802" fmla="*/ 3759556 h 4534608"/>
              <a:gd name="connsiteX803" fmla="*/ 8040324 w 12191999"/>
              <a:gd name="connsiteY803" fmla="*/ 3765046 h 4534608"/>
              <a:gd name="connsiteX804" fmla="*/ 8040194 w 12191999"/>
              <a:gd name="connsiteY804" fmla="*/ 3756548 h 4534608"/>
              <a:gd name="connsiteX805" fmla="*/ 7910049 w 12191999"/>
              <a:gd name="connsiteY805" fmla="*/ 3765046 h 4534608"/>
              <a:gd name="connsiteX806" fmla="*/ 7909656 w 12191999"/>
              <a:gd name="connsiteY806" fmla="*/ 3753280 h 4534608"/>
              <a:gd name="connsiteX807" fmla="*/ 7779774 w 12191999"/>
              <a:gd name="connsiteY807" fmla="*/ 3765046 h 4534608"/>
              <a:gd name="connsiteX808" fmla="*/ 7778989 w 12191999"/>
              <a:gd name="connsiteY808" fmla="*/ 3749880 h 4534608"/>
              <a:gd name="connsiteX809" fmla="*/ 7649499 w 12191999"/>
              <a:gd name="connsiteY809" fmla="*/ 3765046 h 4534608"/>
              <a:gd name="connsiteX810" fmla="*/ 7648191 w 12191999"/>
              <a:gd name="connsiteY810" fmla="*/ 3746219 h 4534608"/>
              <a:gd name="connsiteX811" fmla="*/ 7519093 w 12191999"/>
              <a:gd name="connsiteY811" fmla="*/ 3765046 h 4534608"/>
              <a:gd name="connsiteX812" fmla="*/ 7517261 w 12191999"/>
              <a:gd name="connsiteY812" fmla="*/ 3742165 h 4534608"/>
              <a:gd name="connsiteX813" fmla="*/ 7388816 w 12191999"/>
              <a:gd name="connsiteY813" fmla="*/ 3765046 h 4534608"/>
              <a:gd name="connsiteX814" fmla="*/ 7386200 w 12191999"/>
              <a:gd name="connsiteY814" fmla="*/ 3737982 h 4534608"/>
              <a:gd name="connsiteX815" fmla="*/ 7258541 w 12191999"/>
              <a:gd name="connsiteY815" fmla="*/ 3765046 h 4534608"/>
              <a:gd name="connsiteX816" fmla="*/ 7254880 w 12191999"/>
              <a:gd name="connsiteY816" fmla="*/ 3733537 h 4534608"/>
              <a:gd name="connsiteX817" fmla="*/ 7128135 w 12191999"/>
              <a:gd name="connsiteY817" fmla="*/ 3765046 h 4534608"/>
              <a:gd name="connsiteX818" fmla="*/ 7123296 w 12191999"/>
              <a:gd name="connsiteY818" fmla="*/ 3728699 h 4534608"/>
              <a:gd name="connsiteX819" fmla="*/ 6997860 w 12191999"/>
              <a:gd name="connsiteY819" fmla="*/ 3765046 h 4534608"/>
              <a:gd name="connsiteX820" fmla="*/ 6991320 w 12191999"/>
              <a:gd name="connsiteY820" fmla="*/ 3723600 h 4534608"/>
              <a:gd name="connsiteX821" fmla="*/ 6867585 w 12191999"/>
              <a:gd name="connsiteY821" fmla="*/ 3765046 h 4534608"/>
              <a:gd name="connsiteX822" fmla="*/ 6859083 w 12191999"/>
              <a:gd name="connsiteY822" fmla="*/ 3718239 h 4534608"/>
              <a:gd name="connsiteX823" fmla="*/ 6737310 w 12191999"/>
              <a:gd name="connsiteY823" fmla="*/ 3765046 h 4534608"/>
              <a:gd name="connsiteX824" fmla="*/ 6726322 w 12191999"/>
              <a:gd name="connsiteY824" fmla="*/ 3712618 h 4534608"/>
              <a:gd name="connsiteX825" fmla="*/ 6606904 w 12191999"/>
              <a:gd name="connsiteY825" fmla="*/ 3765046 h 4534608"/>
              <a:gd name="connsiteX826" fmla="*/ 6593040 w 12191999"/>
              <a:gd name="connsiteY826" fmla="*/ 3706733 h 4534608"/>
              <a:gd name="connsiteX827" fmla="*/ 6476628 w 12191999"/>
              <a:gd name="connsiteY827" fmla="*/ 3765046 h 4534608"/>
              <a:gd name="connsiteX828" fmla="*/ 6459101 w 12191999"/>
              <a:gd name="connsiteY828" fmla="*/ 3700719 h 4534608"/>
              <a:gd name="connsiteX829" fmla="*/ 6346352 w 12191999"/>
              <a:gd name="connsiteY829" fmla="*/ 3765046 h 4534608"/>
              <a:gd name="connsiteX830" fmla="*/ 6324509 w 12191999"/>
              <a:gd name="connsiteY830" fmla="*/ 3694706 h 4534608"/>
              <a:gd name="connsiteX831" fmla="*/ 6215947 w 12191999"/>
              <a:gd name="connsiteY831" fmla="*/ 3765046 h 4534608"/>
              <a:gd name="connsiteX832" fmla="*/ 6189002 w 12191999"/>
              <a:gd name="connsiteY832" fmla="*/ 3688692 h 4534608"/>
              <a:gd name="connsiteX833" fmla="*/ 6085672 w 12191999"/>
              <a:gd name="connsiteY833" fmla="*/ 3765046 h 4534608"/>
              <a:gd name="connsiteX834" fmla="*/ 6052710 w 12191999"/>
              <a:gd name="connsiteY834" fmla="*/ 3683069 h 4534608"/>
              <a:gd name="connsiteX835" fmla="*/ 5955396 w 12191999"/>
              <a:gd name="connsiteY835" fmla="*/ 3765046 h 4534608"/>
              <a:gd name="connsiteX836" fmla="*/ 5916418 w 12191999"/>
              <a:gd name="connsiteY836" fmla="*/ 3680192 h 4534608"/>
              <a:gd name="connsiteX837" fmla="*/ 5912625 w 12191999"/>
              <a:gd name="connsiteY837" fmla="*/ 3562783 h 4534608"/>
              <a:gd name="connsiteX838" fmla="*/ 5953696 w 12191999"/>
              <a:gd name="connsiteY838" fmla="*/ 3641100 h 4534608"/>
              <a:gd name="connsiteX839" fmla="*/ 5825120 w 12191999"/>
              <a:gd name="connsiteY839" fmla="*/ 3765046 h 4534608"/>
              <a:gd name="connsiteX840" fmla="*/ 5784049 w 12191999"/>
              <a:gd name="connsiteY840" fmla="*/ 3686730 h 4534608"/>
              <a:gd name="connsiteX841" fmla="*/ 5769534 w 12191999"/>
              <a:gd name="connsiteY841" fmla="*/ 3562783 h 4534608"/>
              <a:gd name="connsiteX842" fmla="*/ 5812697 w 12191999"/>
              <a:gd name="connsiteY842" fmla="*/ 3634562 h 4534608"/>
              <a:gd name="connsiteX843" fmla="*/ 5694716 w 12191999"/>
              <a:gd name="connsiteY843" fmla="*/ 3765046 h 4534608"/>
              <a:gd name="connsiteX844" fmla="*/ 5651552 w 12191999"/>
              <a:gd name="connsiteY844" fmla="*/ 3693267 h 4534608"/>
              <a:gd name="connsiteX845" fmla="*/ 5626305 w 12191999"/>
              <a:gd name="connsiteY845" fmla="*/ 3562783 h 4534608"/>
              <a:gd name="connsiteX846" fmla="*/ 5671693 w 12191999"/>
              <a:gd name="connsiteY846" fmla="*/ 3628025 h 4534608"/>
              <a:gd name="connsiteX847" fmla="*/ 5564438 w 12191999"/>
              <a:gd name="connsiteY847" fmla="*/ 3765046 h 4534608"/>
              <a:gd name="connsiteX848" fmla="*/ 5519050 w 12191999"/>
              <a:gd name="connsiteY848" fmla="*/ 3699804 h 4534608"/>
              <a:gd name="connsiteX849" fmla="*/ 5483083 w 12191999"/>
              <a:gd name="connsiteY849" fmla="*/ 3562783 h 4534608"/>
              <a:gd name="connsiteX850" fmla="*/ 5530694 w 12191999"/>
              <a:gd name="connsiteY850" fmla="*/ 3621488 h 4534608"/>
              <a:gd name="connsiteX851" fmla="*/ 5434164 w 12191999"/>
              <a:gd name="connsiteY851" fmla="*/ 3765046 h 4534608"/>
              <a:gd name="connsiteX852" fmla="*/ 5386553 w 12191999"/>
              <a:gd name="connsiteY852" fmla="*/ 3706342 h 4534608"/>
              <a:gd name="connsiteX853" fmla="*/ 5339858 w 12191999"/>
              <a:gd name="connsiteY853" fmla="*/ 3562783 h 4534608"/>
              <a:gd name="connsiteX854" fmla="*/ 5389562 w 12191999"/>
              <a:gd name="connsiteY854" fmla="*/ 3614950 h 4534608"/>
              <a:gd name="connsiteX855" fmla="*/ 5303757 w 12191999"/>
              <a:gd name="connsiteY855" fmla="*/ 3765046 h 4534608"/>
              <a:gd name="connsiteX856" fmla="*/ 5254053 w 12191999"/>
              <a:gd name="connsiteY856" fmla="*/ 3712879 h 4534608"/>
              <a:gd name="connsiteX857" fmla="*/ 5196635 w 12191999"/>
              <a:gd name="connsiteY857" fmla="*/ 3562783 h 4534608"/>
              <a:gd name="connsiteX858" fmla="*/ 5248563 w 12191999"/>
              <a:gd name="connsiteY858" fmla="*/ 3608543 h 4534608"/>
              <a:gd name="connsiteX859" fmla="*/ 5173483 w 12191999"/>
              <a:gd name="connsiteY859" fmla="*/ 3765046 h 4534608"/>
              <a:gd name="connsiteX860" fmla="*/ 5121556 w 12191999"/>
              <a:gd name="connsiteY860" fmla="*/ 3719416 h 4534608"/>
              <a:gd name="connsiteX861" fmla="*/ 5053542 w 12191999"/>
              <a:gd name="connsiteY861" fmla="*/ 3562783 h 4534608"/>
              <a:gd name="connsiteX862" fmla="*/ 5107562 w 12191999"/>
              <a:gd name="connsiteY862" fmla="*/ 3602006 h 4534608"/>
              <a:gd name="connsiteX863" fmla="*/ 5043208 w 12191999"/>
              <a:gd name="connsiteY863" fmla="*/ 3765046 h 4534608"/>
              <a:gd name="connsiteX864" fmla="*/ 4989187 w 12191999"/>
              <a:gd name="connsiteY864" fmla="*/ 3725823 h 4534608"/>
              <a:gd name="connsiteX865" fmla="*/ 4910318 w 12191999"/>
              <a:gd name="connsiteY865" fmla="*/ 3562783 h 4534608"/>
              <a:gd name="connsiteX866" fmla="*/ 4966429 w 12191999"/>
              <a:gd name="connsiteY866" fmla="*/ 3595470 h 4534608"/>
              <a:gd name="connsiteX867" fmla="*/ 4912934 w 12191999"/>
              <a:gd name="connsiteY867" fmla="*/ 3765046 h 4534608"/>
              <a:gd name="connsiteX868" fmla="*/ 4856690 w 12191999"/>
              <a:gd name="connsiteY868" fmla="*/ 3732359 h 4534608"/>
              <a:gd name="connsiteX869" fmla="*/ 4767091 w 12191999"/>
              <a:gd name="connsiteY869" fmla="*/ 3562783 h 4534608"/>
              <a:gd name="connsiteX870" fmla="*/ 4825429 w 12191999"/>
              <a:gd name="connsiteY870" fmla="*/ 3588933 h 4534608"/>
              <a:gd name="connsiteX871" fmla="*/ 4782526 w 12191999"/>
              <a:gd name="connsiteY871" fmla="*/ 3765046 h 4534608"/>
              <a:gd name="connsiteX872" fmla="*/ 4724190 w 12191999"/>
              <a:gd name="connsiteY872" fmla="*/ 3738897 h 4534608"/>
              <a:gd name="connsiteX873" fmla="*/ 4623867 w 12191999"/>
              <a:gd name="connsiteY873" fmla="*/ 3562783 h 4534608"/>
              <a:gd name="connsiteX874" fmla="*/ 4684428 w 12191999"/>
              <a:gd name="connsiteY874" fmla="*/ 3582395 h 4534608"/>
              <a:gd name="connsiteX875" fmla="*/ 4652251 w 12191999"/>
              <a:gd name="connsiteY875" fmla="*/ 3765046 h 4534608"/>
              <a:gd name="connsiteX876" fmla="*/ 4591691 w 12191999"/>
              <a:gd name="connsiteY876" fmla="*/ 3745434 h 4534608"/>
              <a:gd name="connsiteX877" fmla="*/ 4480643 w 12191999"/>
              <a:gd name="connsiteY877" fmla="*/ 3562783 h 4534608"/>
              <a:gd name="connsiteX878" fmla="*/ 4543428 w 12191999"/>
              <a:gd name="connsiteY878" fmla="*/ 3575858 h 4534608"/>
              <a:gd name="connsiteX879" fmla="*/ 4521977 w 12191999"/>
              <a:gd name="connsiteY879" fmla="*/ 3765046 h 4534608"/>
              <a:gd name="connsiteX880" fmla="*/ 4459193 w 12191999"/>
              <a:gd name="connsiteY880" fmla="*/ 3751971 h 4534608"/>
              <a:gd name="connsiteX881" fmla="*/ 4337550 w 12191999"/>
              <a:gd name="connsiteY881" fmla="*/ 3562783 h 4534608"/>
              <a:gd name="connsiteX882" fmla="*/ 4402296 w 12191999"/>
              <a:gd name="connsiteY882" fmla="*/ 3569321 h 4534608"/>
              <a:gd name="connsiteX883" fmla="*/ 4391570 w 12191999"/>
              <a:gd name="connsiteY883" fmla="*/ 3765046 h 4534608"/>
              <a:gd name="connsiteX884" fmla="*/ 4326825 w 12191999"/>
              <a:gd name="connsiteY884" fmla="*/ 3758509 h 4534608"/>
              <a:gd name="connsiteX885" fmla="*/ 4194332 w 12191999"/>
              <a:gd name="connsiteY885" fmla="*/ 3562783 h 4534608"/>
              <a:gd name="connsiteX886" fmla="*/ 4196426 w 12191999"/>
              <a:gd name="connsiteY886" fmla="*/ 3562783 h 4534608"/>
              <a:gd name="connsiteX887" fmla="*/ 4261296 w 12191999"/>
              <a:gd name="connsiteY887" fmla="*/ 3562783 h 4534608"/>
              <a:gd name="connsiteX888" fmla="*/ 4263390 w 12191999"/>
              <a:gd name="connsiteY888" fmla="*/ 3562783 h 4534608"/>
              <a:gd name="connsiteX889" fmla="*/ 4263390 w 12191999"/>
              <a:gd name="connsiteY889" fmla="*/ 3764916 h 4534608"/>
              <a:gd name="connsiteX890" fmla="*/ 4261296 w 12191999"/>
              <a:gd name="connsiteY890" fmla="*/ 3764916 h 4534608"/>
              <a:gd name="connsiteX891" fmla="*/ 4196426 w 12191999"/>
              <a:gd name="connsiteY891" fmla="*/ 3764916 h 4534608"/>
              <a:gd name="connsiteX892" fmla="*/ 4194332 w 12191999"/>
              <a:gd name="connsiteY892" fmla="*/ 3764916 h 4534608"/>
              <a:gd name="connsiteX893" fmla="*/ 4120170 w 12191999"/>
              <a:gd name="connsiteY893" fmla="*/ 3562783 h 4534608"/>
              <a:gd name="connsiteX894" fmla="*/ 4130896 w 12191999"/>
              <a:gd name="connsiteY894" fmla="*/ 3758509 h 4534608"/>
              <a:gd name="connsiteX895" fmla="*/ 4066018 w 12191999"/>
              <a:gd name="connsiteY895" fmla="*/ 3765046 h 4534608"/>
              <a:gd name="connsiteX896" fmla="*/ 4055294 w 12191999"/>
              <a:gd name="connsiteY896" fmla="*/ 3569321 h 4534608"/>
              <a:gd name="connsiteX897" fmla="*/ 3976947 w 12191999"/>
              <a:gd name="connsiteY897" fmla="*/ 3562783 h 4534608"/>
              <a:gd name="connsiteX898" fmla="*/ 3998396 w 12191999"/>
              <a:gd name="connsiteY898" fmla="*/ 3751971 h 4534608"/>
              <a:gd name="connsiteX899" fmla="*/ 3935741 w 12191999"/>
              <a:gd name="connsiteY899" fmla="*/ 3765046 h 4534608"/>
              <a:gd name="connsiteX900" fmla="*/ 3914293 w 12191999"/>
              <a:gd name="connsiteY900" fmla="*/ 3575858 h 4534608"/>
              <a:gd name="connsiteX901" fmla="*/ 3833720 w 12191999"/>
              <a:gd name="connsiteY901" fmla="*/ 3562783 h 4534608"/>
              <a:gd name="connsiteX902" fmla="*/ 3865897 w 12191999"/>
              <a:gd name="connsiteY902" fmla="*/ 3745434 h 4534608"/>
              <a:gd name="connsiteX903" fmla="*/ 3805467 w 12191999"/>
              <a:gd name="connsiteY903" fmla="*/ 3765046 h 4534608"/>
              <a:gd name="connsiteX904" fmla="*/ 3773292 w 12191999"/>
              <a:gd name="connsiteY904" fmla="*/ 3582395 h 4534608"/>
              <a:gd name="connsiteX905" fmla="*/ 3690629 w 12191999"/>
              <a:gd name="connsiteY905" fmla="*/ 3562783 h 4534608"/>
              <a:gd name="connsiteX906" fmla="*/ 3733396 w 12191999"/>
              <a:gd name="connsiteY906" fmla="*/ 3738897 h 4534608"/>
              <a:gd name="connsiteX907" fmla="*/ 3675062 w 12191999"/>
              <a:gd name="connsiteY907" fmla="*/ 3765046 h 4534608"/>
              <a:gd name="connsiteX908" fmla="*/ 3632158 w 12191999"/>
              <a:gd name="connsiteY908" fmla="*/ 3588933 h 4534608"/>
              <a:gd name="connsiteX909" fmla="*/ 3547400 w 12191999"/>
              <a:gd name="connsiteY909" fmla="*/ 3562783 h 4534608"/>
              <a:gd name="connsiteX910" fmla="*/ 3601030 w 12191999"/>
              <a:gd name="connsiteY910" fmla="*/ 3732359 h 4534608"/>
              <a:gd name="connsiteX911" fmla="*/ 3544786 w 12191999"/>
              <a:gd name="connsiteY911" fmla="*/ 3765046 h 4534608"/>
              <a:gd name="connsiteX912" fmla="*/ 3491159 w 12191999"/>
              <a:gd name="connsiteY912" fmla="*/ 3595470 h 4534608"/>
              <a:gd name="connsiteX913" fmla="*/ 3404180 w 12191999"/>
              <a:gd name="connsiteY913" fmla="*/ 3562783 h 4534608"/>
              <a:gd name="connsiteX914" fmla="*/ 3468533 w 12191999"/>
              <a:gd name="connsiteY914" fmla="*/ 3725823 h 4534608"/>
              <a:gd name="connsiteX915" fmla="*/ 3414513 w 12191999"/>
              <a:gd name="connsiteY915" fmla="*/ 3765046 h 4534608"/>
              <a:gd name="connsiteX916" fmla="*/ 3350159 w 12191999"/>
              <a:gd name="connsiteY916" fmla="*/ 3602006 h 4534608"/>
              <a:gd name="connsiteX917" fmla="*/ 3260954 w 12191999"/>
              <a:gd name="connsiteY917" fmla="*/ 3562783 h 4534608"/>
              <a:gd name="connsiteX918" fmla="*/ 3336034 w 12191999"/>
              <a:gd name="connsiteY918" fmla="*/ 3719416 h 4534608"/>
              <a:gd name="connsiteX919" fmla="*/ 3284105 w 12191999"/>
              <a:gd name="connsiteY919" fmla="*/ 3765046 h 4534608"/>
              <a:gd name="connsiteX920" fmla="*/ 3209157 w 12191999"/>
              <a:gd name="connsiteY920" fmla="*/ 3608543 h 4534608"/>
              <a:gd name="connsiteX921" fmla="*/ 3117730 w 12191999"/>
              <a:gd name="connsiteY921" fmla="*/ 3562783 h 4534608"/>
              <a:gd name="connsiteX922" fmla="*/ 3203536 w 12191999"/>
              <a:gd name="connsiteY922" fmla="*/ 3712879 h 4534608"/>
              <a:gd name="connsiteX923" fmla="*/ 3153831 w 12191999"/>
              <a:gd name="connsiteY923" fmla="*/ 3765046 h 4534608"/>
              <a:gd name="connsiteX924" fmla="*/ 3068027 w 12191999"/>
              <a:gd name="connsiteY924" fmla="*/ 3614950 h 4534608"/>
              <a:gd name="connsiteX925" fmla="*/ 2974635 w 12191999"/>
              <a:gd name="connsiteY925" fmla="*/ 3562783 h 4534608"/>
              <a:gd name="connsiteX926" fmla="*/ 3071033 w 12191999"/>
              <a:gd name="connsiteY926" fmla="*/ 3706342 h 4534608"/>
              <a:gd name="connsiteX927" fmla="*/ 3023555 w 12191999"/>
              <a:gd name="connsiteY927" fmla="*/ 3765046 h 4534608"/>
              <a:gd name="connsiteX928" fmla="*/ 2927026 w 12191999"/>
              <a:gd name="connsiteY928" fmla="*/ 3621488 h 4534608"/>
              <a:gd name="connsiteX929" fmla="*/ 2831413 w 12191999"/>
              <a:gd name="connsiteY929" fmla="*/ 3562783 h 4534608"/>
              <a:gd name="connsiteX930" fmla="*/ 2938666 w 12191999"/>
              <a:gd name="connsiteY930" fmla="*/ 3699804 h 4534608"/>
              <a:gd name="connsiteX931" fmla="*/ 2893280 w 12191999"/>
              <a:gd name="connsiteY931" fmla="*/ 3765046 h 4534608"/>
              <a:gd name="connsiteX932" fmla="*/ 2786026 w 12191999"/>
              <a:gd name="connsiteY932" fmla="*/ 3628025 h 4534608"/>
              <a:gd name="connsiteX933" fmla="*/ 2688188 w 12191999"/>
              <a:gd name="connsiteY933" fmla="*/ 3562783 h 4534608"/>
              <a:gd name="connsiteX934" fmla="*/ 2806169 w 12191999"/>
              <a:gd name="connsiteY934" fmla="*/ 3693267 h 4534608"/>
              <a:gd name="connsiteX935" fmla="*/ 2762871 w 12191999"/>
              <a:gd name="connsiteY935" fmla="*/ 3765046 h 4534608"/>
              <a:gd name="connsiteX936" fmla="*/ 2645025 w 12191999"/>
              <a:gd name="connsiteY936" fmla="*/ 3634562 h 4534608"/>
              <a:gd name="connsiteX937" fmla="*/ 2544961 w 12191999"/>
              <a:gd name="connsiteY937" fmla="*/ 3562783 h 4534608"/>
              <a:gd name="connsiteX938" fmla="*/ 2673669 w 12191999"/>
              <a:gd name="connsiteY938" fmla="*/ 3686730 h 4534608"/>
              <a:gd name="connsiteX939" fmla="*/ 2632599 w 12191999"/>
              <a:gd name="connsiteY939" fmla="*/ 3765046 h 4534608"/>
              <a:gd name="connsiteX940" fmla="*/ 2503890 w 12191999"/>
              <a:gd name="connsiteY940" fmla="*/ 3641100 h 4534608"/>
              <a:gd name="connsiteX941" fmla="*/ 0 w 12191999"/>
              <a:gd name="connsiteY941" fmla="*/ 3562783 h 4534608"/>
              <a:gd name="connsiteX942" fmla="*/ 156594 w 12191999"/>
              <a:gd name="connsiteY942" fmla="*/ 3562783 h 4534608"/>
              <a:gd name="connsiteX943" fmla="*/ 156594 w 12191999"/>
              <a:gd name="connsiteY943" fmla="*/ 3564744 h 4534608"/>
              <a:gd name="connsiteX944" fmla="*/ 244621 w 12191999"/>
              <a:gd name="connsiteY944" fmla="*/ 3568406 h 4534608"/>
              <a:gd name="connsiteX945" fmla="*/ 253647 w 12191999"/>
              <a:gd name="connsiteY945" fmla="*/ 3568667 h 4534608"/>
              <a:gd name="connsiteX946" fmla="*/ 253777 w 12191999"/>
              <a:gd name="connsiteY946" fmla="*/ 3562783 h 4534608"/>
              <a:gd name="connsiteX947" fmla="*/ 396605 w 12191999"/>
              <a:gd name="connsiteY947" fmla="*/ 3572196 h 4534608"/>
              <a:gd name="connsiteX948" fmla="*/ 396998 w 12191999"/>
              <a:gd name="connsiteY948" fmla="*/ 3562783 h 4534608"/>
              <a:gd name="connsiteX949" fmla="*/ 539437 w 12191999"/>
              <a:gd name="connsiteY949" fmla="*/ 3575727 h 4534608"/>
              <a:gd name="connsiteX950" fmla="*/ 540222 w 12191999"/>
              <a:gd name="connsiteY950" fmla="*/ 3562783 h 4534608"/>
              <a:gd name="connsiteX951" fmla="*/ 682139 w 12191999"/>
              <a:gd name="connsiteY951" fmla="*/ 3579388 h 4534608"/>
              <a:gd name="connsiteX952" fmla="*/ 683447 w 12191999"/>
              <a:gd name="connsiteY952" fmla="*/ 3562783 h 4534608"/>
              <a:gd name="connsiteX953" fmla="*/ 824579 w 12191999"/>
              <a:gd name="connsiteY953" fmla="*/ 3583441 h 4534608"/>
              <a:gd name="connsiteX954" fmla="*/ 826671 w 12191999"/>
              <a:gd name="connsiteY954" fmla="*/ 3562783 h 4534608"/>
              <a:gd name="connsiteX955" fmla="*/ 966885 w 12191999"/>
              <a:gd name="connsiteY955" fmla="*/ 3587755 h 4534608"/>
              <a:gd name="connsiteX956" fmla="*/ 969762 w 12191999"/>
              <a:gd name="connsiteY956" fmla="*/ 3562783 h 4534608"/>
              <a:gd name="connsiteX957" fmla="*/ 1109062 w 12191999"/>
              <a:gd name="connsiteY957" fmla="*/ 3592332 h 4534608"/>
              <a:gd name="connsiteX958" fmla="*/ 1112981 w 12191999"/>
              <a:gd name="connsiteY958" fmla="*/ 3562783 h 4534608"/>
              <a:gd name="connsiteX959" fmla="*/ 1250844 w 12191999"/>
              <a:gd name="connsiteY959" fmla="*/ 3597170 h 4534608"/>
              <a:gd name="connsiteX960" fmla="*/ 1256206 w 12191999"/>
              <a:gd name="connsiteY960" fmla="*/ 3562783 h 4534608"/>
              <a:gd name="connsiteX961" fmla="*/ 1392235 w 12191999"/>
              <a:gd name="connsiteY961" fmla="*/ 3602269 h 4534608"/>
              <a:gd name="connsiteX962" fmla="*/ 1399430 w 12191999"/>
              <a:gd name="connsiteY962" fmla="*/ 3562783 h 4534608"/>
              <a:gd name="connsiteX963" fmla="*/ 1533237 w 12191999"/>
              <a:gd name="connsiteY963" fmla="*/ 3607628 h 4534608"/>
              <a:gd name="connsiteX964" fmla="*/ 1542654 w 12191999"/>
              <a:gd name="connsiteY964" fmla="*/ 3562783 h 4534608"/>
              <a:gd name="connsiteX965" fmla="*/ 1673714 w 12191999"/>
              <a:gd name="connsiteY965" fmla="*/ 3613251 h 4534608"/>
              <a:gd name="connsiteX966" fmla="*/ 1685747 w 12191999"/>
              <a:gd name="connsiteY966" fmla="*/ 3562783 h 4534608"/>
              <a:gd name="connsiteX967" fmla="*/ 1813669 w 12191999"/>
              <a:gd name="connsiteY967" fmla="*/ 3619004 h 4534608"/>
              <a:gd name="connsiteX968" fmla="*/ 1828972 w 12191999"/>
              <a:gd name="connsiteY968" fmla="*/ 3562783 h 4534608"/>
              <a:gd name="connsiteX969" fmla="*/ 1952838 w 12191999"/>
              <a:gd name="connsiteY969" fmla="*/ 3624887 h 4534608"/>
              <a:gd name="connsiteX970" fmla="*/ 1972197 w 12191999"/>
              <a:gd name="connsiteY970" fmla="*/ 3562783 h 4534608"/>
              <a:gd name="connsiteX971" fmla="*/ 2091354 w 12191999"/>
              <a:gd name="connsiteY971" fmla="*/ 3630770 h 4534608"/>
              <a:gd name="connsiteX972" fmla="*/ 2115422 w 12191999"/>
              <a:gd name="connsiteY972" fmla="*/ 3562783 h 4534608"/>
              <a:gd name="connsiteX973" fmla="*/ 2228955 w 12191999"/>
              <a:gd name="connsiteY973" fmla="*/ 3636523 h 4534608"/>
              <a:gd name="connsiteX974" fmla="*/ 2258513 w 12191999"/>
              <a:gd name="connsiteY974" fmla="*/ 3562783 h 4534608"/>
              <a:gd name="connsiteX975" fmla="*/ 2365509 w 12191999"/>
              <a:gd name="connsiteY975" fmla="*/ 3641754 h 4534608"/>
              <a:gd name="connsiteX976" fmla="*/ 2401740 w 12191999"/>
              <a:gd name="connsiteY976" fmla="*/ 3562783 h 4534608"/>
              <a:gd name="connsiteX977" fmla="*/ 2541172 w 12191999"/>
              <a:gd name="connsiteY977" fmla="*/ 3680192 h 4534608"/>
              <a:gd name="connsiteX978" fmla="*/ 2502324 w 12191999"/>
              <a:gd name="connsiteY978" fmla="*/ 3765046 h 4534608"/>
              <a:gd name="connsiteX979" fmla="*/ 2405010 w 12191999"/>
              <a:gd name="connsiteY979" fmla="*/ 3683069 h 4534608"/>
              <a:gd name="connsiteX980" fmla="*/ 2371916 w 12191999"/>
              <a:gd name="connsiteY980" fmla="*/ 3765046 h 4534608"/>
              <a:gd name="connsiteX981" fmla="*/ 2268586 w 12191999"/>
              <a:gd name="connsiteY981" fmla="*/ 3688692 h 4534608"/>
              <a:gd name="connsiteX982" fmla="*/ 2241639 w 12191999"/>
              <a:gd name="connsiteY982" fmla="*/ 3765046 h 4534608"/>
              <a:gd name="connsiteX983" fmla="*/ 2133210 w 12191999"/>
              <a:gd name="connsiteY983" fmla="*/ 3694706 h 4534608"/>
              <a:gd name="connsiteX984" fmla="*/ 2111367 w 12191999"/>
              <a:gd name="connsiteY984" fmla="*/ 3765046 h 4534608"/>
              <a:gd name="connsiteX985" fmla="*/ 1998618 w 12191999"/>
              <a:gd name="connsiteY985" fmla="*/ 3700719 h 4534608"/>
              <a:gd name="connsiteX986" fmla="*/ 1981091 w 12191999"/>
              <a:gd name="connsiteY986" fmla="*/ 3765046 h 4534608"/>
              <a:gd name="connsiteX987" fmla="*/ 1864680 w 12191999"/>
              <a:gd name="connsiteY987" fmla="*/ 3706733 h 4534608"/>
              <a:gd name="connsiteX988" fmla="*/ 1850685 w 12191999"/>
              <a:gd name="connsiteY988" fmla="*/ 3765046 h 4534608"/>
              <a:gd name="connsiteX989" fmla="*/ 1731396 w 12191999"/>
              <a:gd name="connsiteY989" fmla="*/ 3712618 h 4534608"/>
              <a:gd name="connsiteX990" fmla="*/ 1720409 w 12191999"/>
              <a:gd name="connsiteY990" fmla="*/ 3765046 h 4534608"/>
              <a:gd name="connsiteX991" fmla="*/ 1598636 w 12191999"/>
              <a:gd name="connsiteY991" fmla="*/ 3718239 h 4534608"/>
              <a:gd name="connsiteX992" fmla="*/ 1590135 w 12191999"/>
              <a:gd name="connsiteY992" fmla="*/ 3765046 h 4534608"/>
              <a:gd name="connsiteX993" fmla="*/ 1466268 w 12191999"/>
              <a:gd name="connsiteY993" fmla="*/ 3723600 h 4534608"/>
              <a:gd name="connsiteX994" fmla="*/ 1459729 w 12191999"/>
              <a:gd name="connsiteY994" fmla="*/ 3765046 h 4534608"/>
              <a:gd name="connsiteX995" fmla="*/ 1334423 w 12191999"/>
              <a:gd name="connsiteY995" fmla="*/ 3728699 h 4534608"/>
              <a:gd name="connsiteX996" fmla="*/ 1329452 w 12191999"/>
              <a:gd name="connsiteY996" fmla="*/ 3765046 h 4534608"/>
              <a:gd name="connsiteX997" fmla="*/ 1202840 w 12191999"/>
              <a:gd name="connsiteY997" fmla="*/ 3733537 h 4534608"/>
              <a:gd name="connsiteX998" fmla="*/ 1199177 w 12191999"/>
              <a:gd name="connsiteY998" fmla="*/ 3765046 h 4534608"/>
              <a:gd name="connsiteX999" fmla="*/ 1071392 w 12191999"/>
              <a:gd name="connsiteY999" fmla="*/ 3737982 h 4534608"/>
              <a:gd name="connsiteX1000" fmla="*/ 1068907 w 12191999"/>
              <a:gd name="connsiteY1000" fmla="*/ 3765046 h 4534608"/>
              <a:gd name="connsiteX1001" fmla="*/ 940333 w 12191999"/>
              <a:gd name="connsiteY1001" fmla="*/ 3742165 h 4534608"/>
              <a:gd name="connsiteX1002" fmla="*/ 938501 w 12191999"/>
              <a:gd name="connsiteY1002" fmla="*/ 3765046 h 4534608"/>
              <a:gd name="connsiteX1003" fmla="*/ 809406 w 12191999"/>
              <a:gd name="connsiteY1003" fmla="*/ 3746219 h 4534608"/>
              <a:gd name="connsiteX1004" fmla="*/ 808229 w 12191999"/>
              <a:gd name="connsiteY1004" fmla="*/ 3765046 h 4534608"/>
              <a:gd name="connsiteX1005" fmla="*/ 678607 w 12191999"/>
              <a:gd name="connsiteY1005" fmla="*/ 3749880 h 4534608"/>
              <a:gd name="connsiteX1006" fmla="*/ 677953 w 12191999"/>
              <a:gd name="connsiteY1006" fmla="*/ 3765046 h 4534608"/>
              <a:gd name="connsiteX1007" fmla="*/ 548070 w 12191999"/>
              <a:gd name="connsiteY1007" fmla="*/ 3753280 h 4534608"/>
              <a:gd name="connsiteX1008" fmla="*/ 547546 w 12191999"/>
              <a:gd name="connsiteY1008" fmla="*/ 3765046 h 4534608"/>
              <a:gd name="connsiteX1009" fmla="*/ 417403 w 12191999"/>
              <a:gd name="connsiteY1009" fmla="*/ 3756548 h 4534608"/>
              <a:gd name="connsiteX1010" fmla="*/ 417271 w 12191999"/>
              <a:gd name="connsiteY1010" fmla="*/ 3765046 h 4534608"/>
              <a:gd name="connsiteX1011" fmla="*/ 286996 w 12191999"/>
              <a:gd name="connsiteY1011" fmla="*/ 3759556 h 4534608"/>
              <a:gd name="connsiteX1012" fmla="*/ 286996 w 12191999"/>
              <a:gd name="connsiteY1012" fmla="*/ 3765046 h 4534608"/>
              <a:gd name="connsiteX1013" fmla="*/ 156594 w 12191999"/>
              <a:gd name="connsiteY1013" fmla="*/ 3762432 h 4534608"/>
              <a:gd name="connsiteX1014" fmla="*/ 156594 w 12191999"/>
              <a:gd name="connsiteY1014" fmla="*/ 3765046 h 4534608"/>
              <a:gd name="connsiteX1015" fmla="*/ 0 w 12191999"/>
              <a:gd name="connsiteY1015" fmla="*/ 3765046 h 4534608"/>
              <a:gd name="connsiteX1016" fmla="*/ 6055850 w 12191999"/>
              <a:gd name="connsiteY1016" fmla="*/ 3306263 h 4534608"/>
              <a:gd name="connsiteX1017" fmla="*/ 6092081 w 12191999"/>
              <a:gd name="connsiteY1017" fmla="*/ 3385364 h 4534608"/>
              <a:gd name="connsiteX1018" fmla="*/ 6199073 w 12191999"/>
              <a:gd name="connsiteY1018" fmla="*/ 3306263 h 4534608"/>
              <a:gd name="connsiteX1019" fmla="*/ 6228764 w 12191999"/>
              <a:gd name="connsiteY1019" fmla="*/ 3380003 h 4534608"/>
              <a:gd name="connsiteX1020" fmla="*/ 6342298 w 12191999"/>
              <a:gd name="connsiteY1020" fmla="*/ 3306263 h 4534608"/>
              <a:gd name="connsiteX1021" fmla="*/ 6366234 w 12191999"/>
              <a:gd name="connsiteY1021" fmla="*/ 3374250 h 4534608"/>
              <a:gd name="connsiteX1022" fmla="*/ 6485523 w 12191999"/>
              <a:gd name="connsiteY1022" fmla="*/ 3306263 h 4534608"/>
              <a:gd name="connsiteX1023" fmla="*/ 6504750 w 12191999"/>
              <a:gd name="connsiteY1023" fmla="*/ 3368367 h 4534608"/>
              <a:gd name="connsiteX1024" fmla="*/ 6628616 w 12191999"/>
              <a:gd name="connsiteY1024" fmla="*/ 3306263 h 4534608"/>
              <a:gd name="connsiteX1025" fmla="*/ 6644051 w 12191999"/>
              <a:gd name="connsiteY1025" fmla="*/ 3362484 h 4534608"/>
              <a:gd name="connsiteX1026" fmla="*/ 6771840 w 12191999"/>
              <a:gd name="connsiteY1026" fmla="*/ 3306263 h 4534608"/>
              <a:gd name="connsiteX1027" fmla="*/ 6783874 w 12191999"/>
              <a:gd name="connsiteY1027" fmla="*/ 3356731 h 4534608"/>
              <a:gd name="connsiteX1028" fmla="*/ 6915065 w 12191999"/>
              <a:gd name="connsiteY1028" fmla="*/ 3306263 h 4534608"/>
              <a:gd name="connsiteX1029" fmla="*/ 6924482 w 12191999"/>
              <a:gd name="connsiteY1029" fmla="*/ 3351108 h 4534608"/>
              <a:gd name="connsiteX1030" fmla="*/ 7058289 w 12191999"/>
              <a:gd name="connsiteY1030" fmla="*/ 3306263 h 4534608"/>
              <a:gd name="connsiteX1031" fmla="*/ 7065483 w 12191999"/>
              <a:gd name="connsiteY1031" fmla="*/ 3345749 h 4534608"/>
              <a:gd name="connsiteX1032" fmla="*/ 7201513 w 12191999"/>
              <a:gd name="connsiteY1032" fmla="*/ 3306263 h 4534608"/>
              <a:gd name="connsiteX1033" fmla="*/ 7206876 w 12191999"/>
              <a:gd name="connsiteY1033" fmla="*/ 3340650 h 4534608"/>
              <a:gd name="connsiteX1034" fmla="*/ 7344606 w 12191999"/>
              <a:gd name="connsiteY1034" fmla="*/ 3306263 h 4534608"/>
              <a:gd name="connsiteX1035" fmla="*/ 7348662 w 12191999"/>
              <a:gd name="connsiteY1035" fmla="*/ 3335812 h 4534608"/>
              <a:gd name="connsiteX1036" fmla="*/ 7487831 w 12191999"/>
              <a:gd name="connsiteY1036" fmla="*/ 3306263 h 4534608"/>
              <a:gd name="connsiteX1037" fmla="*/ 7490708 w 12191999"/>
              <a:gd name="connsiteY1037" fmla="*/ 3331235 h 4534608"/>
              <a:gd name="connsiteX1038" fmla="*/ 7631056 w 12191999"/>
              <a:gd name="connsiteY1038" fmla="*/ 3306263 h 4534608"/>
              <a:gd name="connsiteX1039" fmla="*/ 7633018 w 12191999"/>
              <a:gd name="connsiteY1039" fmla="*/ 3326921 h 4534608"/>
              <a:gd name="connsiteX1040" fmla="*/ 7774281 w 12191999"/>
              <a:gd name="connsiteY1040" fmla="*/ 3306263 h 4534608"/>
              <a:gd name="connsiteX1041" fmla="*/ 7775587 w 12191999"/>
              <a:gd name="connsiteY1041" fmla="*/ 3322868 h 4534608"/>
              <a:gd name="connsiteX1042" fmla="*/ 7917504 w 12191999"/>
              <a:gd name="connsiteY1042" fmla="*/ 3306263 h 4534608"/>
              <a:gd name="connsiteX1043" fmla="*/ 7918289 w 12191999"/>
              <a:gd name="connsiteY1043" fmla="*/ 3319207 h 4534608"/>
              <a:gd name="connsiteX1044" fmla="*/ 8060597 w 12191999"/>
              <a:gd name="connsiteY1044" fmla="*/ 3306263 h 4534608"/>
              <a:gd name="connsiteX1045" fmla="*/ 8061122 w 12191999"/>
              <a:gd name="connsiteY1045" fmla="*/ 3315676 h 4534608"/>
              <a:gd name="connsiteX1046" fmla="*/ 8203822 w 12191999"/>
              <a:gd name="connsiteY1046" fmla="*/ 3306263 h 4534608"/>
              <a:gd name="connsiteX1047" fmla="*/ 8204084 w 12191999"/>
              <a:gd name="connsiteY1047" fmla="*/ 3312147 h 4534608"/>
              <a:gd name="connsiteX1048" fmla="*/ 8213109 w 12191999"/>
              <a:gd name="connsiteY1048" fmla="*/ 3311886 h 4534608"/>
              <a:gd name="connsiteX1049" fmla="*/ 8301005 w 12191999"/>
              <a:gd name="connsiteY1049" fmla="*/ 3308224 h 4534608"/>
              <a:gd name="connsiteX1050" fmla="*/ 8301005 w 12191999"/>
              <a:gd name="connsiteY1050" fmla="*/ 3306263 h 4534608"/>
              <a:gd name="connsiteX1051" fmla="*/ 12189515 w 12191999"/>
              <a:gd name="connsiteY1051" fmla="*/ 3306263 h 4534608"/>
              <a:gd name="connsiteX1052" fmla="*/ 12189515 w 12191999"/>
              <a:gd name="connsiteY1052" fmla="*/ 3508526 h 4534608"/>
              <a:gd name="connsiteX1053" fmla="*/ 8301005 w 12191999"/>
              <a:gd name="connsiteY1053" fmla="*/ 3508526 h 4534608"/>
              <a:gd name="connsiteX1054" fmla="*/ 8301005 w 12191999"/>
              <a:gd name="connsiteY1054" fmla="*/ 3505912 h 4534608"/>
              <a:gd name="connsiteX1055" fmla="*/ 8170730 w 12191999"/>
              <a:gd name="connsiteY1055" fmla="*/ 3508526 h 4534608"/>
              <a:gd name="connsiteX1056" fmla="*/ 8170599 w 12191999"/>
              <a:gd name="connsiteY1056" fmla="*/ 3503036 h 4534608"/>
              <a:gd name="connsiteX1057" fmla="*/ 8040324 w 12191999"/>
              <a:gd name="connsiteY1057" fmla="*/ 3508526 h 4534608"/>
              <a:gd name="connsiteX1058" fmla="*/ 8040194 w 12191999"/>
              <a:gd name="connsiteY1058" fmla="*/ 3500028 h 4534608"/>
              <a:gd name="connsiteX1059" fmla="*/ 7910049 w 12191999"/>
              <a:gd name="connsiteY1059" fmla="*/ 3508526 h 4534608"/>
              <a:gd name="connsiteX1060" fmla="*/ 7909656 w 12191999"/>
              <a:gd name="connsiteY1060" fmla="*/ 3496760 h 4534608"/>
              <a:gd name="connsiteX1061" fmla="*/ 7779774 w 12191999"/>
              <a:gd name="connsiteY1061" fmla="*/ 3508526 h 4534608"/>
              <a:gd name="connsiteX1062" fmla="*/ 7778989 w 12191999"/>
              <a:gd name="connsiteY1062" fmla="*/ 3493360 h 4534608"/>
              <a:gd name="connsiteX1063" fmla="*/ 7649499 w 12191999"/>
              <a:gd name="connsiteY1063" fmla="*/ 3508526 h 4534608"/>
              <a:gd name="connsiteX1064" fmla="*/ 7648191 w 12191999"/>
              <a:gd name="connsiteY1064" fmla="*/ 3489699 h 4534608"/>
              <a:gd name="connsiteX1065" fmla="*/ 7519093 w 12191999"/>
              <a:gd name="connsiteY1065" fmla="*/ 3508526 h 4534608"/>
              <a:gd name="connsiteX1066" fmla="*/ 7517261 w 12191999"/>
              <a:gd name="connsiteY1066" fmla="*/ 3485645 h 4534608"/>
              <a:gd name="connsiteX1067" fmla="*/ 7388816 w 12191999"/>
              <a:gd name="connsiteY1067" fmla="*/ 3508526 h 4534608"/>
              <a:gd name="connsiteX1068" fmla="*/ 7386200 w 12191999"/>
              <a:gd name="connsiteY1068" fmla="*/ 3481462 h 4534608"/>
              <a:gd name="connsiteX1069" fmla="*/ 7258541 w 12191999"/>
              <a:gd name="connsiteY1069" fmla="*/ 3508526 h 4534608"/>
              <a:gd name="connsiteX1070" fmla="*/ 7254880 w 12191999"/>
              <a:gd name="connsiteY1070" fmla="*/ 3477017 h 4534608"/>
              <a:gd name="connsiteX1071" fmla="*/ 7128135 w 12191999"/>
              <a:gd name="connsiteY1071" fmla="*/ 3508526 h 4534608"/>
              <a:gd name="connsiteX1072" fmla="*/ 7123296 w 12191999"/>
              <a:gd name="connsiteY1072" fmla="*/ 3472179 h 4534608"/>
              <a:gd name="connsiteX1073" fmla="*/ 6997860 w 12191999"/>
              <a:gd name="connsiteY1073" fmla="*/ 3508526 h 4534608"/>
              <a:gd name="connsiteX1074" fmla="*/ 6991320 w 12191999"/>
              <a:gd name="connsiteY1074" fmla="*/ 3467080 h 4534608"/>
              <a:gd name="connsiteX1075" fmla="*/ 6867585 w 12191999"/>
              <a:gd name="connsiteY1075" fmla="*/ 3508526 h 4534608"/>
              <a:gd name="connsiteX1076" fmla="*/ 6859083 w 12191999"/>
              <a:gd name="connsiteY1076" fmla="*/ 3461719 h 4534608"/>
              <a:gd name="connsiteX1077" fmla="*/ 6737310 w 12191999"/>
              <a:gd name="connsiteY1077" fmla="*/ 3508526 h 4534608"/>
              <a:gd name="connsiteX1078" fmla="*/ 6726322 w 12191999"/>
              <a:gd name="connsiteY1078" fmla="*/ 3456097 h 4534608"/>
              <a:gd name="connsiteX1079" fmla="*/ 6606904 w 12191999"/>
              <a:gd name="connsiteY1079" fmla="*/ 3508526 h 4534608"/>
              <a:gd name="connsiteX1080" fmla="*/ 6593040 w 12191999"/>
              <a:gd name="connsiteY1080" fmla="*/ 3450213 h 4534608"/>
              <a:gd name="connsiteX1081" fmla="*/ 6476628 w 12191999"/>
              <a:gd name="connsiteY1081" fmla="*/ 3508526 h 4534608"/>
              <a:gd name="connsiteX1082" fmla="*/ 6459101 w 12191999"/>
              <a:gd name="connsiteY1082" fmla="*/ 3444199 h 4534608"/>
              <a:gd name="connsiteX1083" fmla="*/ 6346352 w 12191999"/>
              <a:gd name="connsiteY1083" fmla="*/ 3508526 h 4534608"/>
              <a:gd name="connsiteX1084" fmla="*/ 6324509 w 12191999"/>
              <a:gd name="connsiteY1084" fmla="*/ 3438186 h 4534608"/>
              <a:gd name="connsiteX1085" fmla="*/ 6215947 w 12191999"/>
              <a:gd name="connsiteY1085" fmla="*/ 3508526 h 4534608"/>
              <a:gd name="connsiteX1086" fmla="*/ 6189002 w 12191999"/>
              <a:gd name="connsiteY1086" fmla="*/ 3432172 h 4534608"/>
              <a:gd name="connsiteX1087" fmla="*/ 6085672 w 12191999"/>
              <a:gd name="connsiteY1087" fmla="*/ 3508526 h 4534608"/>
              <a:gd name="connsiteX1088" fmla="*/ 6052710 w 12191999"/>
              <a:gd name="connsiteY1088" fmla="*/ 3426549 h 4534608"/>
              <a:gd name="connsiteX1089" fmla="*/ 5955396 w 12191999"/>
              <a:gd name="connsiteY1089" fmla="*/ 3508526 h 4534608"/>
              <a:gd name="connsiteX1090" fmla="*/ 5916418 w 12191999"/>
              <a:gd name="connsiteY1090" fmla="*/ 3423672 h 4534608"/>
              <a:gd name="connsiteX1091" fmla="*/ 5912625 w 12191999"/>
              <a:gd name="connsiteY1091" fmla="*/ 3306263 h 4534608"/>
              <a:gd name="connsiteX1092" fmla="*/ 5953696 w 12191999"/>
              <a:gd name="connsiteY1092" fmla="*/ 3384580 h 4534608"/>
              <a:gd name="connsiteX1093" fmla="*/ 5825120 w 12191999"/>
              <a:gd name="connsiteY1093" fmla="*/ 3508526 h 4534608"/>
              <a:gd name="connsiteX1094" fmla="*/ 5784049 w 12191999"/>
              <a:gd name="connsiteY1094" fmla="*/ 3430210 h 4534608"/>
              <a:gd name="connsiteX1095" fmla="*/ 5769534 w 12191999"/>
              <a:gd name="connsiteY1095" fmla="*/ 3306263 h 4534608"/>
              <a:gd name="connsiteX1096" fmla="*/ 5812697 w 12191999"/>
              <a:gd name="connsiteY1096" fmla="*/ 3378042 h 4534608"/>
              <a:gd name="connsiteX1097" fmla="*/ 5694716 w 12191999"/>
              <a:gd name="connsiteY1097" fmla="*/ 3508526 h 4534608"/>
              <a:gd name="connsiteX1098" fmla="*/ 5651552 w 12191999"/>
              <a:gd name="connsiteY1098" fmla="*/ 3436747 h 4534608"/>
              <a:gd name="connsiteX1099" fmla="*/ 5626305 w 12191999"/>
              <a:gd name="connsiteY1099" fmla="*/ 3306263 h 4534608"/>
              <a:gd name="connsiteX1100" fmla="*/ 5671693 w 12191999"/>
              <a:gd name="connsiteY1100" fmla="*/ 3371505 h 4534608"/>
              <a:gd name="connsiteX1101" fmla="*/ 5564438 w 12191999"/>
              <a:gd name="connsiteY1101" fmla="*/ 3508526 h 4534608"/>
              <a:gd name="connsiteX1102" fmla="*/ 5519050 w 12191999"/>
              <a:gd name="connsiteY1102" fmla="*/ 3443284 h 4534608"/>
              <a:gd name="connsiteX1103" fmla="*/ 5483083 w 12191999"/>
              <a:gd name="connsiteY1103" fmla="*/ 3306263 h 4534608"/>
              <a:gd name="connsiteX1104" fmla="*/ 5530694 w 12191999"/>
              <a:gd name="connsiteY1104" fmla="*/ 3364968 h 4534608"/>
              <a:gd name="connsiteX1105" fmla="*/ 5434164 w 12191999"/>
              <a:gd name="connsiteY1105" fmla="*/ 3508526 h 4534608"/>
              <a:gd name="connsiteX1106" fmla="*/ 5386553 w 12191999"/>
              <a:gd name="connsiteY1106" fmla="*/ 3449822 h 4534608"/>
              <a:gd name="connsiteX1107" fmla="*/ 5339858 w 12191999"/>
              <a:gd name="connsiteY1107" fmla="*/ 3306263 h 4534608"/>
              <a:gd name="connsiteX1108" fmla="*/ 5389562 w 12191999"/>
              <a:gd name="connsiteY1108" fmla="*/ 3358430 h 4534608"/>
              <a:gd name="connsiteX1109" fmla="*/ 5303757 w 12191999"/>
              <a:gd name="connsiteY1109" fmla="*/ 3508526 h 4534608"/>
              <a:gd name="connsiteX1110" fmla="*/ 5254053 w 12191999"/>
              <a:gd name="connsiteY1110" fmla="*/ 3456359 h 4534608"/>
              <a:gd name="connsiteX1111" fmla="*/ 5196635 w 12191999"/>
              <a:gd name="connsiteY1111" fmla="*/ 3306263 h 4534608"/>
              <a:gd name="connsiteX1112" fmla="*/ 5248563 w 12191999"/>
              <a:gd name="connsiteY1112" fmla="*/ 3352023 h 4534608"/>
              <a:gd name="connsiteX1113" fmla="*/ 5173483 w 12191999"/>
              <a:gd name="connsiteY1113" fmla="*/ 3508526 h 4534608"/>
              <a:gd name="connsiteX1114" fmla="*/ 5121556 w 12191999"/>
              <a:gd name="connsiteY1114" fmla="*/ 3462896 h 4534608"/>
              <a:gd name="connsiteX1115" fmla="*/ 5053542 w 12191999"/>
              <a:gd name="connsiteY1115" fmla="*/ 3306263 h 4534608"/>
              <a:gd name="connsiteX1116" fmla="*/ 5107562 w 12191999"/>
              <a:gd name="connsiteY1116" fmla="*/ 3345486 h 4534608"/>
              <a:gd name="connsiteX1117" fmla="*/ 5043208 w 12191999"/>
              <a:gd name="connsiteY1117" fmla="*/ 3508526 h 4534608"/>
              <a:gd name="connsiteX1118" fmla="*/ 4989187 w 12191999"/>
              <a:gd name="connsiteY1118" fmla="*/ 3469303 h 4534608"/>
              <a:gd name="connsiteX1119" fmla="*/ 4910318 w 12191999"/>
              <a:gd name="connsiteY1119" fmla="*/ 3306263 h 4534608"/>
              <a:gd name="connsiteX1120" fmla="*/ 4966429 w 12191999"/>
              <a:gd name="connsiteY1120" fmla="*/ 3338950 h 4534608"/>
              <a:gd name="connsiteX1121" fmla="*/ 4912934 w 12191999"/>
              <a:gd name="connsiteY1121" fmla="*/ 3508526 h 4534608"/>
              <a:gd name="connsiteX1122" fmla="*/ 4856690 w 12191999"/>
              <a:gd name="connsiteY1122" fmla="*/ 3475839 h 4534608"/>
              <a:gd name="connsiteX1123" fmla="*/ 4767091 w 12191999"/>
              <a:gd name="connsiteY1123" fmla="*/ 3306263 h 4534608"/>
              <a:gd name="connsiteX1124" fmla="*/ 4825429 w 12191999"/>
              <a:gd name="connsiteY1124" fmla="*/ 3332413 h 4534608"/>
              <a:gd name="connsiteX1125" fmla="*/ 4782526 w 12191999"/>
              <a:gd name="connsiteY1125" fmla="*/ 3508526 h 4534608"/>
              <a:gd name="connsiteX1126" fmla="*/ 4724190 w 12191999"/>
              <a:gd name="connsiteY1126" fmla="*/ 3482377 h 4534608"/>
              <a:gd name="connsiteX1127" fmla="*/ 4623872 w 12191999"/>
              <a:gd name="connsiteY1127" fmla="*/ 3306263 h 4534608"/>
              <a:gd name="connsiteX1128" fmla="*/ 4684433 w 12191999"/>
              <a:gd name="connsiteY1128" fmla="*/ 3325875 h 4534608"/>
              <a:gd name="connsiteX1129" fmla="*/ 4652256 w 12191999"/>
              <a:gd name="connsiteY1129" fmla="*/ 3508526 h 4534608"/>
              <a:gd name="connsiteX1130" fmla="*/ 4591696 w 12191999"/>
              <a:gd name="connsiteY1130" fmla="*/ 3488914 h 4534608"/>
              <a:gd name="connsiteX1131" fmla="*/ 4480643 w 12191999"/>
              <a:gd name="connsiteY1131" fmla="*/ 3306263 h 4534608"/>
              <a:gd name="connsiteX1132" fmla="*/ 4543428 w 12191999"/>
              <a:gd name="connsiteY1132" fmla="*/ 3319338 h 4534608"/>
              <a:gd name="connsiteX1133" fmla="*/ 4521977 w 12191999"/>
              <a:gd name="connsiteY1133" fmla="*/ 3508526 h 4534608"/>
              <a:gd name="connsiteX1134" fmla="*/ 4459193 w 12191999"/>
              <a:gd name="connsiteY1134" fmla="*/ 3495451 h 4534608"/>
              <a:gd name="connsiteX1135" fmla="*/ 4337550 w 12191999"/>
              <a:gd name="connsiteY1135" fmla="*/ 3306263 h 4534608"/>
              <a:gd name="connsiteX1136" fmla="*/ 4402296 w 12191999"/>
              <a:gd name="connsiteY1136" fmla="*/ 3312801 h 4534608"/>
              <a:gd name="connsiteX1137" fmla="*/ 4391570 w 12191999"/>
              <a:gd name="connsiteY1137" fmla="*/ 3508526 h 4534608"/>
              <a:gd name="connsiteX1138" fmla="*/ 4326825 w 12191999"/>
              <a:gd name="connsiteY1138" fmla="*/ 3501989 h 4534608"/>
              <a:gd name="connsiteX1139" fmla="*/ 4194332 w 12191999"/>
              <a:gd name="connsiteY1139" fmla="*/ 3306263 h 4534608"/>
              <a:gd name="connsiteX1140" fmla="*/ 4196426 w 12191999"/>
              <a:gd name="connsiteY1140" fmla="*/ 3306263 h 4534608"/>
              <a:gd name="connsiteX1141" fmla="*/ 4261296 w 12191999"/>
              <a:gd name="connsiteY1141" fmla="*/ 3306263 h 4534608"/>
              <a:gd name="connsiteX1142" fmla="*/ 4263390 w 12191999"/>
              <a:gd name="connsiteY1142" fmla="*/ 3306263 h 4534608"/>
              <a:gd name="connsiteX1143" fmla="*/ 4263390 w 12191999"/>
              <a:gd name="connsiteY1143" fmla="*/ 3508396 h 4534608"/>
              <a:gd name="connsiteX1144" fmla="*/ 4261296 w 12191999"/>
              <a:gd name="connsiteY1144" fmla="*/ 3508396 h 4534608"/>
              <a:gd name="connsiteX1145" fmla="*/ 4196426 w 12191999"/>
              <a:gd name="connsiteY1145" fmla="*/ 3508396 h 4534608"/>
              <a:gd name="connsiteX1146" fmla="*/ 4194332 w 12191999"/>
              <a:gd name="connsiteY1146" fmla="*/ 3508396 h 4534608"/>
              <a:gd name="connsiteX1147" fmla="*/ 4120170 w 12191999"/>
              <a:gd name="connsiteY1147" fmla="*/ 3306263 h 4534608"/>
              <a:gd name="connsiteX1148" fmla="*/ 4130896 w 12191999"/>
              <a:gd name="connsiteY1148" fmla="*/ 3501989 h 4534608"/>
              <a:gd name="connsiteX1149" fmla="*/ 4066018 w 12191999"/>
              <a:gd name="connsiteY1149" fmla="*/ 3508526 h 4534608"/>
              <a:gd name="connsiteX1150" fmla="*/ 4055294 w 12191999"/>
              <a:gd name="connsiteY1150" fmla="*/ 3312801 h 4534608"/>
              <a:gd name="connsiteX1151" fmla="*/ 3976947 w 12191999"/>
              <a:gd name="connsiteY1151" fmla="*/ 3306263 h 4534608"/>
              <a:gd name="connsiteX1152" fmla="*/ 3998396 w 12191999"/>
              <a:gd name="connsiteY1152" fmla="*/ 3495451 h 4534608"/>
              <a:gd name="connsiteX1153" fmla="*/ 3935741 w 12191999"/>
              <a:gd name="connsiteY1153" fmla="*/ 3508526 h 4534608"/>
              <a:gd name="connsiteX1154" fmla="*/ 3914293 w 12191999"/>
              <a:gd name="connsiteY1154" fmla="*/ 3319338 h 4534608"/>
              <a:gd name="connsiteX1155" fmla="*/ 3833720 w 12191999"/>
              <a:gd name="connsiteY1155" fmla="*/ 3306263 h 4534608"/>
              <a:gd name="connsiteX1156" fmla="*/ 3865897 w 12191999"/>
              <a:gd name="connsiteY1156" fmla="*/ 3488914 h 4534608"/>
              <a:gd name="connsiteX1157" fmla="*/ 3805467 w 12191999"/>
              <a:gd name="connsiteY1157" fmla="*/ 3508526 h 4534608"/>
              <a:gd name="connsiteX1158" fmla="*/ 3773292 w 12191999"/>
              <a:gd name="connsiteY1158" fmla="*/ 3325875 h 4534608"/>
              <a:gd name="connsiteX1159" fmla="*/ 3690629 w 12191999"/>
              <a:gd name="connsiteY1159" fmla="*/ 3306263 h 4534608"/>
              <a:gd name="connsiteX1160" fmla="*/ 3733396 w 12191999"/>
              <a:gd name="connsiteY1160" fmla="*/ 3482377 h 4534608"/>
              <a:gd name="connsiteX1161" fmla="*/ 3675062 w 12191999"/>
              <a:gd name="connsiteY1161" fmla="*/ 3508526 h 4534608"/>
              <a:gd name="connsiteX1162" fmla="*/ 3632158 w 12191999"/>
              <a:gd name="connsiteY1162" fmla="*/ 3332413 h 4534608"/>
              <a:gd name="connsiteX1163" fmla="*/ 3547400 w 12191999"/>
              <a:gd name="connsiteY1163" fmla="*/ 3306263 h 4534608"/>
              <a:gd name="connsiteX1164" fmla="*/ 3601030 w 12191999"/>
              <a:gd name="connsiteY1164" fmla="*/ 3475839 h 4534608"/>
              <a:gd name="connsiteX1165" fmla="*/ 3544786 w 12191999"/>
              <a:gd name="connsiteY1165" fmla="*/ 3508526 h 4534608"/>
              <a:gd name="connsiteX1166" fmla="*/ 3491159 w 12191999"/>
              <a:gd name="connsiteY1166" fmla="*/ 3338950 h 4534608"/>
              <a:gd name="connsiteX1167" fmla="*/ 3404180 w 12191999"/>
              <a:gd name="connsiteY1167" fmla="*/ 3306263 h 4534608"/>
              <a:gd name="connsiteX1168" fmla="*/ 3468533 w 12191999"/>
              <a:gd name="connsiteY1168" fmla="*/ 3469303 h 4534608"/>
              <a:gd name="connsiteX1169" fmla="*/ 3414513 w 12191999"/>
              <a:gd name="connsiteY1169" fmla="*/ 3508526 h 4534608"/>
              <a:gd name="connsiteX1170" fmla="*/ 3350159 w 12191999"/>
              <a:gd name="connsiteY1170" fmla="*/ 3345486 h 4534608"/>
              <a:gd name="connsiteX1171" fmla="*/ 3260954 w 12191999"/>
              <a:gd name="connsiteY1171" fmla="*/ 3306263 h 4534608"/>
              <a:gd name="connsiteX1172" fmla="*/ 3336034 w 12191999"/>
              <a:gd name="connsiteY1172" fmla="*/ 3462896 h 4534608"/>
              <a:gd name="connsiteX1173" fmla="*/ 3284105 w 12191999"/>
              <a:gd name="connsiteY1173" fmla="*/ 3508526 h 4534608"/>
              <a:gd name="connsiteX1174" fmla="*/ 3209157 w 12191999"/>
              <a:gd name="connsiteY1174" fmla="*/ 3352023 h 4534608"/>
              <a:gd name="connsiteX1175" fmla="*/ 3117730 w 12191999"/>
              <a:gd name="connsiteY1175" fmla="*/ 3306263 h 4534608"/>
              <a:gd name="connsiteX1176" fmla="*/ 3203536 w 12191999"/>
              <a:gd name="connsiteY1176" fmla="*/ 3456359 h 4534608"/>
              <a:gd name="connsiteX1177" fmla="*/ 3153831 w 12191999"/>
              <a:gd name="connsiteY1177" fmla="*/ 3508526 h 4534608"/>
              <a:gd name="connsiteX1178" fmla="*/ 3068027 w 12191999"/>
              <a:gd name="connsiteY1178" fmla="*/ 3358430 h 4534608"/>
              <a:gd name="connsiteX1179" fmla="*/ 2974635 w 12191999"/>
              <a:gd name="connsiteY1179" fmla="*/ 3306263 h 4534608"/>
              <a:gd name="connsiteX1180" fmla="*/ 3071033 w 12191999"/>
              <a:gd name="connsiteY1180" fmla="*/ 3449822 h 4534608"/>
              <a:gd name="connsiteX1181" fmla="*/ 3023555 w 12191999"/>
              <a:gd name="connsiteY1181" fmla="*/ 3508526 h 4534608"/>
              <a:gd name="connsiteX1182" fmla="*/ 2927026 w 12191999"/>
              <a:gd name="connsiteY1182" fmla="*/ 3364968 h 4534608"/>
              <a:gd name="connsiteX1183" fmla="*/ 2831413 w 12191999"/>
              <a:gd name="connsiteY1183" fmla="*/ 3306263 h 4534608"/>
              <a:gd name="connsiteX1184" fmla="*/ 2938666 w 12191999"/>
              <a:gd name="connsiteY1184" fmla="*/ 3443284 h 4534608"/>
              <a:gd name="connsiteX1185" fmla="*/ 2893280 w 12191999"/>
              <a:gd name="connsiteY1185" fmla="*/ 3508526 h 4534608"/>
              <a:gd name="connsiteX1186" fmla="*/ 2786026 w 12191999"/>
              <a:gd name="connsiteY1186" fmla="*/ 3371505 h 4534608"/>
              <a:gd name="connsiteX1187" fmla="*/ 2688188 w 12191999"/>
              <a:gd name="connsiteY1187" fmla="*/ 3306263 h 4534608"/>
              <a:gd name="connsiteX1188" fmla="*/ 2806169 w 12191999"/>
              <a:gd name="connsiteY1188" fmla="*/ 3436747 h 4534608"/>
              <a:gd name="connsiteX1189" fmla="*/ 2762871 w 12191999"/>
              <a:gd name="connsiteY1189" fmla="*/ 3508526 h 4534608"/>
              <a:gd name="connsiteX1190" fmla="*/ 2645025 w 12191999"/>
              <a:gd name="connsiteY1190" fmla="*/ 3378042 h 4534608"/>
              <a:gd name="connsiteX1191" fmla="*/ 2544961 w 12191999"/>
              <a:gd name="connsiteY1191" fmla="*/ 3306263 h 4534608"/>
              <a:gd name="connsiteX1192" fmla="*/ 2673669 w 12191999"/>
              <a:gd name="connsiteY1192" fmla="*/ 3430210 h 4534608"/>
              <a:gd name="connsiteX1193" fmla="*/ 2632599 w 12191999"/>
              <a:gd name="connsiteY1193" fmla="*/ 3508526 h 4534608"/>
              <a:gd name="connsiteX1194" fmla="*/ 2503890 w 12191999"/>
              <a:gd name="connsiteY1194" fmla="*/ 3384580 h 4534608"/>
              <a:gd name="connsiteX1195" fmla="*/ 0 w 12191999"/>
              <a:gd name="connsiteY1195" fmla="*/ 3306263 h 4534608"/>
              <a:gd name="connsiteX1196" fmla="*/ 156594 w 12191999"/>
              <a:gd name="connsiteY1196" fmla="*/ 3306263 h 4534608"/>
              <a:gd name="connsiteX1197" fmla="*/ 156594 w 12191999"/>
              <a:gd name="connsiteY1197" fmla="*/ 3308224 h 4534608"/>
              <a:gd name="connsiteX1198" fmla="*/ 244621 w 12191999"/>
              <a:gd name="connsiteY1198" fmla="*/ 3311886 h 4534608"/>
              <a:gd name="connsiteX1199" fmla="*/ 253647 w 12191999"/>
              <a:gd name="connsiteY1199" fmla="*/ 3312147 h 4534608"/>
              <a:gd name="connsiteX1200" fmla="*/ 253777 w 12191999"/>
              <a:gd name="connsiteY1200" fmla="*/ 3306263 h 4534608"/>
              <a:gd name="connsiteX1201" fmla="*/ 396605 w 12191999"/>
              <a:gd name="connsiteY1201" fmla="*/ 3315676 h 4534608"/>
              <a:gd name="connsiteX1202" fmla="*/ 396998 w 12191999"/>
              <a:gd name="connsiteY1202" fmla="*/ 3306263 h 4534608"/>
              <a:gd name="connsiteX1203" fmla="*/ 539437 w 12191999"/>
              <a:gd name="connsiteY1203" fmla="*/ 3319207 h 4534608"/>
              <a:gd name="connsiteX1204" fmla="*/ 540222 w 12191999"/>
              <a:gd name="connsiteY1204" fmla="*/ 3306263 h 4534608"/>
              <a:gd name="connsiteX1205" fmla="*/ 682139 w 12191999"/>
              <a:gd name="connsiteY1205" fmla="*/ 3322868 h 4534608"/>
              <a:gd name="connsiteX1206" fmla="*/ 683447 w 12191999"/>
              <a:gd name="connsiteY1206" fmla="*/ 3306263 h 4534608"/>
              <a:gd name="connsiteX1207" fmla="*/ 824579 w 12191999"/>
              <a:gd name="connsiteY1207" fmla="*/ 3326921 h 4534608"/>
              <a:gd name="connsiteX1208" fmla="*/ 826671 w 12191999"/>
              <a:gd name="connsiteY1208" fmla="*/ 3306263 h 4534608"/>
              <a:gd name="connsiteX1209" fmla="*/ 966885 w 12191999"/>
              <a:gd name="connsiteY1209" fmla="*/ 3331235 h 4534608"/>
              <a:gd name="connsiteX1210" fmla="*/ 969762 w 12191999"/>
              <a:gd name="connsiteY1210" fmla="*/ 3306263 h 4534608"/>
              <a:gd name="connsiteX1211" fmla="*/ 1109062 w 12191999"/>
              <a:gd name="connsiteY1211" fmla="*/ 3335812 h 4534608"/>
              <a:gd name="connsiteX1212" fmla="*/ 1112981 w 12191999"/>
              <a:gd name="connsiteY1212" fmla="*/ 3306263 h 4534608"/>
              <a:gd name="connsiteX1213" fmla="*/ 1250844 w 12191999"/>
              <a:gd name="connsiteY1213" fmla="*/ 3340650 h 4534608"/>
              <a:gd name="connsiteX1214" fmla="*/ 1256206 w 12191999"/>
              <a:gd name="connsiteY1214" fmla="*/ 3306263 h 4534608"/>
              <a:gd name="connsiteX1215" fmla="*/ 1392235 w 12191999"/>
              <a:gd name="connsiteY1215" fmla="*/ 3345749 h 4534608"/>
              <a:gd name="connsiteX1216" fmla="*/ 1399430 w 12191999"/>
              <a:gd name="connsiteY1216" fmla="*/ 3306263 h 4534608"/>
              <a:gd name="connsiteX1217" fmla="*/ 1533237 w 12191999"/>
              <a:gd name="connsiteY1217" fmla="*/ 3351108 h 4534608"/>
              <a:gd name="connsiteX1218" fmla="*/ 1542654 w 12191999"/>
              <a:gd name="connsiteY1218" fmla="*/ 3306263 h 4534608"/>
              <a:gd name="connsiteX1219" fmla="*/ 1673714 w 12191999"/>
              <a:gd name="connsiteY1219" fmla="*/ 3356731 h 4534608"/>
              <a:gd name="connsiteX1220" fmla="*/ 1685747 w 12191999"/>
              <a:gd name="connsiteY1220" fmla="*/ 3306263 h 4534608"/>
              <a:gd name="connsiteX1221" fmla="*/ 1813669 w 12191999"/>
              <a:gd name="connsiteY1221" fmla="*/ 3362484 h 4534608"/>
              <a:gd name="connsiteX1222" fmla="*/ 1828972 w 12191999"/>
              <a:gd name="connsiteY1222" fmla="*/ 3306263 h 4534608"/>
              <a:gd name="connsiteX1223" fmla="*/ 1952969 w 12191999"/>
              <a:gd name="connsiteY1223" fmla="*/ 3368367 h 4534608"/>
              <a:gd name="connsiteX1224" fmla="*/ 1972197 w 12191999"/>
              <a:gd name="connsiteY1224" fmla="*/ 3306263 h 4534608"/>
              <a:gd name="connsiteX1225" fmla="*/ 2091354 w 12191999"/>
              <a:gd name="connsiteY1225" fmla="*/ 3374250 h 4534608"/>
              <a:gd name="connsiteX1226" fmla="*/ 2115422 w 12191999"/>
              <a:gd name="connsiteY1226" fmla="*/ 3306263 h 4534608"/>
              <a:gd name="connsiteX1227" fmla="*/ 2228955 w 12191999"/>
              <a:gd name="connsiteY1227" fmla="*/ 3380003 h 4534608"/>
              <a:gd name="connsiteX1228" fmla="*/ 2258513 w 12191999"/>
              <a:gd name="connsiteY1228" fmla="*/ 3306263 h 4534608"/>
              <a:gd name="connsiteX1229" fmla="*/ 2365509 w 12191999"/>
              <a:gd name="connsiteY1229" fmla="*/ 3385364 h 4534608"/>
              <a:gd name="connsiteX1230" fmla="*/ 2401740 w 12191999"/>
              <a:gd name="connsiteY1230" fmla="*/ 3306263 h 4534608"/>
              <a:gd name="connsiteX1231" fmla="*/ 2541172 w 12191999"/>
              <a:gd name="connsiteY1231" fmla="*/ 3423672 h 4534608"/>
              <a:gd name="connsiteX1232" fmla="*/ 2502324 w 12191999"/>
              <a:gd name="connsiteY1232" fmla="*/ 3508526 h 4534608"/>
              <a:gd name="connsiteX1233" fmla="*/ 2405010 w 12191999"/>
              <a:gd name="connsiteY1233" fmla="*/ 3426549 h 4534608"/>
              <a:gd name="connsiteX1234" fmla="*/ 2371916 w 12191999"/>
              <a:gd name="connsiteY1234" fmla="*/ 3508526 h 4534608"/>
              <a:gd name="connsiteX1235" fmla="*/ 2268586 w 12191999"/>
              <a:gd name="connsiteY1235" fmla="*/ 3432172 h 4534608"/>
              <a:gd name="connsiteX1236" fmla="*/ 2241639 w 12191999"/>
              <a:gd name="connsiteY1236" fmla="*/ 3508526 h 4534608"/>
              <a:gd name="connsiteX1237" fmla="*/ 2133210 w 12191999"/>
              <a:gd name="connsiteY1237" fmla="*/ 3438186 h 4534608"/>
              <a:gd name="connsiteX1238" fmla="*/ 2111367 w 12191999"/>
              <a:gd name="connsiteY1238" fmla="*/ 3508526 h 4534608"/>
              <a:gd name="connsiteX1239" fmla="*/ 1998618 w 12191999"/>
              <a:gd name="connsiteY1239" fmla="*/ 3444199 h 4534608"/>
              <a:gd name="connsiteX1240" fmla="*/ 1981091 w 12191999"/>
              <a:gd name="connsiteY1240" fmla="*/ 3508526 h 4534608"/>
              <a:gd name="connsiteX1241" fmla="*/ 1864680 w 12191999"/>
              <a:gd name="connsiteY1241" fmla="*/ 3450213 h 4534608"/>
              <a:gd name="connsiteX1242" fmla="*/ 1850685 w 12191999"/>
              <a:gd name="connsiteY1242" fmla="*/ 3508526 h 4534608"/>
              <a:gd name="connsiteX1243" fmla="*/ 1731396 w 12191999"/>
              <a:gd name="connsiteY1243" fmla="*/ 3456097 h 4534608"/>
              <a:gd name="connsiteX1244" fmla="*/ 1720409 w 12191999"/>
              <a:gd name="connsiteY1244" fmla="*/ 3508526 h 4534608"/>
              <a:gd name="connsiteX1245" fmla="*/ 1598636 w 12191999"/>
              <a:gd name="connsiteY1245" fmla="*/ 3461719 h 4534608"/>
              <a:gd name="connsiteX1246" fmla="*/ 1590135 w 12191999"/>
              <a:gd name="connsiteY1246" fmla="*/ 3508526 h 4534608"/>
              <a:gd name="connsiteX1247" fmla="*/ 1466268 w 12191999"/>
              <a:gd name="connsiteY1247" fmla="*/ 3467080 h 4534608"/>
              <a:gd name="connsiteX1248" fmla="*/ 1459729 w 12191999"/>
              <a:gd name="connsiteY1248" fmla="*/ 3508526 h 4534608"/>
              <a:gd name="connsiteX1249" fmla="*/ 1334423 w 12191999"/>
              <a:gd name="connsiteY1249" fmla="*/ 3472179 h 4534608"/>
              <a:gd name="connsiteX1250" fmla="*/ 1329452 w 12191999"/>
              <a:gd name="connsiteY1250" fmla="*/ 3508526 h 4534608"/>
              <a:gd name="connsiteX1251" fmla="*/ 1202840 w 12191999"/>
              <a:gd name="connsiteY1251" fmla="*/ 3477017 h 4534608"/>
              <a:gd name="connsiteX1252" fmla="*/ 1199177 w 12191999"/>
              <a:gd name="connsiteY1252" fmla="*/ 3508526 h 4534608"/>
              <a:gd name="connsiteX1253" fmla="*/ 1071392 w 12191999"/>
              <a:gd name="connsiteY1253" fmla="*/ 3481462 h 4534608"/>
              <a:gd name="connsiteX1254" fmla="*/ 1068907 w 12191999"/>
              <a:gd name="connsiteY1254" fmla="*/ 3508526 h 4534608"/>
              <a:gd name="connsiteX1255" fmla="*/ 940333 w 12191999"/>
              <a:gd name="connsiteY1255" fmla="*/ 3485645 h 4534608"/>
              <a:gd name="connsiteX1256" fmla="*/ 938501 w 12191999"/>
              <a:gd name="connsiteY1256" fmla="*/ 3508526 h 4534608"/>
              <a:gd name="connsiteX1257" fmla="*/ 809406 w 12191999"/>
              <a:gd name="connsiteY1257" fmla="*/ 3489699 h 4534608"/>
              <a:gd name="connsiteX1258" fmla="*/ 808229 w 12191999"/>
              <a:gd name="connsiteY1258" fmla="*/ 3508526 h 4534608"/>
              <a:gd name="connsiteX1259" fmla="*/ 678607 w 12191999"/>
              <a:gd name="connsiteY1259" fmla="*/ 3493360 h 4534608"/>
              <a:gd name="connsiteX1260" fmla="*/ 677953 w 12191999"/>
              <a:gd name="connsiteY1260" fmla="*/ 3508526 h 4534608"/>
              <a:gd name="connsiteX1261" fmla="*/ 548070 w 12191999"/>
              <a:gd name="connsiteY1261" fmla="*/ 3496760 h 4534608"/>
              <a:gd name="connsiteX1262" fmla="*/ 547546 w 12191999"/>
              <a:gd name="connsiteY1262" fmla="*/ 3508526 h 4534608"/>
              <a:gd name="connsiteX1263" fmla="*/ 417403 w 12191999"/>
              <a:gd name="connsiteY1263" fmla="*/ 3500028 h 4534608"/>
              <a:gd name="connsiteX1264" fmla="*/ 417271 w 12191999"/>
              <a:gd name="connsiteY1264" fmla="*/ 3508526 h 4534608"/>
              <a:gd name="connsiteX1265" fmla="*/ 286996 w 12191999"/>
              <a:gd name="connsiteY1265" fmla="*/ 3503036 h 4534608"/>
              <a:gd name="connsiteX1266" fmla="*/ 286996 w 12191999"/>
              <a:gd name="connsiteY1266" fmla="*/ 3508526 h 4534608"/>
              <a:gd name="connsiteX1267" fmla="*/ 156594 w 12191999"/>
              <a:gd name="connsiteY1267" fmla="*/ 3505912 h 4534608"/>
              <a:gd name="connsiteX1268" fmla="*/ 156594 w 12191999"/>
              <a:gd name="connsiteY1268" fmla="*/ 3508526 h 4534608"/>
              <a:gd name="connsiteX1269" fmla="*/ 0 w 12191999"/>
              <a:gd name="connsiteY1269" fmla="*/ 3508526 h 4534608"/>
              <a:gd name="connsiteX1270" fmla="*/ 4194332 w 12191999"/>
              <a:gd name="connsiteY1270" fmla="*/ 3049873 h 4534608"/>
              <a:gd name="connsiteX1271" fmla="*/ 4196426 w 12191999"/>
              <a:gd name="connsiteY1271" fmla="*/ 3049873 h 4534608"/>
              <a:gd name="connsiteX1272" fmla="*/ 4261296 w 12191999"/>
              <a:gd name="connsiteY1272" fmla="*/ 3049873 h 4534608"/>
              <a:gd name="connsiteX1273" fmla="*/ 4263390 w 12191999"/>
              <a:gd name="connsiteY1273" fmla="*/ 3049873 h 4534608"/>
              <a:gd name="connsiteX1274" fmla="*/ 4263390 w 12191999"/>
              <a:gd name="connsiteY1274" fmla="*/ 3252005 h 4534608"/>
              <a:gd name="connsiteX1275" fmla="*/ 4261296 w 12191999"/>
              <a:gd name="connsiteY1275" fmla="*/ 3252005 h 4534608"/>
              <a:gd name="connsiteX1276" fmla="*/ 4196426 w 12191999"/>
              <a:gd name="connsiteY1276" fmla="*/ 3252005 h 4534608"/>
              <a:gd name="connsiteX1277" fmla="*/ 4194332 w 12191999"/>
              <a:gd name="connsiteY1277" fmla="*/ 3252005 h 4534608"/>
              <a:gd name="connsiteX1278" fmla="*/ 6055850 w 12191999"/>
              <a:gd name="connsiteY1278" fmla="*/ 3049742 h 4534608"/>
              <a:gd name="connsiteX1279" fmla="*/ 6092081 w 12191999"/>
              <a:gd name="connsiteY1279" fmla="*/ 3128843 h 4534608"/>
              <a:gd name="connsiteX1280" fmla="*/ 6199073 w 12191999"/>
              <a:gd name="connsiteY1280" fmla="*/ 3049742 h 4534608"/>
              <a:gd name="connsiteX1281" fmla="*/ 6228764 w 12191999"/>
              <a:gd name="connsiteY1281" fmla="*/ 3123482 h 4534608"/>
              <a:gd name="connsiteX1282" fmla="*/ 6342298 w 12191999"/>
              <a:gd name="connsiteY1282" fmla="*/ 3049742 h 4534608"/>
              <a:gd name="connsiteX1283" fmla="*/ 6366234 w 12191999"/>
              <a:gd name="connsiteY1283" fmla="*/ 3117729 h 4534608"/>
              <a:gd name="connsiteX1284" fmla="*/ 6485523 w 12191999"/>
              <a:gd name="connsiteY1284" fmla="*/ 3049742 h 4534608"/>
              <a:gd name="connsiteX1285" fmla="*/ 6504750 w 12191999"/>
              <a:gd name="connsiteY1285" fmla="*/ 3111846 h 4534608"/>
              <a:gd name="connsiteX1286" fmla="*/ 6628616 w 12191999"/>
              <a:gd name="connsiteY1286" fmla="*/ 3049742 h 4534608"/>
              <a:gd name="connsiteX1287" fmla="*/ 6644051 w 12191999"/>
              <a:gd name="connsiteY1287" fmla="*/ 3105962 h 4534608"/>
              <a:gd name="connsiteX1288" fmla="*/ 6771840 w 12191999"/>
              <a:gd name="connsiteY1288" fmla="*/ 3049742 h 4534608"/>
              <a:gd name="connsiteX1289" fmla="*/ 6783874 w 12191999"/>
              <a:gd name="connsiteY1289" fmla="*/ 3100209 h 4534608"/>
              <a:gd name="connsiteX1290" fmla="*/ 6915065 w 12191999"/>
              <a:gd name="connsiteY1290" fmla="*/ 3049742 h 4534608"/>
              <a:gd name="connsiteX1291" fmla="*/ 6924482 w 12191999"/>
              <a:gd name="connsiteY1291" fmla="*/ 3094587 h 4534608"/>
              <a:gd name="connsiteX1292" fmla="*/ 7058289 w 12191999"/>
              <a:gd name="connsiteY1292" fmla="*/ 3049742 h 4534608"/>
              <a:gd name="connsiteX1293" fmla="*/ 7065483 w 12191999"/>
              <a:gd name="connsiteY1293" fmla="*/ 3089227 h 4534608"/>
              <a:gd name="connsiteX1294" fmla="*/ 7201513 w 12191999"/>
              <a:gd name="connsiteY1294" fmla="*/ 3049742 h 4534608"/>
              <a:gd name="connsiteX1295" fmla="*/ 7206876 w 12191999"/>
              <a:gd name="connsiteY1295" fmla="*/ 3084128 h 4534608"/>
              <a:gd name="connsiteX1296" fmla="*/ 7344606 w 12191999"/>
              <a:gd name="connsiteY1296" fmla="*/ 3049742 h 4534608"/>
              <a:gd name="connsiteX1297" fmla="*/ 7348662 w 12191999"/>
              <a:gd name="connsiteY1297" fmla="*/ 3079291 h 4534608"/>
              <a:gd name="connsiteX1298" fmla="*/ 7487831 w 12191999"/>
              <a:gd name="connsiteY1298" fmla="*/ 3049742 h 4534608"/>
              <a:gd name="connsiteX1299" fmla="*/ 7490708 w 12191999"/>
              <a:gd name="connsiteY1299" fmla="*/ 3074714 h 4534608"/>
              <a:gd name="connsiteX1300" fmla="*/ 7631056 w 12191999"/>
              <a:gd name="connsiteY1300" fmla="*/ 3049742 h 4534608"/>
              <a:gd name="connsiteX1301" fmla="*/ 7633018 w 12191999"/>
              <a:gd name="connsiteY1301" fmla="*/ 3070400 h 4534608"/>
              <a:gd name="connsiteX1302" fmla="*/ 7774281 w 12191999"/>
              <a:gd name="connsiteY1302" fmla="*/ 3049742 h 4534608"/>
              <a:gd name="connsiteX1303" fmla="*/ 7775587 w 12191999"/>
              <a:gd name="connsiteY1303" fmla="*/ 3066346 h 4534608"/>
              <a:gd name="connsiteX1304" fmla="*/ 7917504 w 12191999"/>
              <a:gd name="connsiteY1304" fmla="*/ 3049742 h 4534608"/>
              <a:gd name="connsiteX1305" fmla="*/ 7918289 w 12191999"/>
              <a:gd name="connsiteY1305" fmla="*/ 3062686 h 4534608"/>
              <a:gd name="connsiteX1306" fmla="*/ 8060597 w 12191999"/>
              <a:gd name="connsiteY1306" fmla="*/ 3049742 h 4534608"/>
              <a:gd name="connsiteX1307" fmla="*/ 8061122 w 12191999"/>
              <a:gd name="connsiteY1307" fmla="*/ 3059155 h 4534608"/>
              <a:gd name="connsiteX1308" fmla="*/ 8203822 w 12191999"/>
              <a:gd name="connsiteY1308" fmla="*/ 3049742 h 4534608"/>
              <a:gd name="connsiteX1309" fmla="*/ 8204084 w 12191999"/>
              <a:gd name="connsiteY1309" fmla="*/ 3055625 h 4534608"/>
              <a:gd name="connsiteX1310" fmla="*/ 8213109 w 12191999"/>
              <a:gd name="connsiteY1310" fmla="*/ 3055495 h 4534608"/>
              <a:gd name="connsiteX1311" fmla="*/ 8301005 w 12191999"/>
              <a:gd name="connsiteY1311" fmla="*/ 3051703 h 4534608"/>
              <a:gd name="connsiteX1312" fmla="*/ 8301005 w 12191999"/>
              <a:gd name="connsiteY1312" fmla="*/ 3049742 h 4534608"/>
              <a:gd name="connsiteX1313" fmla="*/ 12189515 w 12191999"/>
              <a:gd name="connsiteY1313" fmla="*/ 3049742 h 4534608"/>
              <a:gd name="connsiteX1314" fmla="*/ 12189515 w 12191999"/>
              <a:gd name="connsiteY1314" fmla="*/ 3252005 h 4534608"/>
              <a:gd name="connsiteX1315" fmla="*/ 8301005 w 12191999"/>
              <a:gd name="connsiteY1315" fmla="*/ 3252005 h 4534608"/>
              <a:gd name="connsiteX1316" fmla="*/ 8301005 w 12191999"/>
              <a:gd name="connsiteY1316" fmla="*/ 3249390 h 4534608"/>
              <a:gd name="connsiteX1317" fmla="*/ 8170730 w 12191999"/>
              <a:gd name="connsiteY1317" fmla="*/ 3252005 h 4534608"/>
              <a:gd name="connsiteX1318" fmla="*/ 8170599 w 12191999"/>
              <a:gd name="connsiteY1318" fmla="*/ 3246513 h 4534608"/>
              <a:gd name="connsiteX1319" fmla="*/ 8040324 w 12191999"/>
              <a:gd name="connsiteY1319" fmla="*/ 3252005 h 4534608"/>
              <a:gd name="connsiteX1320" fmla="*/ 8040194 w 12191999"/>
              <a:gd name="connsiteY1320" fmla="*/ 3243507 h 4534608"/>
              <a:gd name="connsiteX1321" fmla="*/ 7910049 w 12191999"/>
              <a:gd name="connsiteY1321" fmla="*/ 3252005 h 4534608"/>
              <a:gd name="connsiteX1322" fmla="*/ 7909656 w 12191999"/>
              <a:gd name="connsiteY1322" fmla="*/ 3240238 h 4534608"/>
              <a:gd name="connsiteX1323" fmla="*/ 7779774 w 12191999"/>
              <a:gd name="connsiteY1323" fmla="*/ 3252005 h 4534608"/>
              <a:gd name="connsiteX1324" fmla="*/ 7778989 w 12191999"/>
              <a:gd name="connsiteY1324" fmla="*/ 3236839 h 4534608"/>
              <a:gd name="connsiteX1325" fmla="*/ 7649499 w 12191999"/>
              <a:gd name="connsiteY1325" fmla="*/ 3252005 h 4534608"/>
              <a:gd name="connsiteX1326" fmla="*/ 7648191 w 12191999"/>
              <a:gd name="connsiteY1326" fmla="*/ 3233177 h 4534608"/>
              <a:gd name="connsiteX1327" fmla="*/ 7519093 w 12191999"/>
              <a:gd name="connsiteY1327" fmla="*/ 3252005 h 4534608"/>
              <a:gd name="connsiteX1328" fmla="*/ 7517261 w 12191999"/>
              <a:gd name="connsiteY1328" fmla="*/ 3229124 h 4534608"/>
              <a:gd name="connsiteX1329" fmla="*/ 7388816 w 12191999"/>
              <a:gd name="connsiteY1329" fmla="*/ 3252005 h 4534608"/>
              <a:gd name="connsiteX1330" fmla="*/ 7386200 w 12191999"/>
              <a:gd name="connsiteY1330" fmla="*/ 3224940 h 4534608"/>
              <a:gd name="connsiteX1331" fmla="*/ 7258541 w 12191999"/>
              <a:gd name="connsiteY1331" fmla="*/ 3252005 h 4534608"/>
              <a:gd name="connsiteX1332" fmla="*/ 7254880 w 12191999"/>
              <a:gd name="connsiteY1332" fmla="*/ 3220496 h 4534608"/>
              <a:gd name="connsiteX1333" fmla="*/ 7128135 w 12191999"/>
              <a:gd name="connsiteY1333" fmla="*/ 3252005 h 4534608"/>
              <a:gd name="connsiteX1334" fmla="*/ 7123296 w 12191999"/>
              <a:gd name="connsiteY1334" fmla="*/ 3215658 h 4534608"/>
              <a:gd name="connsiteX1335" fmla="*/ 6997860 w 12191999"/>
              <a:gd name="connsiteY1335" fmla="*/ 3252005 h 4534608"/>
              <a:gd name="connsiteX1336" fmla="*/ 6991320 w 12191999"/>
              <a:gd name="connsiteY1336" fmla="*/ 3210559 h 4534608"/>
              <a:gd name="connsiteX1337" fmla="*/ 6867585 w 12191999"/>
              <a:gd name="connsiteY1337" fmla="*/ 3252005 h 4534608"/>
              <a:gd name="connsiteX1338" fmla="*/ 6859083 w 12191999"/>
              <a:gd name="connsiteY1338" fmla="*/ 3205198 h 4534608"/>
              <a:gd name="connsiteX1339" fmla="*/ 6737310 w 12191999"/>
              <a:gd name="connsiteY1339" fmla="*/ 3252005 h 4534608"/>
              <a:gd name="connsiteX1340" fmla="*/ 6726322 w 12191999"/>
              <a:gd name="connsiteY1340" fmla="*/ 3199575 h 4534608"/>
              <a:gd name="connsiteX1341" fmla="*/ 6606904 w 12191999"/>
              <a:gd name="connsiteY1341" fmla="*/ 3252005 h 4534608"/>
              <a:gd name="connsiteX1342" fmla="*/ 6593040 w 12191999"/>
              <a:gd name="connsiteY1342" fmla="*/ 3193692 h 4534608"/>
              <a:gd name="connsiteX1343" fmla="*/ 6476628 w 12191999"/>
              <a:gd name="connsiteY1343" fmla="*/ 3252005 h 4534608"/>
              <a:gd name="connsiteX1344" fmla="*/ 6459101 w 12191999"/>
              <a:gd name="connsiteY1344" fmla="*/ 3187678 h 4534608"/>
              <a:gd name="connsiteX1345" fmla="*/ 6346352 w 12191999"/>
              <a:gd name="connsiteY1345" fmla="*/ 3252005 h 4534608"/>
              <a:gd name="connsiteX1346" fmla="*/ 6324509 w 12191999"/>
              <a:gd name="connsiteY1346" fmla="*/ 3181664 h 4534608"/>
              <a:gd name="connsiteX1347" fmla="*/ 6215947 w 12191999"/>
              <a:gd name="connsiteY1347" fmla="*/ 3252005 h 4534608"/>
              <a:gd name="connsiteX1348" fmla="*/ 6189002 w 12191999"/>
              <a:gd name="connsiteY1348" fmla="*/ 3175650 h 4534608"/>
              <a:gd name="connsiteX1349" fmla="*/ 6085672 w 12191999"/>
              <a:gd name="connsiteY1349" fmla="*/ 3252005 h 4534608"/>
              <a:gd name="connsiteX1350" fmla="*/ 6052710 w 12191999"/>
              <a:gd name="connsiteY1350" fmla="*/ 3170028 h 4534608"/>
              <a:gd name="connsiteX1351" fmla="*/ 5955396 w 12191999"/>
              <a:gd name="connsiteY1351" fmla="*/ 3252005 h 4534608"/>
              <a:gd name="connsiteX1352" fmla="*/ 5916418 w 12191999"/>
              <a:gd name="connsiteY1352" fmla="*/ 3167151 h 4534608"/>
              <a:gd name="connsiteX1353" fmla="*/ 5912625 w 12191999"/>
              <a:gd name="connsiteY1353" fmla="*/ 3049742 h 4534608"/>
              <a:gd name="connsiteX1354" fmla="*/ 5953696 w 12191999"/>
              <a:gd name="connsiteY1354" fmla="*/ 3128059 h 4534608"/>
              <a:gd name="connsiteX1355" fmla="*/ 5825120 w 12191999"/>
              <a:gd name="connsiteY1355" fmla="*/ 3252005 h 4534608"/>
              <a:gd name="connsiteX1356" fmla="*/ 5784049 w 12191999"/>
              <a:gd name="connsiteY1356" fmla="*/ 3173688 h 4534608"/>
              <a:gd name="connsiteX1357" fmla="*/ 5769534 w 12191999"/>
              <a:gd name="connsiteY1357" fmla="*/ 3049742 h 4534608"/>
              <a:gd name="connsiteX1358" fmla="*/ 5812697 w 12191999"/>
              <a:gd name="connsiteY1358" fmla="*/ 3121521 h 4534608"/>
              <a:gd name="connsiteX1359" fmla="*/ 5694716 w 12191999"/>
              <a:gd name="connsiteY1359" fmla="*/ 3252005 h 4534608"/>
              <a:gd name="connsiteX1360" fmla="*/ 5651552 w 12191999"/>
              <a:gd name="connsiteY1360" fmla="*/ 3180226 h 4534608"/>
              <a:gd name="connsiteX1361" fmla="*/ 5626305 w 12191999"/>
              <a:gd name="connsiteY1361" fmla="*/ 3049742 h 4534608"/>
              <a:gd name="connsiteX1362" fmla="*/ 5671693 w 12191999"/>
              <a:gd name="connsiteY1362" fmla="*/ 3114984 h 4534608"/>
              <a:gd name="connsiteX1363" fmla="*/ 5564438 w 12191999"/>
              <a:gd name="connsiteY1363" fmla="*/ 3252005 h 4534608"/>
              <a:gd name="connsiteX1364" fmla="*/ 5519050 w 12191999"/>
              <a:gd name="connsiteY1364" fmla="*/ 3186763 h 4534608"/>
              <a:gd name="connsiteX1365" fmla="*/ 5483083 w 12191999"/>
              <a:gd name="connsiteY1365" fmla="*/ 3049742 h 4534608"/>
              <a:gd name="connsiteX1366" fmla="*/ 5530694 w 12191999"/>
              <a:gd name="connsiteY1366" fmla="*/ 3108446 h 4534608"/>
              <a:gd name="connsiteX1367" fmla="*/ 5434164 w 12191999"/>
              <a:gd name="connsiteY1367" fmla="*/ 3252005 h 4534608"/>
              <a:gd name="connsiteX1368" fmla="*/ 5386553 w 12191999"/>
              <a:gd name="connsiteY1368" fmla="*/ 3193300 h 4534608"/>
              <a:gd name="connsiteX1369" fmla="*/ 5339858 w 12191999"/>
              <a:gd name="connsiteY1369" fmla="*/ 3049742 h 4534608"/>
              <a:gd name="connsiteX1370" fmla="*/ 5389562 w 12191999"/>
              <a:gd name="connsiteY1370" fmla="*/ 3102040 h 4534608"/>
              <a:gd name="connsiteX1371" fmla="*/ 5303757 w 12191999"/>
              <a:gd name="connsiteY1371" fmla="*/ 3252005 h 4534608"/>
              <a:gd name="connsiteX1372" fmla="*/ 5254053 w 12191999"/>
              <a:gd name="connsiteY1372" fmla="*/ 3199838 h 4534608"/>
              <a:gd name="connsiteX1373" fmla="*/ 5196635 w 12191999"/>
              <a:gd name="connsiteY1373" fmla="*/ 3049742 h 4534608"/>
              <a:gd name="connsiteX1374" fmla="*/ 5248563 w 12191999"/>
              <a:gd name="connsiteY1374" fmla="*/ 3095502 h 4534608"/>
              <a:gd name="connsiteX1375" fmla="*/ 5173483 w 12191999"/>
              <a:gd name="connsiteY1375" fmla="*/ 3252005 h 4534608"/>
              <a:gd name="connsiteX1376" fmla="*/ 5121556 w 12191999"/>
              <a:gd name="connsiteY1376" fmla="*/ 3206375 h 4534608"/>
              <a:gd name="connsiteX1377" fmla="*/ 4910318 w 12191999"/>
              <a:gd name="connsiteY1377" fmla="*/ 3049742 h 4534608"/>
              <a:gd name="connsiteX1378" fmla="*/ 4966429 w 12191999"/>
              <a:gd name="connsiteY1378" fmla="*/ 3082429 h 4534608"/>
              <a:gd name="connsiteX1379" fmla="*/ 4912934 w 12191999"/>
              <a:gd name="connsiteY1379" fmla="*/ 3252005 h 4534608"/>
              <a:gd name="connsiteX1380" fmla="*/ 4856690 w 12191999"/>
              <a:gd name="connsiteY1380" fmla="*/ 3219318 h 4534608"/>
              <a:gd name="connsiteX1381" fmla="*/ 4767091 w 12191999"/>
              <a:gd name="connsiteY1381" fmla="*/ 3049742 h 4534608"/>
              <a:gd name="connsiteX1382" fmla="*/ 4825429 w 12191999"/>
              <a:gd name="connsiteY1382" fmla="*/ 3075891 h 4534608"/>
              <a:gd name="connsiteX1383" fmla="*/ 4782526 w 12191999"/>
              <a:gd name="connsiteY1383" fmla="*/ 3252005 h 4534608"/>
              <a:gd name="connsiteX1384" fmla="*/ 4724190 w 12191999"/>
              <a:gd name="connsiteY1384" fmla="*/ 3225855 h 4534608"/>
              <a:gd name="connsiteX1385" fmla="*/ 4623872 w 12191999"/>
              <a:gd name="connsiteY1385" fmla="*/ 3049742 h 4534608"/>
              <a:gd name="connsiteX1386" fmla="*/ 4684433 w 12191999"/>
              <a:gd name="connsiteY1386" fmla="*/ 3069354 h 4534608"/>
              <a:gd name="connsiteX1387" fmla="*/ 4652256 w 12191999"/>
              <a:gd name="connsiteY1387" fmla="*/ 3252005 h 4534608"/>
              <a:gd name="connsiteX1388" fmla="*/ 4591696 w 12191999"/>
              <a:gd name="connsiteY1388" fmla="*/ 3232393 h 4534608"/>
              <a:gd name="connsiteX1389" fmla="*/ 4480643 w 12191999"/>
              <a:gd name="connsiteY1389" fmla="*/ 3049742 h 4534608"/>
              <a:gd name="connsiteX1390" fmla="*/ 4543428 w 12191999"/>
              <a:gd name="connsiteY1390" fmla="*/ 3062817 h 4534608"/>
              <a:gd name="connsiteX1391" fmla="*/ 4521977 w 12191999"/>
              <a:gd name="connsiteY1391" fmla="*/ 3252005 h 4534608"/>
              <a:gd name="connsiteX1392" fmla="*/ 4459193 w 12191999"/>
              <a:gd name="connsiteY1392" fmla="*/ 3238930 h 4534608"/>
              <a:gd name="connsiteX1393" fmla="*/ 4337550 w 12191999"/>
              <a:gd name="connsiteY1393" fmla="*/ 3049742 h 4534608"/>
              <a:gd name="connsiteX1394" fmla="*/ 4402296 w 12191999"/>
              <a:gd name="connsiteY1394" fmla="*/ 3056279 h 4534608"/>
              <a:gd name="connsiteX1395" fmla="*/ 4391570 w 12191999"/>
              <a:gd name="connsiteY1395" fmla="*/ 3252005 h 4534608"/>
              <a:gd name="connsiteX1396" fmla="*/ 4326825 w 12191999"/>
              <a:gd name="connsiteY1396" fmla="*/ 3245468 h 4534608"/>
              <a:gd name="connsiteX1397" fmla="*/ 4120170 w 12191999"/>
              <a:gd name="connsiteY1397" fmla="*/ 3049742 h 4534608"/>
              <a:gd name="connsiteX1398" fmla="*/ 4130896 w 12191999"/>
              <a:gd name="connsiteY1398" fmla="*/ 3245468 h 4534608"/>
              <a:gd name="connsiteX1399" fmla="*/ 4066018 w 12191999"/>
              <a:gd name="connsiteY1399" fmla="*/ 3252005 h 4534608"/>
              <a:gd name="connsiteX1400" fmla="*/ 4055294 w 12191999"/>
              <a:gd name="connsiteY1400" fmla="*/ 3056279 h 4534608"/>
              <a:gd name="connsiteX1401" fmla="*/ 3976947 w 12191999"/>
              <a:gd name="connsiteY1401" fmla="*/ 3049742 h 4534608"/>
              <a:gd name="connsiteX1402" fmla="*/ 3998396 w 12191999"/>
              <a:gd name="connsiteY1402" fmla="*/ 3238930 h 4534608"/>
              <a:gd name="connsiteX1403" fmla="*/ 3935741 w 12191999"/>
              <a:gd name="connsiteY1403" fmla="*/ 3252005 h 4534608"/>
              <a:gd name="connsiteX1404" fmla="*/ 3914293 w 12191999"/>
              <a:gd name="connsiteY1404" fmla="*/ 3062817 h 4534608"/>
              <a:gd name="connsiteX1405" fmla="*/ 3833720 w 12191999"/>
              <a:gd name="connsiteY1405" fmla="*/ 3049742 h 4534608"/>
              <a:gd name="connsiteX1406" fmla="*/ 3865897 w 12191999"/>
              <a:gd name="connsiteY1406" fmla="*/ 3232393 h 4534608"/>
              <a:gd name="connsiteX1407" fmla="*/ 3805467 w 12191999"/>
              <a:gd name="connsiteY1407" fmla="*/ 3252005 h 4534608"/>
              <a:gd name="connsiteX1408" fmla="*/ 3773292 w 12191999"/>
              <a:gd name="connsiteY1408" fmla="*/ 3069354 h 4534608"/>
              <a:gd name="connsiteX1409" fmla="*/ 3690629 w 12191999"/>
              <a:gd name="connsiteY1409" fmla="*/ 3049742 h 4534608"/>
              <a:gd name="connsiteX1410" fmla="*/ 3733396 w 12191999"/>
              <a:gd name="connsiteY1410" fmla="*/ 3225855 h 4534608"/>
              <a:gd name="connsiteX1411" fmla="*/ 3675062 w 12191999"/>
              <a:gd name="connsiteY1411" fmla="*/ 3252005 h 4534608"/>
              <a:gd name="connsiteX1412" fmla="*/ 3632158 w 12191999"/>
              <a:gd name="connsiteY1412" fmla="*/ 3075891 h 4534608"/>
              <a:gd name="connsiteX1413" fmla="*/ 3547400 w 12191999"/>
              <a:gd name="connsiteY1413" fmla="*/ 3049742 h 4534608"/>
              <a:gd name="connsiteX1414" fmla="*/ 3601030 w 12191999"/>
              <a:gd name="connsiteY1414" fmla="*/ 3219318 h 4534608"/>
              <a:gd name="connsiteX1415" fmla="*/ 3544786 w 12191999"/>
              <a:gd name="connsiteY1415" fmla="*/ 3252005 h 4534608"/>
              <a:gd name="connsiteX1416" fmla="*/ 3491159 w 12191999"/>
              <a:gd name="connsiteY1416" fmla="*/ 3082429 h 4534608"/>
              <a:gd name="connsiteX1417" fmla="*/ 3404180 w 12191999"/>
              <a:gd name="connsiteY1417" fmla="*/ 3049742 h 4534608"/>
              <a:gd name="connsiteX1418" fmla="*/ 3468533 w 12191999"/>
              <a:gd name="connsiteY1418" fmla="*/ 3212782 h 4534608"/>
              <a:gd name="connsiteX1419" fmla="*/ 3414513 w 12191999"/>
              <a:gd name="connsiteY1419" fmla="*/ 3252005 h 4534608"/>
              <a:gd name="connsiteX1420" fmla="*/ 3350159 w 12191999"/>
              <a:gd name="connsiteY1420" fmla="*/ 3088965 h 4534608"/>
              <a:gd name="connsiteX1421" fmla="*/ 3260954 w 12191999"/>
              <a:gd name="connsiteY1421" fmla="*/ 3049742 h 4534608"/>
              <a:gd name="connsiteX1422" fmla="*/ 3336034 w 12191999"/>
              <a:gd name="connsiteY1422" fmla="*/ 3206375 h 4534608"/>
              <a:gd name="connsiteX1423" fmla="*/ 3284105 w 12191999"/>
              <a:gd name="connsiteY1423" fmla="*/ 3252005 h 4534608"/>
              <a:gd name="connsiteX1424" fmla="*/ 3209157 w 12191999"/>
              <a:gd name="connsiteY1424" fmla="*/ 3095502 h 4534608"/>
              <a:gd name="connsiteX1425" fmla="*/ 3117730 w 12191999"/>
              <a:gd name="connsiteY1425" fmla="*/ 3049742 h 4534608"/>
              <a:gd name="connsiteX1426" fmla="*/ 3203536 w 12191999"/>
              <a:gd name="connsiteY1426" fmla="*/ 3199838 h 4534608"/>
              <a:gd name="connsiteX1427" fmla="*/ 3153831 w 12191999"/>
              <a:gd name="connsiteY1427" fmla="*/ 3252005 h 4534608"/>
              <a:gd name="connsiteX1428" fmla="*/ 3068027 w 12191999"/>
              <a:gd name="connsiteY1428" fmla="*/ 3102040 h 4534608"/>
              <a:gd name="connsiteX1429" fmla="*/ 2974635 w 12191999"/>
              <a:gd name="connsiteY1429" fmla="*/ 3049742 h 4534608"/>
              <a:gd name="connsiteX1430" fmla="*/ 3071033 w 12191999"/>
              <a:gd name="connsiteY1430" fmla="*/ 3193300 h 4534608"/>
              <a:gd name="connsiteX1431" fmla="*/ 3023555 w 12191999"/>
              <a:gd name="connsiteY1431" fmla="*/ 3252005 h 4534608"/>
              <a:gd name="connsiteX1432" fmla="*/ 2927026 w 12191999"/>
              <a:gd name="connsiteY1432" fmla="*/ 3108446 h 4534608"/>
              <a:gd name="connsiteX1433" fmla="*/ 2831413 w 12191999"/>
              <a:gd name="connsiteY1433" fmla="*/ 3049742 h 4534608"/>
              <a:gd name="connsiteX1434" fmla="*/ 2938666 w 12191999"/>
              <a:gd name="connsiteY1434" fmla="*/ 3186763 h 4534608"/>
              <a:gd name="connsiteX1435" fmla="*/ 2893280 w 12191999"/>
              <a:gd name="connsiteY1435" fmla="*/ 3252005 h 4534608"/>
              <a:gd name="connsiteX1436" fmla="*/ 2786026 w 12191999"/>
              <a:gd name="connsiteY1436" fmla="*/ 3114984 h 4534608"/>
              <a:gd name="connsiteX1437" fmla="*/ 2688188 w 12191999"/>
              <a:gd name="connsiteY1437" fmla="*/ 3049742 h 4534608"/>
              <a:gd name="connsiteX1438" fmla="*/ 2806169 w 12191999"/>
              <a:gd name="connsiteY1438" fmla="*/ 3180226 h 4534608"/>
              <a:gd name="connsiteX1439" fmla="*/ 2762871 w 12191999"/>
              <a:gd name="connsiteY1439" fmla="*/ 3252005 h 4534608"/>
              <a:gd name="connsiteX1440" fmla="*/ 2645025 w 12191999"/>
              <a:gd name="connsiteY1440" fmla="*/ 3121521 h 4534608"/>
              <a:gd name="connsiteX1441" fmla="*/ 2544961 w 12191999"/>
              <a:gd name="connsiteY1441" fmla="*/ 3049742 h 4534608"/>
              <a:gd name="connsiteX1442" fmla="*/ 2673669 w 12191999"/>
              <a:gd name="connsiteY1442" fmla="*/ 3173688 h 4534608"/>
              <a:gd name="connsiteX1443" fmla="*/ 2632599 w 12191999"/>
              <a:gd name="connsiteY1443" fmla="*/ 3252005 h 4534608"/>
              <a:gd name="connsiteX1444" fmla="*/ 2503890 w 12191999"/>
              <a:gd name="connsiteY1444" fmla="*/ 3128059 h 4534608"/>
              <a:gd name="connsiteX1445" fmla="*/ 0 w 12191999"/>
              <a:gd name="connsiteY1445" fmla="*/ 3049742 h 4534608"/>
              <a:gd name="connsiteX1446" fmla="*/ 156593 w 12191999"/>
              <a:gd name="connsiteY1446" fmla="*/ 3049742 h 4534608"/>
              <a:gd name="connsiteX1447" fmla="*/ 156593 w 12191999"/>
              <a:gd name="connsiteY1447" fmla="*/ 3051703 h 4534608"/>
              <a:gd name="connsiteX1448" fmla="*/ 244621 w 12191999"/>
              <a:gd name="connsiteY1448" fmla="*/ 3055495 h 4534608"/>
              <a:gd name="connsiteX1449" fmla="*/ 253646 w 12191999"/>
              <a:gd name="connsiteY1449" fmla="*/ 3055625 h 4534608"/>
              <a:gd name="connsiteX1450" fmla="*/ 253777 w 12191999"/>
              <a:gd name="connsiteY1450" fmla="*/ 3049742 h 4534608"/>
              <a:gd name="connsiteX1451" fmla="*/ 396605 w 12191999"/>
              <a:gd name="connsiteY1451" fmla="*/ 3059155 h 4534608"/>
              <a:gd name="connsiteX1452" fmla="*/ 396998 w 12191999"/>
              <a:gd name="connsiteY1452" fmla="*/ 3049742 h 4534608"/>
              <a:gd name="connsiteX1453" fmla="*/ 539437 w 12191999"/>
              <a:gd name="connsiteY1453" fmla="*/ 3062686 h 4534608"/>
              <a:gd name="connsiteX1454" fmla="*/ 540222 w 12191999"/>
              <a:gd name="connsiteY1454" fmla="*/ 3049742 h 4534608"/>
              <a:gd name="connsiteX1455" fmla="*/ 682139 w 12191999"/>
              <a:gd name="connsiteY1455" fmla="*/ 3066346 h 4534608"/>
              <a:gd name="connsiteX1456" fmla="*/ 683447 w 12191999"/>
              <a:gd name="connsiteY1456" fmla="*/ 3049742 h 4534608"/>
              <a:gd name="connsiteX1457" fmla="*/ 824579 w 12191999"/>
              <a:gd name="connsiteY1457" fmla="*/ 3070400 h 4534608"/>
              <a:gd name="connsiteX1458" fmla="*/ 826671 w 12191999"/>
              <a:gd name="connsiteY1458" fmla="*/ 3049742 h 4534608"/>
              <a:gd name="connsiteX1459" fmla="*/ 966885 w 12191999"/>
              <a:gd name="connsiteY1459" fmla="*/ 3074714 h 4534608"/>
              <a:gd name="connsiteX1460" fmla="*/ 969762 w 12191999"/>
              <a:gd name="connsiteY1460" fmla="*/ 3049742 h 4534608"/>
              <a:gd name="connsiteX1461" fmla="*/ 1109062 w 12191999"/>
              <a:gd name="connsiteY1461" fmla="*/ 3079291 h 4534608"/>
              <a:gd name="connsiteX1462" fmla="*/ 1112981 w 12191999"/>
              <a:gd name="connsiteY1462" fmla="*/ 3049742 h 4534608"/>
              <a:gd name="connsiteX1463" fmla="*/ 1250844 w 12191999"/>
              <a:gd name="connsiteY1463" fmla="*/ 3084128 h 4534608"/>
              <a:gd name="connsiteX1464" fmla="*/ 1256206 w 12191999"/>
              <a:gd name="connsiteY1464" fmla="*/ 3049742 h 4534608"/>
              <a:gd name="connsiteX1465" fmla="*/ 1392235 w 12191999"/>
              <a:gd name="connsiteY1465" fmla="*/ 3089227 h 4534608"/>
              <a:gd name="connsiteX1466" fmla="*/ 1399430 w 12191999"/>
              <a:gd name="connsiteY1466" fmla="*/ 3049742 h 4534608"/>
              <a:gd name="connsiteX1467" fmla="*/ 1533237 w 12191999"/>
              <a:gd name="connsiteY1467" fmla="*/ 3094587 h 4534608"/>
              <a:gd name="connsiteX1468" fmla="*/ 1542654 w 12191999"/>
              <a:gd name="connsiteY1468" fmla="*/ 3049742 h 4534608"/>
              <a:gd name="connsiteX1469" fmla="*/ 1673714 w 12191999"/>
              <a:gd name="connsiteY1469" fmla="*/ 3100209 h 4534608"/>
              <a:gd name="connsiteX1470" fmla="*/ 1685747 w 12191999"/>
              <a:gd name="connsiteY1470" fmla="*/ 3049742 h 4534608"/>
              <a:gd name="connsiteX1471" fmla="*/ 1813669 w 12191999"/>
              <a:gd name="connsiteY1471" fmla="*/ 3105962 h 4534608"/>
              <a:gd name="connsiteX1472" fmla="*/ 1828972 w 12191999"/>
              <a:gd name="connsiteY1472" fmla="*/ 3049742 h 4534608"/>
              <a:gd name="connsiteX1473" fmla="*/ 1952838 w 12191999"/>
              <a:gd name="connsiteY1473" fmla="*/ 3111846 h 4534608"/>
              <a:gd name="connsiteX1474" fmla="*/ 1972197 w 12191999"/>
              <a:gd name="connsiteY1474" fmla="*/ 3049742 h 4534608"/>
              <a:gd name="connsiteX1475" fmla="*/ 2091354 w 12191999"/>
              <a:gd name="connsiteY1475" fmla="*/ 3117729 h 4534608"/>
              <a:gd name="connsiteX1476" fmla="*/ 2115422 w 12191999"/>
              <a:gd name="connsiteY1476" fmla="*/ 3049742 h 4534608"/>
              <a:gd name="connsiteX1477" fmla="*/ 2228955 w 12191999"/>
              <a:gd name="connsiteY1477" fmla="*/ 3123482 h 4534608"/>
              <a:gd name="connsiteX1478" fmla="*/ 2258513 w 12191999"/>
              <a:gd name="connsiteY1478" fmla="*/ 3049742 h 4534608"/>
              <a:gd name="connsiteX1479" fmla="*/ 2365509 w 12191999"/>
              <a:gd name="connsiteY1479" fmla="*/ 3128843 h 4534608"/>
              <a:gd name="connsiteX1480" fmla="*/ 2401740 w 12191999"/>
              <a:gd name="connsiteY1480" fmla="*/ 3049742 h 4534608"/>
              <a:gd name="connsiteX1481" fmla="*/ 2541172 w 12191999"/>
              <a:gd name="connsiteY1481" fmla="*/ 3167151 h 4534608"/>
              <a:gd name="connsiteX1482" fmla="*/ 2502324 w 12191999"/>
              <a:gd name="connsiteY1482" fmla="*/ 3252005 h 4534608"/>
              <a:gd name="connsiteX1483" fmla="*/ 2405010 w 12191999"/>
              <a:gd name="connsiteY1483" fmla="*/ 3170028 h 4534608"/>
              <a:gd name="connsiteX1484" fmla="*/ 2371916 w 12191999"/>
              <a:gd name="connsiteY1484" fmla="*/ 3252005 h 4534608"/>
              <a:gd name="connsiteX1485" fmla="*/ 2268586 w 12191999"/>
              <a:gd name="connsiteY1485" fmla="*/ 3175650 h 4534608"/>
              <a:gd name="connsiteX1486" fmla="*/ 2241639 w 12191999"/>
              <a:gd name="connsiteY1486" fmla="*/ 3252005 h 4534608"/>
              <a:gd name="connsiteX1487" fmla="*/ 2133210 w 12191999"/>
              <a:gd name="connsiteY1487" fmla="*/ 3181664 h 4534608"/>
              <a:gd name="connsiteX1488" fmla="*/ 2111367 w 12191999"/>
              <a:gd name="connsiteY1488" fmla="*/ 3252005 h 4534608"/>
              <a:gd name="connsiteX1489" fmla="*/ 1998618 w 12191999"/>
              <a:gd name="connsiteY1489" fmla="*/ 3187678 h 4534608"/>
              <a:gd name="connsiteX1490" fmla="*/ 1981091 w 12191999"/>
              <a:gd name="connsiteY1490" fmla="*/ 3252005 h 4534608"/>
              <a:gd name="connsiteX1491" fmla="*/ 1864680 w 12191999"/>
              <a:gd name="connsiteY1491" fmla="*/ 3193692 h 4534608"/>
              <a:gd name="connsiteX1492" fmla="*/ 1850685 w 12191999"/>
              <a:gd name="connsiteY1492" fmla="*/ 3252005 h 4534608"/>
              <a:gd name="connsiteX1493" fmla="*/ 1731396 w 12191999"/>
              <a:gd name="connsiteY1493" fmla="*/ 3199575 h 4534608"/>
              <a:gd name="connsiteX1494" fmla="*/ 1720409 w 12191999"/>
              <a:gd name="connsiteY1494" fmla="*/ 3252005 h 4534608"/>
              <a:gd name="connsiteX1495" fmla="*/ 1598636 w 12191999"/>
              <a:gd name="connsiteY1495" fmla="*/ 3205198 h 4534608"/>
              <a:gd name="connsiteX1496" fmla="*/ 1590135 w 12191999"/>
              <a:gd name="connsiteY1496" fmla="*/ 3252005 h 4534608"/>
              <a:gd name="connsiteX1497" fmla="*/ 1466268 w 12191999"/>
              <a:gd name="connsiteY1497" fmla="*/ 3210559 h 4534608"/>
              <a:gd name="connsiteX1498" fmla="*/ 1459729 w 12191999"/>
              <a:gd name="connsiteY1498" fmla="*/ 3252005 h 4534608"/>
              <a:gd name="connsiteX1499" fmla="*/ 1334423 w 12191999"/>
              <a:gd name="connsiteY1499" fmla="*/ 3215658 h 4534608"/>
              <a:gd name="connsiteX1500" fmla="*/ 1329452 w 12191999"/>
              <a:gd name="connsiteY1500" fmla="*/ 3252005 h 4534608"/>
              <a:gd name="connsiteX1501" fmla="*/ 1202840 w 12191999"/>
              <a:gd name="connsiteY1501" fmla="*/ 3220496 h 4534608"/>
              <a:gd name="connsiteX1502" fmla="*/ 1199177 w 12191999"/>
              <a:gd name="connsiteY1502" fmla="*/ 3252005 h 4534608"/>
              <a:gd name="connsiteX1503" fmla="*/ 1071392 w 12191999"/>
              <a:gd name="connsiteY1503" fmla="*/ 3224940 h 4534608"/>
              <a:gd name="connsiteX1504" fmla="*/ 1068907 w 12191999"/>
              <a:gd name="connsiteY1504" fmla="*/ 3252005 h 4534608"/>
              <a:gd name="connsiteX1505" fmla="*/ 940333 w 12191999"/>
              <a:gd name="connsiteY1505" fmla="*/ 3229124 h 4534608"/>
              <a:gd name="connsiteX1506" fmla="*/ 938501 w 12191999"/>
              <a:gd name="connsiteY1506" fmla="*/ 3252005 h 4534608"/>
              <a:gd name="connsiteX1507" fmla="*/ 809406 w 12191999"/>
              <a:gd name="connsiteY1507" fmla="*/ 3233177 h 4534608"/>
              <a:gd name="connsiteX1508" fmla="*/ 808229 w 12191999"/>
              <a:gd name="connsiteY1508" fmla="*/ 3252005 h 4534608"/>
              <a:gd name="connsiteX1509" fmla="*/ 678607 w 12191999"/>
              <a:gd name="connsiteY1509" fmla="*/ 3236839 h 4534608"/>
              <a:gd name="connsiteX1510" fmla="*/ 677953 w 12191999"/>
              <a:gd name="connsiteY1510" fmla="*/ 3252005 h 4534608"/>
              <a:gd name="connsiteX1511" fmla="*/ 548070 w 12191999"/>
              <a:gd name="connsiteY1511" fmla="*/ 3240238 h 4534608"/>
              <a:gd name="connsiteX1512" fmla="*/ 547546 w 12191999"/>
              <a:gd name="connsiteY1512" fmla="*/ 3252005 h 4534608"/>
              <a:gd name="connsiteX1513" fmla="*/ 417403 w 12191999"/>
              <a:gd name="connsiteY1513" fmla="*/ 3243507 h 4534608"/>
              <a:gd name="connsiteX1514" fmla="*/ 417271 w 12191999"/>
              <a:gd name="connsiteY1514" fmla="*/ 3252005 h 4534608"/>
              <a:gd name="connsiteX1515" fmla="*/ 286996 w 12191999"/>
              <a:gd name="connsiteY1515" fmla="*/ 3246513 h 4534608"/>
              <a:gd name="connsiteX1516" fmla="*/ 286996 w 12191999"/>
              <a:gd name="connsiteY1516" fmla="*/ 3252005 h 4534608"/>
              <a:gd name="connsiteX1517" fmla="*/ 156593 w 12191999"/>
              <a:gd name="connsiteY1517" fmla="*/ 3249390 h 4534608"/>
              <a:gd name="connsiteX1518" fmla="*/ 156593 w 12191999"/>
              <a:gd name="connsiteY1518" fmla="*/ 3252005 h 4534608"/>
              <a:gd name="connsiteX1519" fmla="*/ 0 w 12191999"/>
              <a:gd name="connsiteY1519" fmla="*/ 3252005 h 4534608"/>
              <a:gd name="connsiteX1520" fmla="*/ 5053549 w 12191999"/>
              <a:gd name="connsiteY1520" fmla="*/ 3049741 h 4534608"/>
              <a:gd name="connsiteX1521" fmla="*/ 5107569 w 12191999"/>
              <a:gd name="connsiteY1521" fmla="*/ 3088964 h 4534608"/>
              <a:gd name="connsiteX1522" fmla="*/ 5043215 w 12191999"/>
              <a:gd name="connsiteY1522" fmla="*/ 3252004 h 4534608"/>
              <a:gd name="connsiteX1523" fmla="*/ 4989194 w 12191999"/>
              <a:gd name="connsiteY1523" fmla="*/ 3212781 h 4534608"/>
              <a:gd name="connsiteX1524" fmla="*/ 2971628 w 12191999"/>
              <a:gd name="connsiteY1524" fmla="*/ 2798581 h 4534608"/>
              <a:gd name="connsiteX1525" fmla="*/ 3068157 w 12191999"/>
              <a:gd name="connsiteY1525" fmla="*/ 2942399 h 4534608"/>
              <a:gd name="connsiteX1526" fmla="*/ 3020543 w 12191999"/>
              <a:gd name="connsiteY1526" fmla="*/ 3000973 h 4534608"/>
              <a:gd name="connsiteX1527" fmla="*/ 2924017 w 12191999"/>
              <a:gd name="connsiteY1527" fmla="*/ 2857155 h 4534608"/>
              <a:gd name="connsiteX1528" fmla="*/ 2685179 w 12191999"/>
              <a:gd name="connsiteY1528" fmla="*/ 2798581 h 4534608"/>
              <a:gd name="connsiteX1529" fmla="*/ 2802897 w 12191999"/>
              <a:gd name="connsiteY1529" fmla="*/ 2929325 h 4534608"/>
              <a:gd name="connsiteX1530" fmla="*/ 2759733 w 12191999"/>
              <a:gd name="connsiteY1530" fmla="*/ 3000973 h 4534608"/>
              <a:gd name="connsiteX1531" fmla="*/ 2642014 w 12191999"/>
              <a:gd name="connsiteY1531" fmla="*/ 2870229 h 4534608"/>
              <a:gd name="connsiteX1532" fmla="*/ 3688533 w 12191999"/>
              <a:gd name="connsiteY1532" fmla="*/ 2798188 h 4534608"/>
              <a:gd name="connsiteX1533" fmla="*/ 3731435 w 12191999"/>
              <a:gd name="connsiteY1533" fmla="*/ 2974301 h 4534608"/>
              <a:gd name="connsiteX1534" fmla="*/ 3673098 w 12191999"/>
              <a:gd name="connsiteY1534" fmla="*/ 3000319 h 4534608"/>
              <a:gd name="connsiteX1535" fmla="*/ 3630198 w 12191999"/>
              <a:gd name="connsiteY1535" fmla="*/ 2824337 h 4534608"/>
              <a:gd name="connsiteX1536" fmla="*/ 3402084 w 12191999"/>
              <a:gd name="connsiteY1536" fmla="*/ 2798188 h 4534608"/>
              <a:gd name="connsiteX1537" fmla="*/ 3466438 w 12191999"/>
              <a:gd name="connsiteY1537" fmla="*/ 2961227 h 4534608"/>
              <a:gd name="connsiteX1538" fmla="*/ 3412419 w 12191999"/>
              <a:gd name="connsiteY1538" fmla="*/ 3000451 h 4534608"/>
              <a:gd name="connsiteX1539" fmla="*/ 3348062 w 12191999"/>
              <a:gd name="connsiteY1539" fmla="*/ 2837412 h 4534608"/>
              <a:gd name="connsiteX1540" fmla="*/ 5914718 w 12191999"/>
              <a:gd name="connsiteY1540" fmla="*/ 2798059 h 4534608"/>
              <a:gd name="connsiteX1541" fmla="*/ 5955789 w 12191999"/>
              <a:gd name="connsiteY1541" fmla="*/ 2876636 h 4534608"/>
              <a:gd name="connsiteX1542" fmla="*/ 5827084 w 12191999"/>
              <a:gd name="connsiteY1542" fmla="*/ 3000452 h 4534608"/>
              <a:gd name="connsiteX1543" fmla="*/ 5786014 w 12191999"/>
              <a:gd name="connsiteY1543" fmla="*/ 2922004 h 4534608"/>
              <a:gd name="connsiteX1544" fmla="*/ 5771102 w 12191999"/>
              <a:gd name="connsiteY1544" fmla="*/ 2797929 h 4534608"/>
              <a:gd name="connsiteX1545" fmla="*/ 5814397 w 12191999"/>
              <a:gd name="connsiteY1545" fmla="*/ 2869577 h 4534608"/>
              <a:gd name="connsiteX1546" fmla="*/ 5696678 w 12191999"/>
              <a:gd name="connsiteY1546" fmla="*/ 3000320 h 4534608"/>
              <a:gd name="connsiteX1547" fmla="*/ 5653383 w 12191999"/>
              <a:gd name="connsiteY1547" fmla="*/ 2928672 h 4534608"/>
              <a:gd name="connsiteX1548" fmla="*/ 5628402 w 12191999"/>
              <a:gd name="connsiteY1548" fmla="*/ 2797929 h 4534608"/>
              <a:gd name="connsiteX1549" fmla="*/ 5673788 w 12191999"/>
              <a:gd name="connsiteY1549" fmla="*/ 2863431 h 4534608"/>
              <a:gd name="connsiteX1550" fmla="*/ 5566534 w 12191999"/>
              <a:gd name="connsiteY1550" fmla="*/ 3000320 h 4534608"/>
              <a:gd name="connsiteX1551" fmla="*/ 5521146 w 12191999"/>
              <a:gd name="connsiteY1551" fmla="*/ 2934949 h 4534608"/>
              <a:gd name="connsiteX1552" fmla="*/ 5484523 w 12191999"/>
              <a:gd name="connsiteY1552" fmla="*/ 2797929 h 4534608"/>
              <a:gd name="connsiteX1553" fmla="*/ 5532002 w 12191999"/>
              <a:gd name="connsiteY1553" fmla="*/ 2856502 h 4534608"/>
              <a:gd name="connsiteX1554" fmla="*/ 5435474 w 12191999"/>
              <a:gd name="connsiteY1554" fmla="*/ 3000320 h 4534608"/>
              <a:gd name="connsiteX1555" fmla="*/ 5387994 w 12191999"/>
              <a:gd name="connsiteY1555" fmla="*/ 2941747 h 4534608"/>
              <a:gd name="connsiteX1556" fmla="*/ 4768270 w 12191999"/>
              <a:gd name="connsiteY1556" fmla="*/ 2797929 h 4534608"/>
              <a:gd name="connsiteX1557" fmla="*/ 4826606 w 12191999"/>
              <a:gd name="connsiteY1557" fmla="*/ 2824078 h 4534608"/>
              <a:gd name="connsiteX1558" fmla="*/ 4783705 w 12191999"/>
              <a:gd name="connsiteY1558" fmla="*/ 3000059 h 4534608"/>
              <a:gd name="connsiteX1559" fmla="*/ 4725368 w 12191999"/>
              <a:gd name="connsiteY1559" fmla="*/ 2974041 h 4534608"/>
              <a:gd name="connsiteX1560" fmla="*/ 3258860 w 12191999"/>
              <a:gd name="connsiteY1560" fmla="*/ 2797797 h 4534608"/>
              <a:gd name="connsiteX1561" fmla="*/ 3333939 w 12191999"/>
              <a:gd name="connsiteY1561" fmla="*/ 2954689 h 4534608"/>
              <a:gd name="connsiteX1562" fmla="*/ 3281619 w 12191999"/>
              <a:gd name="connsiteY1562" fmla="*/ 3000319 h 4534608"/>
              <a:gd name="connsiteX1563" fmla="*/ 3206538 w 12191999"/>
              <a:gd name="connsiteY1563" fmla="*/ 2843426 h 4534608"/>
              <a:gd name="connsiteX1564" fmla="*/ 2828402 w 12191999"/>
              <a:gd name="connsiteY1564" fmla="*/ 2797797 h 4534608"/>
              <a:gd name="connsiteX1565" fmla="*/ 2935657 w 12191999"/>
              <a:gd name="connsiteY1565" fmla="*/ 2934816 h 4534608"/>
              <a:gd name="connsiteX1566" fmla="*/ 2890271 w 12191999"/>
              <a:gd name="connsiteY1566" fmla="*/ 3000188 h 4534608"/>
              <a:gd name="connsiteX1567" fmla="*/ 2783015 w 12191999"/>
              <a:gd name="connsiteY1567" fmla="*/ 2863299 h 4534608"/>
              <a:gd name="connsiteX1568" fmla="*/ 4482999 w 12191999"/>
              <a:gd name="connsiteY1568" fmla="*/ 2797536 h 4534608"/>
              <a:gd name="connsiteX1569" fmla="*/ 4545651 w 12191999"/>
              <a:gd name="connsiteY1569" fmla="*/ 2810610 h 4534608"/>
              <a:gd name="connsiteX1570" fmla="*/ 4523416 w 12191999"/>
              <a:gd name="connsiteY1570" fmla="*/ 3000059 h 4534608"/>
              <a:gd name="connsiteX1571" fmla="*/ 4461548 w 12191999"/>
              <a:gd name="connsiteY1571" fmla="*/ 2986724 h 4534608"/>
              <a:gd name="connsiteX1572" fmla="*/ 4196426 w 12191999"/>
              <a:gd name="connsiteY1572" fmla="*/ 2797536 h 4534608"/>
              <a:gd name="connsiteX1573" fmla="*/ 4263388 w 12191999"/>
              <a:gd name="connsiteY1573" fmla="*/ 2797536 h 4534608"/>
              <a:gd name="connsiteX1574" fmla="*/ 4263388 w 12191999"/>
              <a:gd name="connsiteY1574" fmla="*/ 2999666 h 4534608"/>
              <a:gd name="connsiteX1575" fmla="*/ 4261294 w 12191999"/>
              <a:gd name="connsiteY1575" fmla="*/ 2999666 h 4534608"/>
              <a:gd name="connsiteX1576" fmla="*/ 4261294 w 12191999"/>
              <a:gd name="connsiteY1576" fmla="*/ 2999797 h 4534608"/>
              <a:gd name="connsiteX1577" fmla="*/ 4194332 w 12191999"/>
              <a:gd name="connsiteY1577" fmla="*/ 2999797 h 4534608"/>
              <a:gd name="connsiteX1578" fmla="*/ 4194332 w 12191999"/>
              <a:gd name="connsiteY1578" fmla="*/ 2797666 h 4534608"/>
              <a:gd name="connsiteX1579" fmla="*/ 4196426 w 12191999"/>
              <a:gd name="connsiteY1579" fmla="*/ 2797666 h 4534608"/>
              <a:gd name="connsiteX1580" fmla="*/ 4118075 w 12191999"/>
              <a:gd name="connsiteY1580" fmla="*/ 2797534 h 4534608"/>
              <a:gd name="connsiteX1581" fmla="*/ 4128801 w 12191999"/>
              <a:gd name="connsiteY1581" fmla="*/ 2993651 h 4534608"/>
              <a:gd name="connsiteX1582" fmla="*/ 4064053 w 12191999"/>
              <a:gd name="connsiteY1582" fmla="*/ 3000188 h 4534608"/>
              <a:gd name="connsiteX1583" fmla="*/ 4053330 w 12191999"/>
              <a:gd name="connsiteY1583" fmla="*/ 2804071 h 4534608"/>
              <a:gd name="connsiteX1584" fmla="*/ 3974849 w 12191999"/>
              <a:gd name="connsiteY1584" fmla="*/ 2797534 h 4534608"/>
              <a:gd name="connsiteX1585" fmla="*/ 3996303 w 12191999"/>
              <a:gd name="connsiteY1585" fmla="*/ 2986722 h 4534608"/>
              <a:gd name="connsiteX1586" fmla="*/ 3933650 w 12191999"/>
              <a:gd name="connsiteY1586" fmla="*/ 2999665 h 4534608"/>
              <a:gd name="connsiteX1587" fmla="*/ 3912199 w 12191999"/>
              <a:gd name="connsiteY1587" fmla="*/ 2810609 h 4534608"/>
              <a:gd name="connsiteX1588" fmla="*/ 3832019 w 12191999"/>
              <a:gd name="connsiteY1588" fmla="*/ 2797534 h 4534608"/>
              <a:gd name="connsiteX1589" fmla="*/ 3864196 w 12191999"/>
              <a:gd name="connsiteY1589" fmla="*/ 2980576 h 4534608"/>
              <a:gd name="connsiteX1590" fmla="*/ 3803636 w 12191999"/>
              <a:gd name="connsiteY1590" fmla="*/ 3000188 h 4534608"/>
              <a:gd name="connsiteX1591" fmla="*/ 3771460 w 12191999"/>
              <a:gd name="connsiteY1591" fmla="*/ 2817146 h 4534608"/>
              <a:gd name="connsiteX1592" fmla="*/ 2542609 w 12191999"/>
              <a:gd name="connsiteY1592" fmla="*/ 2797534 h 4534608"/>
              <a:gd name="connsiteX1593" fmla="*/ 2671314 w 12191999"/>
              <a:gd name="connsiteY1593" fmla="*/ 2921481 h 4534608"/>
              <a:gd name="connsiteX1594" fmla="*/ 2630242 w 12191999"/>
              <a:gd name="connsiteY1594" fmla="*/ 2999927 h 4534608"/>
              <a:gd name="connsiteX1595" fmla="*/ 2501668 w 12191999"/>
              <a:gd name="connsiteY1595" fmla="*/ 2876112 h 4534608"/>
              <a:gd name="connsiteX1596" fmla="*/ 5341429 w 12191999"/>
              <a:gd name="connsiteY1596" fmla="*/ 2797405 h 4534608"/>
              <a:gd name="connsiteX1597" fmla="*/ 5391132 w 12191999"/>
              <a:gd name="connsiteY1597" fmla="*/ 2849704 h 4534608"/>
              <a:gd name="connsiteX1598" fmla="*/ 5305329 w 12191999"/>
              <a:gd name="connsiteY1598" fmla="*/ 2999666 h 4534608"/>
              <a:gd name="connsiteX1599" fmla="*/ 5255626 w 12191999"/>
              <a:gd name="connsiteY1599" fmla="*/ 2947369 h 4534608"/>
              <a:gd name="connsiteX1600" fmla="*/ 5054981 w 12191999"/>
              <a:gd name="connsiteY1600" fmla="*/ 2797405 h 4534608"/>
              <a:gd name="connsiteX1601" fmla="*/ 5109001 w 12191999"/>
              <a:gd name="connsiteY1601" fmla="*/ 2836629 h 4534608"/>
              <a:gd name="connsiteX1602" fmla="*/ 5044778 w 12191999"/>
              <a:gd name="connsiteY1602" fmla="*/ 2999666 h 4534608"/>
              <a:gd name="connsiteX1603" fmla="*/ 4990628 w 12191999"/>
              <a:gd name="connsiteY1603" fmla="*/ 2960444 h 4534608"/>
              <a:gd name="connsiteX1604" fmla="*/ 4912149 w 12191999"/>
              <a:gd name="connsiteY1604" fmla="*/ 2797405 h 4534608"/>
              <a:gd name="connsiteX1605" fmla="*/ 4968392 w 12191999"/>
              <a:gd name="connsiteY1605" fmla="*/ 2830092 h 4534608"/>
              <a:gd name="connsiteX1606" fmla="*/ 4914764 w 12191999"/>
              <a:gd name="connsiteY1606" fmla="*/ 3000059 h 4534608"/>
              <a:gd name="connsiteX1607" fmla="*/ 4858652 w 12191999"/>
              <a:gd name="connsiteY1607" fmla="*/ 2967373 h 4534608"/>
              <a:gd name="connsiteX1608" fmla="*/ 4625831 w 12191999"/>
              <a:gd name="connsiteY1608" fmla="*/ 2797405 h 4534608"/>
              <a:gd name="connsiteX1609" fmla="*/ 4686390 w 12191999"/>
              <a:gd name="connsiteY1609" fmla="*/ 2817017 h 4534608"/>
              <a:gd name="connsiteX1610" fmla="*/ 4654213 w 12191999"/>
              <a:gd name="connsiteY1610" fmla="*/ 3000059 h 4534608"/>
              <a:gd name="connsiteX1611" fmla="*/ 4593654 w 12191999"/>
              <a:gd name="connsiteY1611" fmla="*/ 2980447 h 4534608"/>
              <a:gd name="connsiteX1612" fmla="*/ 3115768 w 12191999"/>
              <a:gd name="connsiteY1612" fmla="*/ 2797404 h 4534608"/>
              <a:gd name="connsiteX1613" fmla="*/ 3201571 w 12191999"/>
              <a:gd name="connsiteY1613" fmla="*/ 2947368 h 4534608"/>
              <a:gd name="connsiteX1614" fmla="*/ 3151736 w 12191999"/>
              <a:gd name="connsiteY1614" fmla="*/ 2999665 h 4534608"/>
              <a:gd name="connsiteX1615" fmla="*/ 3066064 w 12191999"/>
              <a:gd name="connsiteY1615" fmla="*/ 2849702 h 4534608"/>
              <a:gd name="connsiteX1616" fmla="*/ 7776896 w 12191999"/>
              <a:gd name="connsiteY1616" fmla="*/ 2797275 h 4534608"/>
              <a:gd name="connsiteX1617" fmla="*/ 7778336 w 12191999"/>
              <a:gd name="connsiteY1617" fmla="*/ 2813879 h 4534608"/>
              <a:gd name="connsiteX1618" fmla="*/ 7920121 w 12191999"/>
              <a:gd name="connsiteY1618" fmla="*/ 2797275 h 4534608"/>
              <a:gd name="connsiteX1619" fmla="*/ 7921036 w 12191999"/>
              <a:gd name="connsiteY1619" fmla="*/ 2810349 h 4534608"/>
              <a:gd name="connsiteX1620" fmla="*/ 8063346 w 12191999"/>
              <a:gd name="connsiteY1620" fmla="*/ 2797275 h 4534608"/>
              <a:gd name="connsiteX1621" fmla="*/ 8063346 w 12191999"/>
              <a:gd name="connsiteY1621" fmla="*/ 2806557 h 4534608"/>
              <a:gd name="connsiteX1622" fmla="*/ 8206046 w 12191999"/>
              <a:gd name="connsiteY1622" fmla="*/ 2797275 h 4534608"/>
              <a:gd name="connsiteX1623" fmla="*/ 8206046 w 12191999"/>
              <a:gd name="connsiteY1623" fmla="*/ 2803158 h 4534608"/>
              <a:gd name="connsiteX1624" fmla="*/ 8215202 w 12191999"/>
              <a:gd name="connsiteY1624" fmla="*/ 2803158 h 4534608"/>
              <a:gd name="connsiteX1625" fmla="*/ 8303100 w 12191999"/>
              <a:gd name="connsiteY1625" fmla="*/ 2799498 h 4534608"/>
              <a:gd name="connsiteX1626" fmla="*/ 8303100 w 12191999"/>
              <a:gd name="connsiteY1626" fmla="*/ 2797536 h 4534608"/>
              <a:gd name="connsiteX1627" fmla="*/ 12191607 w 12191999"/>
              <a:gd name="connsiteY1627" fmla="*/ 2797536 h 4534608"/>
              <a:gd name="connsiteX1628" fmla="*/ 12191607 w 12191999"/>
              <a:gd name="connsiteY1628" fmla="*/ 3000059 h 4534608"/>
              <a:gd name="connsiteX1629" fmla="*/ 8304406 w 12191999"/>
              <a:gd name="connsiteY1629" fmla="*/ 3000320 h 4534608"/>
              <a:gd name="connsiteX1630" fmla="*/ 8304406 w 12191999"/>
              <a:gd name="connsiteY1630" fmla="*/ 2997706 h 4534608"/>
              <a:gd name="connsiteX1631" fmla="*/ 8173609 w 12191999"/>
              <a:gd name="connsiteY1631" fmla="*/ 3000320 h 4534608"/>
              <a:gd name="connsiteX1632" fmla="*/ 8173609 w 12191999"/>
              <a:gd name="connsiteY1632" fmla="*/ 2994961 h 4534608"/>
              <a:gd name="connsiteX1633" fmla="*/ 8042810 w 12191999"/>
              <a:gd name="connsiteY1633" fmla="*/ 3000320 h 4534608"/>
              <a:gd name="connsiteX1634" fmla="*/ 8042810 w 12191999"/>
              <a:gd name="connsiteY1634" fmla="*/ 2991953 h 4534608"/>
              <a:gd name="connsiteX1635" fmla="*/ 7912012 w 12191999"/>
              <a:gd name="connsiteY1635" fmla="*/ 3000320 h 4534608"/>
              <a:gd name="connsiteX1636" fmla="*/ 7912012 w 12191999"/>
              <a:gd name="connsiteY1636" fmla="*/ 2988684 h 4534608"/>
              <a:gd name="connsiteX1637" fmla="*/ 7782128 w 12191999"/>
              <a:gd name="connsiteY1637" fmla="*/ 3000320 h 4534608"/>
              <a:gd name="connsiteX1638" fmla="*/ 7781344 w 12191999"/>
              <a:gd name="connsiteY1638" fmla="*/ 2985285 h 4534608"/>
              <a:gd name="connsiteX1639" fmla="*/ 7651722 w 12191999"/>
              <a:gd name="connsiteY1639" fmla="*/ 3000320 h 4534608"/>
              <a:gd name="connsiteX1640" fmla="*/ 7650545 w 12191999"/>
              <a:gd name="connsiteY1640" fmla="*/ 2981493 h 4534608"/>
              <a:gd name="connsiteX1641" fmla="*/ 7521447 w 12191999"/>
              <a:gd name="connsiteY1641" fmla="*/ 3000320 h 4534608"/>
              <a:gd name="connsiteX1642" fmla="*/ 7519616 w 12191999"/>
              <a:gd name="connsiteY1642" fmla="*/ 2977572 h 4534608"/>
              <a:gd name="connsiteX1643" fmla="*/ 7391172 w 12191999"/>
              <a:gd name="connsiteY1643" fmla="*/ 3000320 h 4534608"/>
              <a:gd name="connsiteX1644" fmla="*/ 7388556 w 12191999"/>
              <a:gd name="connsiteY1644" fmla="*/ 2973388 h 4534608"/>
              <a:gd name="connsiteX1645" fmla="*/ 7260766 w 12191999"/>
              <a:gd name="connsiteY1645" fmla="*/ 3000320 h 4534608"/>
              <a:gd name="connsiteX1646" fmla="*/ 7257234 w 12191999"/>
              <a:gd name="connsiteY1646" fmla="*/ 2968811 h 4534608"/>
              <a:gd name="connsiteX1647" fmla="*/ 7130491 w 12191999"/>
              <a:gd name="connsiteY1647" fmla="*/ 3000320 h 4534608"/>
              <a:gd name="connsiteX1648" fmla="*/ 7125651 w 12191999"/>
              <a:gd name="connsiteY1648" fmla="*/ 2964104 h 4534608"/>
              <a:gd name="connsiteX1649" fmla="*/ 7000215 w 12191999"/>
              <a:gd name="connsiteY1649" fmla="*/ 3000320 h 4534608"/>
              <a:gd name="connsiteX1650" fmla="*/ 6993675 w 12191999"/>
              <a:gd name="connsiteY1650" fmla="*/ 2959005 h 4534608"/>
              <a:gd name="connsiteX1651" fmla="*/ 6869941 w 12191999"/>
              <a:gd name="connsiteY1651" fmla="*/ 3000320 h 4534608"/>
              <a:gd name="connsiteX1652" fmla="*/ 6861307 w 12191999"/>
              <a:gd name="connsiteY1652" fmla="*/ 2953646 h 4534608"/>
              <a:gd name="connsiteX1653" fmla="*/ 6739534 w 12191999"/>
              <a:gd name="connsiteY1653" fmla="*/ 3000320 h 4534608"/>
              <a:gd name="connsiteX1654" fmla="*/ 6728548 w 12191999"/>
              <a:gd name="connsiteY1654" fmla="*/ 2948023 h 4534608"/>
              <a:gd name="connsiteX1655" fmla="*/ 6609259 w 12191999"/>
              <a:gd name="connsiteY1655" fmla="*/ 3000320 h 4534608"/>
              <a:gd name="connsiteX1656" fmla="*/ 6595263 w 12191999"/>
              <a:gd name="connsiteY1656" fmla="*/ 2942140 h 4534608"/>
              <a:gd name="connsiteX1657" fmla="*/ 6478983 w 12191999"/>
              <a:gd name="connsiteY1657" fmla="*/ 3000320 h 4534608"/>
              <a:gd name="connsiteX1658" fmla="*/ 6461456 w 12191999"/>
              <a:gd name="connsiteY1658" fmla="*/ 2936126 h 4534608"/>
              <a:gd name="connsiteX1659" fmla="*/ 6348578 w 12191999"/>
              <a:gd name="connsiteY1659" fmla="*/ 3000320 h 4534608"/>
              <a:gd name="connsiteX1660" fmla="*/ 6326733 w 12191999"/>
              <a:gd name="connsiteY1660" fmla="*/ 2929980 h 4534608"/>
              <a:gd name="connsiteX1661" fmla="*/ 6218303 w 12191999"/>
              <a:gd name="connsiteY1661" fmla="*/ 3000320 h 4534608"/>
              <a:gd name="connsiteX1662" fmla="*/ 6191358 w 12191999"/>
              <a:gd name="connsiteY1662" fmla="*/ 2924097 h 4534608"/>
              <a:gd name="connsiteX1663" fmla="*/ 6088026 w 12191999"/>
              <a:gd name="connsiteY1663" fmla="*/ 3000320 h 4534608"/>
              <a:gd name="connsiteX1664" fmla="*/ 6055066 w 12191999"/>
              <a:gd name="connsiteY1664" fmla="*/ 2918475 h 4534608"/>
              <a:gd name="connsiteX1665" fmla="*/ 5957752 w 12191999"/>
              <a:gd name="connsiteY1665" fmla="*/ 3000320 h 4534608"/>
              <a:gd name="connsiteX1666" fmla="*/ 5918512 w 12191999"/>
              <a:gd name="connsiteY1666" fmla="*/ 2915599 h 4534608"/>
              <a:gd name="connsiteX1667" fmla="*/ 6057943 w 12191999"/>
              <a:gd name="connsiteY1667" fmla="*/ 2797929 h 4534608"/>
              <a:gd name="connsiteX1668" fmla="*/ 6094175 w 12191999"/>
              <a:gd name="connsiteY1668" fmla="*/ 2876375 h 4534608"/>
              <a:gd name="connsiteX1669" fmla="*/ 6201168 w 12191999"/>
              <a:gd name="connsiteY1669" fmla="*/ 2797929 h 4534608"/>
              <a:gd name="connsiteX1670" fmla="*/ 6230729 w 12191999"/>
              <a:gd name="connsiteY1670" fmla="*/ 2871668 h 4534608"/>
              <a:gd name="connsiteX1671" fmla="*/ 6344261 w 12191999"/>
              <a:gd name="connsiteY1671" fmla="*/ 2797929 h 4534608"/>
              <a:gd name="connsiteX1672" fmla="*/ 6368327 w 12191999"/>
              <a:gd name="connsiteY1672" fmla="*/ 2865915 h 4534608"/>
              <a:gd name="connsiteX1673" fmla="*/ 6487486 w 12191999"/>
              <a:gd name="connsiteY1673" fmla="*/ 2797929 h 4534608"/>
              <a:gd name="connsiteX1674" fmla="*/ 6506843 w 12191999"/>
              <a:gd name="connsiteY1674" fmla="*/ 2860032 h 4534608"/>
              <a:gd name="connsiteX1675" fmla="*/ 6630841 w 12191999"/>
              <a:gd name="connsiteY1675" fmla="*/ 2797536 h 4534608"/>
              <a:gd name="connsiteX1676" fmla="*/ 6646144 w 12191999"/>
              <a:gd name="connsiteY1676" fmla="*/ 2853757 h 4534608"/>
              <a:gd name="connsiteX1677" fmla="*/ 6774064 w 12191999"/>
              <a:gd name="connsiteY1677" fmla="*/ 2797536 h 4534608"/>
              <a:gd name="connsiteX1678" fmla="*/ 6786097 w 12191999"/>
              <a:gd name="connsiteY1678" fmla="*/ 2847872 h 4534608"/>
              <a:gd name="connsiteX1679" fmla="*/ 6916896 w 12191999"/>
              <a:gd name="connsiteY1679" fmla="*/ 2797536 h 4534608"/>
              <a:gd name="connsiteX1680" fmla="*/ 6926183 w 12191999"/>
              <a:gd name="connsiteY1680" fmla="*/ 2842382 h 4534608"/>
              <a:gd name="connsiteX1681" fmla="*/ 7060383 w 12191999"/>
              <a:gd name="connsiteY1681" fmla="*/ 2797536 h 4534608"/>
              <a:gd name="connsiteX1682" fmla="*/ 7067445 w 12191999"/>
              <a:gd name="connsiteY1682" fmla="*/ 2836760 h 4534608"/>
              <a:gd name="connsiteX1683" fmla="*/ 7203476 w 12191999"/>
              <a:gd name="connsiteY1683" fmla="*/ 2797536 h 4534608"/>
              <a:gd name="connsiteX1684" fmla="*/ 7208969 w 12191999"/>
              <a:gd name="connsiteY1684" fmla="*/ 2831791 h 4534608"/>
              <a:gd name="connsiteX1685" fmla="*/ 7346701 w 12191999"/>
              <a:gd name="connsiteY1685" fmla="*/ 2797536 h 4534608"/>
              <a:gd name="connsiteX1686" fmla="*/ 7350756 w 12191999"/>
              <a:gd name="connsiteY1686" fmla="*/ 2826954 h 4534608"/>
              <a:gd name="connsiteX1687" fmla="*/ 7489924 w 12191999"/>
              <a:gd name="connsiteY1687" fmla="*/ 2797536 h 4534608"/>
              <a:gd name="connsiteX1688" fmla="*/ 7492803 w 12191999"/>
              <a:gd name="connsiteY1688" fmla="*/ 2822509 h 4534608"/>
              <a:gd name="connsiteX1689" fmla="*/ 7633149 w 12191999"/>
              <a:gd name="connsiteY1689" fmla="*/ 2797536 h 4534608"/>
              <a:gd name="connsiteX1690" fmla="*/ 7635111 w 12191999"/>
              <a:gd name="connsiteY1690" fmla="*/ 2818193 h 4534608"/>
              <a:gd name="connsiteX1691" fmla="*/ 2256680 w 12191999"/>
              <a:gd name="connsiteY1691" fmla="*/ 2797273 h 4534608"/>
              <a:gd name="connsiteX1692" fmla="*/ 2363676 w 12191999"/>
              <a:gd name="connsiteY1692" fmla="*/ 2875720 h 4534608"/>
              <a:gd name="connsiteX1693" fmla="*/ 2399907 w 12191999"/>
              <a:gd name="connsiteY1693" fmla="*/ 2797273 h 4534608"/>
              <a:gd name="connsiteX1694" fmla="*/ 2539208 w 12191999"/>
              <a:gd name="connsiteY1694" fmla="*/ 2914943 h 4534608"/>
              <a:gd name="connsiteX1695" fmla="*/ 2499966 w 12191999"/>
              <a:gd name="connsiteY1695" fmla="*/ 2999665 h 4534608"/>
              <a:gd name="connsiteX1696" fmla="*/ 2402653 w 12191999"/>
              <a:gd name="connsiteY1696" fmla="*/ 2917819 h 4534608"/>
              <a:gd name="connsiteX1697" fmla="*/ 2369692 w 12191999"/>
              <a:gd name="connsiteY1697" fmla="*/ 2999665 h 4534608"/>
              <a:gd name="connsiteX1698" fmla="*/ 2266362 w 12191999"/>
              <a:gd name="connsiteY1698" fmla="*/ 2923441 h 4534608"/>
              <a:gd name="connsiteX1699" fmla="*/ 2239287 w 12191999"/>
              <a:gd name="connsiteY1699" fmla="*/ 2999665 h 4534608"/>
              <a:gd name="connsiteX1700" fmla="*/ 2130855 w 12191999"/>
              <a:gd name="connsiteY1700" fmla="*/ 2929325 h 4534608"/>
              <a:gd name="connsiteX1701" fmla="*/ 2109011 w 12191999"/>
              <a:gd name="connsiteY1701" fmla="*/ 2999665 h 4534608"/>
              <a:gd name="connsiteX1702" fmla="*/ 1996262 w 12191999"/>
              <a:gd name="connsiteY1702" fmla="*/ 2935470 h 4534608"/>
              <a:gd name="connsiteX1703" fmla="*/ 1978736 w 12191999"/>
              <a:gd name="connsiteY1703" fmla="*/ 2999665 h 4534608"/>
              <a:gd name="connsiteX1704" fmla="*/ 1862325 w 12191999"/>
              <a:gd name="connsiteY1704" fmla="*/ 2941484 h 4534608"/>
              <a:gd name="connsiteX1705" fmla="*/ 1848460 w 12191999"/>
              <a:gd name="connsiteY1705" fmla="*/ 2999665 h 4534608"/>
              <a:gd name="connsiteX1706" fmla="*/ 1729041 w 12191999"/>
              <a:gd name="connsiteY1706" fmla="*/ 2947368 h 4534608"/>
              <a:gd name="connsiteX1707" fmla="*/ 1718054 w 12191999"/>
              <a:gd name="connsiteY1707" fmla="*/ 2999665 h 4534608"/>
              <a:gd name="connsiteX1708" fmla="*/ 1596281 w 12191999"/>
              <a:gd name="connsiteY1708" fmla="*/ 2952990 h 4534608"/>
              <a:gd name="connsiteX1709" fmla="*/ 1587779 w 12191999"/>
              <a:gd name="connsiteY1709" fmla="*/ 2999665 h 4534608"/>
              <a:gd name="connsiteX1710" fmla="*/ 1464043 w 12191999"/>
              <a:gd name="connsiteY1710" fmla="*/ 2958350 h 4534608"/>
              <a:gd name="connsiteX1711" fmla="*/ 1457503 w 12191999"/>
              <a:gd name="connsiteY1711" fmla="*/ 2999665 h 4534608"/>
              <a:gd name="connsiteX1712" fmla="*/ 1332067 w 12191999"/>
              <a:gd name="connsiteY1712" fmla="*/ 2963450 h 4534608"/>
              <a:gd name="connsiteX1713" fmla="*/ 1327098 w 12191999"/>
              <a:gd name="connsiteY1713" fmla="*/ 2999665 h 4534608"/>
              <a:gd name="connsiteX1714" fmla="*/ 1200484 w 12191999"/>
              <a:gd name="connsiteY1714" fmla="*/ 2968156 h 4534608"/>
              <a:gd name="connsiteX1715" fmla="*/ 1196822 w 12191999"/>
              <a:gd name="connsiteY1715" fmla="*/ 2999665 h 4534608"/>
              <a:gd name="connsiteX1716" fmla="*/ 1069168 w 12191999"/>
              <a:gd name="connsiteY1716" fmla="*/ 2972732 h 4534608"/>
              <a:gd name="connsiteX1717" fmla="*/ 1066552 w 12191999"/>
              <a:gd name="connsiteY1717" fmla="*/ 2999665 h 4534608"/>
              <a:gd name="connsiteX1718" fmla="*/ 937977 w 12191999"/>
              <a:gd name="connsiteY1718" fmla="*/ 2976916 h 4534608"/>
              <a:gd name="connsiteX1719" fmla="*/ 936278 w 12191999"/>
              <a:gd name="connsiteY1719" fmla="*/ 2999665 h 4534608"/>
              <a:gd name="connsiteX1720" fmla="*/ 807050 w 12191999"/>
              <a:gd name="connsiteY1720" fmla="*/ 2980839 h 4534608"/>
              <a:gd name="connsiteX1721" fmla="*/ 805873 w 12191999"/>
              <a:gd name="connsiteY1721" fmla="*/ 2999665 h 4534608"/>
              <a:gd name="connsiteX1722" fmla="*/ 676383 w 12191999"/>
              <a:gd name="connsiteY1722" fmla="*/ 2984630 h 4534608"/>
              <a:gd name="connsiteX1723" fmla="*/ 675597 w 12191999"/>
              <a:gd name="connsiteY1723" fmla="*/ 2999665 h 4534608"/>
              <a:gd name="connsiteX1724" fmla="*/ 545715 w 12191999"/>
              <a:gd name="connsiteY1724" fmla="*/ 2988029 h 4534608"/>
              <a:gd name="connsiteX1725" fmla="*/ 545715 w 12191999"/>
              <a:gd name="connsiteY1725" fmla="*/ 2999665 h 4534608"/>
              <a:gd name="connsiteX1726" fmla="*/ 415570 w 12191999"/>
              <a:gd name="connsiteY1726" fmla="*/ 2991297 h 4534608"/>
              <a:gd name="connsiteX1727" fmla="*/ 415570 w 12191999"/>
              <a:gd name="connsiteY1727" fmla="*/ 2999665 h 4534608"/>
              <a:gd name="connsiteX1728" fmla="*/ 285426 w 12191999"/>
              <a:gd name="connsiteY1728" fmla="*/ 2994305 h 4534608"/>
              <a:gd name="connsiteX1729" fmla="*/ 285426 w 12191999"/>
              <a:gd name="connsiteY1729" fmla="*/ 2999665 h 4534608"/>
              <a:gd name="connsiteX1730" fmla="*/ 154631 w 12191999"/>
              <a:gd name="connsiteY1730" fmla="*/ 2997050 h 4534608"/>
              <a:gd name="connsiteX1731" fmla="*/ 154631 w 12191999"/>
              <a:gd name="connsiteY1731" fmla="*/ 2999665 h 4534608"/>
              <a:gd name="connsiteX1732" fmla="*/ 0 w 12191999"/>
              <a:gd name="connsiteY1732" fmla="*/ 2999691 h 4534608"/>
              <a:gd name="connsiteX1733" fmla="*/ 0 w 12191999"/>
              <a:gd name="connsiteY1733" fmla="*/ 2798188 h 4534608"/>
              <a:gd name="connsiteX1734" fmla="*/ 155678 w 12191999"/>
              <a:gd name="connsiteY1734" fmla="*/ 2798188 h 4534608"/>
              <a:gd name="connsiteX1735" fmla="*/ 155678 w 12191999"/>
              <a:gd name="connsiteY1735" fmla="*/ 2800150 h 4534608"/>
              <a:gd name="connsiteX1736" fmla="*/ 243575 w 12191999"/>
              <a:gd name="connsiteY1736" fmla="*/ 2803810 h 4534608"/>
              <a:gd name="connsiteX1737" fmla="*/ 252599 w 12191999"/>
              <a:gd name="connsiteY1737" fmla="*/ 2803810 h 4534608"/>
              <a:gd name="connsiteX1738" fmla="*/ 252599 w 12191999"/>
              <a:gd name="connsiteY1738" fmla="*/ 2797927 h 4534608"/>
              <a:gd name="connsiteX1739" fmla="*/ 395296 w 12191999"/>
              <a:gd name="connsiteY1739" fmla="*/ 2807210 h 4534608"/>
              <a:gd name="connsiteX1740" fmla="*/ 395296 w 12191999"/>
              <a:gd name="connsiteY1740" fmla="*/ 2797927 h 4534608"/>
              <a:gd name="connsiteX1741" fmla="*/ 537737 w 12191999"/>
              <a:gd name="connsiteY1741" fmla="*/ 2811002 h 4534608"/>
              <a:gd name="connsiteX1742" fmla="*/ 538521 w 12191999"/>
              <a:gd name="connsiteY1742" fmla="*/ 2797927 h 4534608"/>
              <a:gd name="connsiteX1743" fmla="*/ 680438 w 12191999"/>
              <a:gd name="connsiteY1743" fmla="*/ 2814531 h 4534608"/>
              <a:gd name="connsiteX1744" fmla="*/ 681746 w 12191999"/>
              <a:gd name="connsiteY1744" fmla="*/ 2797927 h 4534608"/>
              <a:gd name="connsiteX1745" fmla="*/ 823009 w 12191999"/>
              <a:gd name="connsiteY1745" fmla="*/ 2818585 h 4534608"/>
              <a:gd name="connsiteX1746" fmla="*/ 824969 w 12191999"/>
              <a:gd name="connsiteY1746" fmla="*/ 2797927 h 4534608"/>
              <a:gd name="connsiteX1747" fmla="*/ 965314 w 12191999"/>
              <a:gd name="connsiteY1747" fmla="*/ 2822899 h 4534608"/>
              <a:gd name="connsiteX1748" fmla="*/ 968192 w 12191999"/>
              <a:gd name="connsiteY1748" fmla="*/ 2797927 h 4534608"/>
              <a:gd name="connsiteX1749" fmla="*/ 1107361 w 12191999"/>
              <a:gd name="connsiteY1749" fmla="*/ 2827345 h 4534608"/>
              <a:gd name="connsiteX1750" fmla="*/ 1111279 w 12191999"/>
              <a:gd name="connsiteY1750" fmla="*/ 2797927 h 4534608"/>
              <a:gd name="connsiteX1751" fmla="*/ 1249142 w 12191999"/>
              <a:gd name="connsiteY1751" fmla="*/ 2832181 h 4534608"/>
              <a:gd name="connsiteX1752" fmla="*/ 1254504 w 12191999"/>
              <a:gd name="connsiteY1752" fmla="*/ 2797927 h 4534608"/>
              <a:gd name="connsiteX1753" fmla="*/ 1390534 w 12191999"/>
              <a:gd name="connsiteY1753" fmla="*/ 2837150 h 4534608"/>
              <a:gd name="connsiteX1754" fmla="*/ 1397729 w 12191999"/>
              <a:gd name="connsiteY1754" fmla="*/ 2797927 h 4534608"/>
              <a:gd name="connsiteX1755" fmla="*/ 1531535 w 12191999"/>
              <a:gd name="connsiteY1755" fmla="*/ 2842772 h 4534608"/>
              <a:gd name="connsiteX1756" fmla="*/ 1540952 w 12191999"/>
              <a:gd name="connsiteY1756" fmla="*/ 2797927 h 4534608"/>
              <a:gd name="connsiteX1757" fmla="*/ 1671751 w 12191999"/>
              <a:gd name="connsiteY1757" fmla="*/ 2848264 h 4534608"/>
              <a:gd name="connsiteX1758" fmla="*/ 1683786 w 12191999"/>
              <a:gd name="connsiteY1758" fmla="*/ 2797927 h 4534608"/>
              <a:gd name="connsiteX1759" fmla="*/ 1811575 w 12191999"/>
              <a:gd name="connsiteY1759" fmla="*/ 2854147 h 4534608"/>
              <a:gd name="connsiteX1760" fmla="*/ 1826878 w 12191999"/>
              <a:gd name="connsiteY1760" fmla="*/ 2797927 h 4534608"/>
              <a:gd name="connsiteX1761" fmla="*/ 1950876 w 12191999"/>
              <a:gd name="connsiteY1761" fmla="*/ 2860030 h 4534608"/>
              <a:gd name="connsiteX1762" fmla="*/ 1969579 w 12191999"/>
              <a:gd name="connsiteY1762" fmla="*/ 2797534 h 4534608"/>
              <a:gd name="connsiteX1763" fmla="*/ 2088736 w 12191999"/>
              <a:gd name="connsiteY1763" fmla="*/ 2865522 h 4534608"/>
              <a:gd name="connsiteX1764" fmla="*/ 2112805 w 12191999"/>
              <a:gd name="connsiteY1764" fmla="*/ 2797534 h 4534608"/>
              <a:gd name="connsiteX1765" fmla="*/ 2226992 w 12191999"/>
              <a:gd name="connsiteY1765" fmla="*/ 2871012 h 4534608"/>
              <a:gd name="connsiteX1766" fmla="*/ 5198336 w 12191999"/>
              <a:gd name="connsiteY1766" fmla="*/ 2797144 h 4534608"/>
              <a:gd name="connsiteX1767" fmla="*/ 5250655 w 12191999"/>
              <a:gd name="connsiteY1767" fmla="*/ 2842773 h 4534608"/>
              <a:gd name="connsiteX1768" fmla="*/ 5175576 w 12191999"/>
              <a:gd name="connsiteY1768" fmla="*/ 2999666 h 4534608"/>
              <a:gd name="connsiteX1769" fmla="*/ 5123257 w 12191999"/>
              <a:gd name="connsiteY1769" fmla="*/ 2954037 h 4534608"/>
              <a:gd name="connsiteX1770" fmla="*/ 4337943 w 12191999"/>
              <a:gd name="connsiteY1770" fmla="*/ 2797014 h 4534608"/>
              <a:gd name="connsiteX1771" fmla="*/ 4403342 w 12191999"/>
              <a:gd name="connsiteY1771" fmla="*/ 2803551 h 4534608"/>
              <a:gd name="connsiteX1772" fmla="*/ 4392617 w 12191999"/>
              <a:gd name="connsiteY1772" fmla="*/ 2999666 h 4534608"/>
              <a:gd name="connsiteX1773" fmla="*/ 4327218 w 12191999"/>
              <a:gd name="connsiteY1773" fmla="*/ 2993131 h 4534608"/>
              <a:gd name="connsiteX1774" fmla="*/ 3545310 w 12191999"/>
              <a:gd name="connsiteY1774" fmla="*/ 2796881 h 4534608"/>
              <a:gd name="connsiteX1775" fmla="*/ 3598934 w 12191999"/>
              <a:gd name="connsiteY1775" fmla="*/ 2966849 h 4534608"/>
              <a:gd name="connsiteX1776" fmla="*/ 3542691 w 12191999"/>
              <a:gd name="connsiteY1776" fmla="*/ 2999534 h 4534608"/>
              <a:gd name="connsiteX1777" fmla="*/ 3489065 w 12191999"/>
              <a:gd name="connsiteY1777" fmla="*/ 2829567 h 4534608"/>
              <a:gd name="connsiteX1778" fmla="*/ 3688533 w 12191999"/>
              <a:gd name="connsiteY1778" fmla="*/ 2541668 h 4534608"/>
              <a:gd name="connsiteX1779" fmla="*/ 3731435 w 12191999"/>
              <a:gd name="connsiteY1779" fmla="*/ 2717781 h 4534608"/>
              <a:gd name="connsiteX1780" fmla="*/ 3673098 w 12191999"/>
              <a:gd name="connsiteY1780" fmla="*/ 2743798 h 4534608"/>
              <a:gd name="connsiteX1781" fmla="*/ 3630198 w 12191999"/>
              <a:gd name="connsiteY1781" fmla="*/ 2567817 h 4534608"/>
              <a:gd name="connsiteX1782" fmla="*/ 3402084 w 12191999"/>
              <a:gd name="connsiteY1782" fmla="*/ 2541668 h 4534608"/>
              <a:gd name="connsiteX1783" fmla="*/ 3466438 w 12191999"/>
              <a:gd name="connsiteY1783" fmla="*/ 2704706 h 4534608"/>
              <a:gd name="connsiteX1784" fmla="*/ 3412419 w 12191999"/>
              <a:gd name="connsiteY1784" fmla="*/ 2743798 h 4534608"/>
              <a:gd name="connsiteX1785" fmla="*/ 3348062 w 12191999"/>
              <a:gd name="connsiteY1785" fmla="*/ 2580892 h 4534608"/>
              <a:gd name="connsiteX1786" fmla="*/ 4768270 w 12191999"/>
              <a:gd name="connsiteY1786" fmla="*/ 2541408 h 4534608"/>
              <a:gd name="connsiteX1787" fmla="*/ 4826606 w 12191999"/>
              <a:gd name="connsiteY1787" fmla="*/ 2567557 h 4534608"/>
              <a:gd name="connsiteX1788" fmla="*/ 4783705 w 12191999"/>
              <a:gd name="connsiteY1788" fmla="*/ 2743539 h 4534608"/>
              <a:gd name="connsiteX1789" fmla="*/ 4725368 w 12191999"/>
              <a:gd name="connsiteY1789" fmla="*/ 2717520 h 4534608"/>
              <a:gd name="connsiteX1790" fmla="*/ 5914327 w 12191999"/>
              <a:gd name="connsiteY1790" fmla="*/ 2541277 h 4534608"/>
              <a:gd name="connsiteX1791" fmla="*/ 5955397 w 12191999"/>
              <a:gd name="connsiteY1791" fmla="*/ 2619724 h 4534608"/>
              <a:gd name="connsiteX1792" fmla="*/ 5826691 w 12191999"/>
              <a:gd name="connsiteY1792" fmla="*/ 2743669 h 4534608"/>
              <a:gd name="connsiteX1793" fmla="*/ 5785621 w 12191999"/>
              <a:gd name="connsiteY1793" fmla="*/ 2665223 h 4534608"/>
              <a:gd name="connsiteX1794" fmla="*/ 5627747 w 12191999"/>
              <a:gd name="connsiteY1794" fmla="*/ 2541277 h 4534608"/>
              <a:gd name="connsiteX1795" fmla="*/ 5673134 w 12191999"/>
              <a:gd name="connsiteY1795" fmla="*/ 2606649 h 4534608"/>
              <a:gd name="connsiteX1796" fmla="*/ 5565880 w 12191999"/>
              <a:gd name="connsiteY1796" fmla="*/ 2743539 h 4534608"/>
              <a:gd name="connsiteX1797" fmla="*/ 5520492 w 12191999"/>
              <a:gd name="connsiteY1797" fmla="*/ 2678298 h 4534608"/>
              <a:gd name="connsiteX1798" fmla="*/ 3258860 w 12191999"/>
              <a:gd name="connsiteY1798" fmla="*/ 2541276 h 4534608"/>
              <a:gd name="connsiteX1799" fmla="*/ 3333939 w 12191999"/>
              <a:gd name="connsiteY1799" fmla="*/ 2698169 h 4534608"/>
              <a:gd name="connsiteX1800" fmla="*/ 3281619 w 12191999"/>
              <a:gd name="connsiteY1800" fmla="*/ 2743798 h 4534608"/>
              <a:gd name="connsiteX1801" fmla="*/ 3206538 w 12191999"/>
              <a:gd name="connsiteY1801" fmla="*/ 2586905 h 4534608"/>
              <a:gd name="connsiteX1802" fmla="*/ 2541954 w 12191999"/>
              <a:gd name="connsiteY1802" fmla="*/ 2541276 h 4534608"/>
              <a:gd name="connsiteX1803" fmla="*/ 2670659 w 12191999"/>
              <a:gd name="connsiteY1803" fmla="*/ 2665221 h 4534608"/>
              <a:gd name="connsiteX1804" fmla="*/ 2629587 w 12191999"/>
              <a:gd name="connsiteY1804" fmla="*/ 2743668 h 4534608"/>
              <a:gd name="connsiteX1805" fmla="*/ 2501015 w 12191999"/>
              <a:gd name="connsiteY1805" fmla="*/ 2619723 h 4534608"/>
              <a:gd name="connsiteX1806" fmla="*/ 5771102 w 12191999"/>
              <a:gd name="connsiteY1806" fmla="*/ 2541015 h 4534608"/>
              <a:gd name="connsiteX1807" fmla="*/ 5814397 w 12191999"/>
              <a:gd name="connsiteY1807" fmla="*/ 2612794 h 4534608"/>
              <a:gd name="connsiteX1808" fmla="*/ 5696678 w 12191999"/>
              <a:gd name="connsiteY1808" fmla="*/ 2743408 h 4534608"/>
              <a:gd name="connsiteX1809" fmla="*/ 5653383 w 12191999"/>
              <a:gd name="connsiteY1809" fmla="*/ 2671760 h 4534608"/>
              <a:gd name="connsiteX1810" fmla="*/ 5484784 w 12191999"/>
              <a:gd name="connsiteY1810" fmla="*/ 2541015 h 4534608"/>
              <a:gd name="connsiteX1811" fmla="*/ 5532264 w 12191999"/>
              <a:gd name="connsiteY1811" fmla="*/ 2599720 h 4534608"/>
              <a:gd name="connsiteX1812" fmla="*/ 5435735 w 12191999"/>
              <a:gd name="connsiteY1812" fmla="*/ 2743539 h 4534608"/>
              <a:gd name="connsiteX1813" fmla="*/ 5388255 w 12191999"/>
              <a:gd name="connsiteY1813" fmla="*/ 2684835 h 4534608"/>
              <a:gd name="connsiteX1814" fmla="*/ 5341952 w 12191999"/>
              <a:gd name="connsiteY1814" fmla="*/ 2541015 h 4534608"/>
              <a:gd name="connsiteX1815" fmla="*/ 5391656 w 12191999"/>
              <a:gd name="connsiteY1815" fmla="*/ 2593314 h 4534608"/>
              <a:gd name="connsiteX1816" fmla="*/ 5305852 w 12191999"/>
              <a:gd name="connsiteY1816" fmla="*/ 2743278 h 4534608"/>
              <a:gd name="connsiteX1817" fmla="*/ 5256148 w 12191999"/>
              <a:gd name="connsiteY1817" fmla="*/ 2690979 h 4534608"/>
              <a:gd name="connsiteX1818" fmla="*/ 5054981 w 12191999"/>
              <a:gd name="connsiteY1818" fmla="*/ 2541015 h 4534608"/>
              <a:gd name="connsiteX1819" fmla="*/ 5109001 w 12191999"/>
              <a:gd name="connsiteY1819" fmla="*/ 2580239 h 4534608"/>
              <a:gd name="connsiteX1820" fmla="*/ 5044778 w 12191999"/>
              <a:gd name="connsiteY1820" fmla="*/ 2743146 h 4534608"/>
              <a:gd name="connsiteX1821" fmla="*/ 4990628 w 12191999"/>
              <a:gd name="connsiteY1821" fmla="*/ 2704054 h 4534608"/>
              <a:gd name="connsiteX1822" fmla="*/ 4482999 w 12191999"/>
              <a:gd name="connsiteY1822" fmla="*/ 2541015 h 4534608"/>
              <a:gd name="connsiteX1823" fmla="*/ 4545651 w 12191999"/>
              <a:gd name="connsiteY1823" fmla="*/ 2554090 h 4534608"/>
              <a:gd name="connsiteX1824" fmla="*/ 4523939 w 12191999"/>
              <a:gd name="connsiteY1824" fmla="*/ 2743146 h 4534608"/>
              <a:gd name="connsiteX1825" fmla="*/ 4461548 w 12191999"/>
              <a:gd name="connsiteY1825" fmla="*/ 2730203 h 4534608"/>
              <a:gd name="connsiteX1826" fmla="*/ 4194332 w 12191999"/>
              <a:gd name="connsiteY1826" fmla="*/ 2541014 h 4534608"/>
              <a:gd name="connsiteX1827" fmla="*/ 4261294 w 12191999"/>
              <a:gd name="connsiteY1827" fmla="*/ 2541014 h 4534608"/>
              <a:gd name="connsiteX1828" fmla="*/ 4261294 w 12191999"/>
              <a:gd name="connsiteY1828" fmla="*/ 2541015 h 4534608"/>
              <a:gd name="connsiteX1829" fmla="*/ 4263388 w 12191999"/>
              <a:gd name="connsiteY1829" fmla="*/ 2541015 h 4534608"/>
              <a:gd name="connsiteX1830" fmla="*/ 4263388 w 12191999"/>
              <a:gd name="connsiteY1830" fmla="*/ 2743146 h 4534608"/>
              <a:gd name="connsiteX1831" fmla="*/ 4196426 w 12191999"/>
              <a:gd name="connsiteY1831" fmla="*/ 2743146 h 4534608"/>
              <a:gd name="connsiteX1832" fmla="*/ 4196426 w 12191999"/>
              <a:gd name="connsiteY1832" fmla="*/ 2743144 h 4534608"/>
              <a:gd name="connsiteX1833" fmla="*/ 4194332 w 12191999"/>
              <a:gd name="connsiteY1833" fmla="*/ 2743144 h 4534608"/>
              <a:gd name="connsiteX1834" fmla="*/ 4118075 w 12191999"/>
              <a:gd name="connsiteY1834" fmla="*/ 2541014 h 4534608"/>
              <a:gd name="connsiteX1835" fmla="*/ 4128801 w 12191999"/>
              <a:gd name="connsiteY1835" fmla="*/ 2737131 h 4534608"/>
              <a:gd name="connsiteX1836" fmla="*/ 4064053 w 12191999"/>
              <a:gd name="connsiteY1836" fmla="*/ 2743668 h 4534608"/>
              <a:gd name="connsiteX1837" fmla="*/ 4053330 w 12191999"/>
              <a:gd name="connsiteY1837" fmla="*/ 2547551 h 4534608"/>
              <a:gd name="connsiteX1838" fmla="*/ 3974849 w 12191999"/>
              <a:gd name="connsiteY1838" fmla="*/ 2541014 h 4534608"/>
              <a:gd name="connsiteX1839" fmla="*/ 3996303 w 12191999"/>
              <a:gd name="connsiteY1839" fmla="*/ 2730202 h 4534608"/>
              <a:gd name="connsiteX1840" fmla="*/ 3933650 w 12191999"/>
              <a:gd name="connsiteY1840" fmla="*/ 2743144 h 4534608"/>
              <a:gd name="connsiteX1841" fmla="*/ 3912199 w 12191999"/>
              <a:gd name="connsiteY1841" fmla="*/ 2554088 h 4534608"/>
              <a:gd name="connsiteX1842" fmla="*/ 3832019 w 12191999"/>
              <a:gd name="connsiteY1842" fmla="*/ 2541014 h 4534608"/>
              <a:gd name="connsiteX1843" fmla="*/ 3864196 w 12191999"/>
              <a:gd name="connsiteY1843" fmla="*/ 2724056 h 4534608"/>
              <a:gd name="connsiteX1844" fmla="*/ 3803636 w 12191999"/>
              <a:gd name="connsiteY1844" fmla="*/ 2743668 h 4534608"/>
              <a:gd name="connsiteX1845" fmla="*/ 3771460 w 12191999"/>
              <a:gd name="connsiteY1845" fmla="*/ 2560626 h 4534608"/>
              <a:gd name="connsiteX1846" fmla="*/ 3115768 w 12191999"/>
              <a:gd name="connsiteY1846" fmla="*/ 2541014 h 4534608"/>
              <a:gd name="connsiteX1847" fmla="*/ 3201571 w 12191999"/>
              <a:gd name="connsiteY1847" fmla="*/ 2690978 h 4534608"/>
              <a:gd name="connsiteX1848" fmla="*/ 3151736 w 12191999"/>
              <a:gd name="connsiteY1848" fmla="*/ 2743276 h 4534608"/>
              <a:gd name="connsiteX1849" fmla="*/ 3066064 w 12191999"/>
              <a:gd name="connsiteY1849" fmla="*/ 2593312 h 4534608"/>
              <a:gd name="connsiteX1850" fmla="*/ 4912149 w 12191999"/>
              <a:gd name="connsiteY1850" fmla="*/ 2540885 h 4534608"/>
              <a:gd name="connsiteX1851" fmla="*/ 4968392 w 12191999"/>
              <a:gd name="connsiteY1851" fmla="*/ 2573571 h 4534608"/>
              <a:gd name="connsiteX1852" fmla="*/ 4914764 w 12191999"/>
              <a:gd name="connsiteY1852" fmla="*/ 2743539 h 4534608"/>
              <a:gd name="connsiteX1853" fmla="*/ 4858652 w 12191999"/>
              <a:gd name="connsiteY1853" fmla="*/ 2710852 h 4534608"/>
              <a:gd name="connsiteX1854" fmla="*/ 4625831 w 12191999"/>
              <a:gd name="connsiteY1854" fmla="*/ 2540885 h 4534608"/>
              <a:gd name="connsiteX1855" fmla="*/ 4686390 w 12191999"/>
              <a:gd name="connsiteY1855" fmla="*/ 2560497 h 4534608"/>
              <a:gd name="connsiteX1856" fmla="*/ 4654213 w 12191999"/>
              <a:gd name="connsiteY1856" fmla="*/ 2743539 h 4534608"/>
              <a:gd name="connsiteX1857" fmla="*/ 4593654 w 12191999"/>
              <a:gd name="connsiteY1857" fmla="*/ 2723927 h 4534608"/>
              <a:gd name="connsiteX1858" fmla="*/ 2829319 w 12191999"/>
              <a:gd name="connsiteY1858" fmla="*/ 2540753 h 4534608"/>
              <a:gd name="connsiteX1859" fmla="*/ 2936571 w 12191999"/>
              <a:gd name="connsiteY1859" fmla="*/ 2677773 h 4534608"/>
              <a:gd name="connsiteX1860" fmla="*/ 2891186 w 12191999"/>
              <a:gd name="connsiteY1860" fmla="*/ 2743014 h 4534608"/>
              <a:gd name="connsiteX1861" fmla="*/ 2783932 w 12191999"/>
              <a:gd name="connsiteY1861" fmla="*/ 2606124 h 4534608"/>
              <a:gd name="connsiteX1862" fmla="*/ 2686354 w 12191999"/>
              <a:gd name="connsiteY1862" fmla="*/ 2540753 h 4534608"/>
              <a:gd name="connsiteX1863" fmla="*/ 2804073 w 12191999"/>
              <a:gd name="connsiteY1863" fmla="*/ 2671498 h 4534608"/>
              <a:gd name="connsiteX1864" fmla="*/ 2760911 w 12191999"/>
              <a:gd name="connsiteY1864" fmla="*/ 2743144 h 4534608"/>
              <a:gd name="connsiteX1865" fmla="*/ 2643192 w 12191999"/>
              <a:gd name="connsiteY1865" fmla="*/ 2612531 h 4534608"/>
              <a:gd name="connsiteX1866" fmla="*/ 2256680 w 12191999"/>
              <a:gd name="connsiteY1866" fmla="*/ 2540753 h 4534608"/>
              <a:gd name="connsiteX1867" fmla="*/ 2363676 w 12191999"/>
              <a:gd name="connsiteY1867" fmla="*/ 2619199 h 4534608"/>
              <a:gd name="connsiteX1868" fmla="*/ 2399907 w 12191999"/>
              <a:gd name="connsiteY1868" fmla="*/ 2540753 h 4534608"/>
              <a:gd name="connsiteX1869" fmla="*/ 2539208 w 12191999"/>
              <a:gd name="connsiteY1869" fmla="*/ 2658423 h 4534608"/>
              <a:gd name="connsiteX1870" fmla="*/ 2499966 w 12191999"/>
              <a:gd name="connsiteY1870" fmla="*/ 2743144 h 4534608"/>
              <a:gd name="connsiteX1871" fmla="*/ 2402653 w 12191999"/>
              <a:gd name="connsiteY1871" fmla="*/ 2661299 h 4534608"/>
              <a:gd name="connsiteX1872" fmla="*/ 2369692 w 12191999"/>
              <a:gd name="connsiteY1872" fmla="*/ 2743144 h 4534608"/>
              <a:gd name="connsiteX1873" fmla="*/ 2266362 w 12191999"/>
              <a:gd name="connsiteY1873" fmla="*/ 2666921 h 4534608"/>
              <a:gd name="connsiteX1874" fmla="*/ 2239287 w 12191999"/>
              <a:gd name="connsiteY1874" fmla="*/ 2743144 h 4534608"/>
              <a:gd name="connsiteX1875" fmla="*/ 2130855 w 12191999"/>
              <a:gd name="connsiteY1875" fmla="*/ 2672804 h 4534608"/>
              <a:gd name="connsiteX1876" fmla="*/ 2109011 w 12191999"/>
              <a:gd name="connsiteY1876" fmla="*/ 2743144 h 4534608"/>
              <a:gd name="connsiteX1877" fmla="*/ 1996262 w 12191999"/>
              <a:gd name="connsiteY1877" fmla="*/ 2678950 h 4534608"/>
              <a:gd name="connsiteX1878" fmla="*/ 1978736 w 12191999"/>
              <a:gd name="connsiteY1878" fmla="*/ 2743144 h 4534608"/>
              <a:gd name="connsiteX1879" fmla="*/ 1862325 w 12191999"/>
              <a:gd name="connsiteY1879" fmla="*/ 2684964 h 4534608"/>
              <a:gd name="connsiteX1880" fmla="*/ 1848460 w 12191999"/>
              <a:gd name="connsiteY1880" fmla="*/ 2743144 h 4534608"/>
              <a:gd name="connsiteX1881" fmla="*/ 1729041 w 12191999"/>
              <a:gd name="connsiteY1881" fmla="*/ 2690847 h 4534608"/>
              <a:gd name="connsiteX1882" fmla="*/ 1718054 w 12191999"/>
              <a:gd name="connsiteY1882" fmla="*/ 2743144 h 4534608"/>
              <a:gd name="connsiteX1883" fmla="*/ 1596281 w 12191999"/>
              <a:gd name="connsiteY1883" fmla="*/ 2696469 h 4534608"/>
              <a:gd name="connsiteX1884" fmla="*/ 1587779 w 12191999"/>
              <a:gd name="connsiteY1884" fmla="*/ 2743144 h 4534608"/>
              <a:gd name="connsiteX1885" fmla="*/ 1464043 w 12191999"/>
              <a:gd name="connsiteY1885" fmla="*/ 2701829 h 4534608"/>
              <a:gd name="connsiteX1886" fmla="*/ 1457503 w 12191999"/>
              <a:gd name="connsiteY1886" fmla="*/ 2743144 h 4534608"/>
              <a:gd name="connsiteX1887" fmla="*/ 1332067 w 12191999"/>
              <a:gd name="connsiteY1887" fmla="*/ 2706929 h 4534608"/>
              <a:gd name="connsiteX1888" fmla="*/ 1327098 w 12191999"/>
              <a:gd name="connsiteY1888" fmla="*/ 2743144 h 4534608"/>
              <a:gd name="connsiteX1889" fmla="*/ 1200484 w 12191999"/>
              <a:gd name="connsiteY1889" fmla="*/ 2711635 h 4534608"/>
              <a:gd name="connsiteX1890" fmla="*/ 1196822 w 12191999"/>
              <a:gd name="connsiteY1890" fmla="*/ 2743144 h 4534608"/>
              <a:gd name="connsiteX1891" fmla="*/ 1069168 w 12191999"/>
              <a:gd name="connsiteY1891" fmla="*/ 2716212 h 4534608"/>
              <a:gd name="connsiteX1892" fmla="*/ 1066552 w 12191999"/>
              <a:gd name="connsiteY1892" fmla="*/ 2743144 h 4534608"/>
              <a:gd name="connsiteX1893" fmla="*/ 937977 w 12191999"/>
              <a:gd name="connsiteY1893" fmla="*/ 2720396 h 4534608"/>
              <a:gd name="connsiteX1894" fmla="*/ 936278 w 12191999"/>
              <a:gd name="connsiteY1894" fmla="*/ 2743144 h 4534608"/>
              <a:gd name="connsiteX1895" fmla="*/ 807050 w 12191999"/>
              <a:gd name="connsiteY1895" fmla="*/ 2724318 h 4534608"/>
              <a:gd name="connsiteX1896" fmla="*/ 805873 w 12191999"/>
              <a:gd name="connsiteY1896" fmla="*/ 2743144 h 4534608"/>
              <a:gd name="connsiteX1897" fmla="*/ 676383 w 12191999"/>
              <a:gd name="connsiteY1897" fmla="*/ 2728109 h 4534608"/>
              <a:gd name="connsiteX1898" fmla="*/ 675597 w 12191999"/>
              <a:gd name="connsiteY1898" fmla="*/ 2743144 h 4534608"/>
              <a:gd name="connsiteX1899" fmla="*/ 545715 w 12191999"/>
              <a:gd name="connsiteY1899" fmla="*/ 2731508 h 4534608"/>
              <a:gd name="connsiteX1900" fmla="*/ 545715 w 12191999"/>
              <a:gd name="connsiteY1900" fmla="*/ 2743144 h 4534608"/>
              <a:gd name="connsiteX1901" fmla="*/ 415570 w 12191999"/>
              <a:gd name="connsiteY1901" fmla="*/ 2734777 h 4534608"/>
              <a:gd name="connsiteX1902" fmla="*/ 415570 w 12191999"/>
              <a:gd name="connsiteY1902" fmla="*/ 2743144 h 4534608"/>
              <a:gd name="connsiteX1903" fmla="*/ 285426 w 12191999"/>
              <a:gd name="connsiteY1903" fmla="*/ 2737785 h 4534608"/>
              <a:gd name="connsiteX1904" fmla="*/ 285426 w 12191999"/>
              <a:gd name="connsiteY1904" fmla="*/ 2743144 h 4534608"/>
              <a:gd name="connsiteX1905" fmla="*/ 154631 w 12191999"/>
              <a:gd name="connsiteY1905" fmla="*/ 2740530 h 4534608"/>
              <a:gd name="connsiteX1906" fmla="*/ 154631 w 12191999"/>
              <a:gd name="connsiteY1906" fmla="*/ 2743407 h 4534608"/>
              <a:gd name="connsiteX1907" fmla="*/ 0 w 12191999"/>
              <a:gd name="connsiteY1907" fmla="*/ 2743407 h 4534608"/>
              <a:gd name="connsiteX1908" fmla="*/ 0 w 12191999"/>
              <a:gd name="connsiteY1908" fmla="*/ 2541276 h 4534608"/>
              <a:gd name="connsiteX1909" fmla="*/ 155285 w 12191999"/>
              <a:gd name="connsiteY1909" fmla="*/ 2541276 h 4534608"/>
              <a:gd name="connsiteX1910" fmla="*/ 155285 w 12191999"/>
              <a:gd name="connsiteY1910" fmla="*/ 2543237 h 4534608"/>
              <a:gd name="connsiteX1911" fmla="*/ 243182 w 12191999"/>
              <a:gd name="connsiteY1911" fmla="*/ 2546898 h 4534608"/>
              <a:gd name="connsiteX1912" fmla="*/ 252207 w 12191999"/>
              <a:gd name="connsiteY1912" fmla="*/ 2546898 h 4534608"/>
              <a:gd name="connsiteX1913" fmla="*/ 252207 w 12191999"/>
              <a:gd name="connsiteY1913" fmla="*/ 2541014 h 4534608"/>
              <a:gd name="connsiteX1914" fmla="*/ 394905 w 12191999"/>
              <a:gd name="connsiteY1914" fmla="*/ 2550298 h 4534608"/>
              <a:gd name="connsiteX1915" fmla="*/ 394905 w 12191999"/>
              <a:gd name="connsiteY1915" fmla="*/ 2541014 h 4534608"/>
              <a:gd name="connsiteX1916" fmla="*/ 537344 w 12191999"/>
              <a:gd name="connsiteY1916" fmla="*/ 2554088 h 4534608"/>
              <a:gd name="connsiteX1917" fmla="*/ 538128 w 12191999"/>
              <a:gd name="connsiteY1917" fmla="*/ 2541014 h 4534608"/>
              <a:gd name="connsiteX1918" fmla="*/ 680045 w 12191999"/>
              <a:gd name="connsiteY1918" fmla="*/ 2557619 h 4534608"/>
              <a:gd name="connsiteX1919" fmla="*/ 681353 w 12191999"/>
              <a:gd name="connsiteY1919" fmla="*/ 2541014 h 4534608"/>
              <a:gd name="connsiteX1920" fmla="*/ 822616 w 12191999"/>
              <a:gd name="connsiteY1920" fmla="*/ 2561671 h 4534608"/>
              <a:gd name="connsiteX1921" fmla="*/ 824578 w 12191999"/>
              <a:gd name="connsiteY1921" fmla="*/ 2541014 h 4534608"/>
              <a:gd name="connsiteX1922" fmla="*/ 964922 w 12191999"/>
              <a:gd name="connsiteY1922" fmla="*/ 2565987 h 4534608"/>
              <a:gd name="connsiteX1923" fmla="*/ 967799 w 12191999"/>
              <a:gd name="connsiteY1923" fmla="*/ 2541014 h 4534608"/>
              <a:gd name="connsiteX1924" fmla="*/ 1106968 w 12191999"/>
              <a:gd name="connsiteY1924" fmla="*/ 2570432 h 4534608"/>
              <a:gd name="connsiteX1925" fmla="*/ 1110888 w 12191999"/>
              <a:gd name="connsiteY1925" fmla="*/ 2541014 h 4534608"/>
              <a:gd name="connsiteX1926" fmla="*/ 1248748 w 12191999"/>
              <a:gd name="connsiteY1926" fmla="*/ 2575269 h 4534608"/>
              <a:gd name="connsiteX1927" fmla="*/ 1254113 w 12191999"/>
              <a:gd name="connsiteY1927" fmla="*/ 2541014 h 4534608"/>
              <a:gd name="connsiteX1928" fmla="*/ 1390141 w 12191999"/>
              <a:gd name="connsiteY1928" fmla="*/ 2580238 h 4534608"/>
              <a:gd name="connsiteX1929" fmla="*/ 1397336 w 12191999"/>
              <a:gd name="connsiteY1929" fmla="*/ 2541014 h 4534608"/>
              <a:gd name="connsiteX1930" fmla="*/ 1531928 w 12191999"/>
              <a:gd name="connsiteY1930" fmla="*/ 2585860 h 4534608"/>
              <a:gd name="connsiteX1931" fmla="*/ 1541345 w 12191999"/>
              <a:gd name="connsiteY1931" fmla="*/ 2541014 h 4534608"/>
              <a:gd name="connsiteX1932" fmla="*/ 1672144 w 12191999"/>
              <a:gd name="connsiteY1932" fmla="*/ 2591350 h 4534608"/>
              <a:gd name="connsiteX1933" fmla="*/ 1684177 w 12191999"/>
              <a:gd name="connsiteY1933" fmla="*/ 2541014 h 4534608"/>
              <a:gd name="connsiteX1934" fmla="*/ 1811966 w 12191999"/>
              <a:gd name="connsiteY1934" fmla="*/ 2597235 h 4534608"/>
              <a:gd name="connsiteX1935" fmla="*/ 1826355 w 12191999"/>
              <a:gd name="connsiteY1935" fmla="*/ 2541014 h 4534608"/>
              <a:gd name="connsiteX1936" fmla="*/ 1950352 w 12191999"/>
              <a:gd name="connsiteY1936" fmla="*/ 2603118 h 4534608"/>
              <a:gd name="connsiteX1937" fmla="*/ 1969579 w 12191999"/>
              <a:gd name="connsiteY1937" fmla="*/ 2541014 h 4534608"/>
              <a:gd name="connsiteX1938" fmla="*/ 2088736 w 12191999"/>
              <a:gd name="connsiteY1938" fmla="*/ 2609002 h 4534608"/>
              <a:gd name="connsiteX1939" fmla="*/ 2112805 w 12191999"/>
              <a:gd name="connsiteY1939" fmla="*/ 2541014 h 4534608"/>
              <a:gd name="connsiteX1940" fmla="*/ 2226992 w 12191999"/>
              <a:gd name="connsiteY1940" fmla="*/ 2614493 h 4534608"/>
              <a:gd name="connsiteX1941" fmla="*/ 6058074 w 12191999"/>
              <a:gd name="connsiteY1941" fmla="*/ 2540623 h 4534608"/>
              <a:gd name="connsiteX1942" fmla="*/ 6094305 w 12191999"/>
              <a:gd name="connsiteY1942" fmla="*/ 2619070 h 4534608"/>
              <a:gd name="connsiteX1943" fmla="*/ 6201298 w 12191999"/>
              <a:gd name="connsiteY1943" fmla="*/ 2540623 h 4534608"/>
              <a:gd name="connsiteX1944" fmla="*/ 6230859 w 12191999"/>
              <a:gd name="connsiteY1944" fmla="*/ 2614363 h 4534608"/>
              <a:gd name="connsiteX1945" fmla="*/ 6344393 w 12191999"/>
              <a:gd name="connsiteY1945" fmla="*/ 2540623 h 4534608"/>
              <a:gd name="connsiteX1946" fmla="*/ 6368459 w 12191999"/>
              <a:gd name="connsiteY1946" fmla="*/ 2608610 h 4534608"/>
              <a:gd name="connsiteX1947" fmla="*/ 6487616 w 12191999"/>
              <a:gd name="connsiteY1947" fmla="*/ 2540623 h 4534608"/>
              <a:gd name="connsiteX1948" fmla="*/ 6506974 w 12191999"/>
              <a:gd name="connsiteY1948" fmla="*/ 2602727 h 4534608"/>
              <a:gd name="connsiteX1949" fmla="*/ 6630841 w 12191999"/>
              <a:gd name="connsiteY1949" fmla="*/ 2540623 h 4534608"/>
              <a:gd name="connsiteX1950" fmla="*/ 6646144 w 12191999"/>
              <a:gd name="connsiteY1950" fmla="*/ 2596843 h 4534608"/>
              <a:gd name="connsiteX1951" fmla="*/ 6774064 w 12191999"/>
              <a:gd name="connsiteY1951" fmla="*/ 2540623 h 4534608"/>
              <a:gd name="connsiteX1952" fmla="*/ 6786097 w 12191999"/>
              <a:gd name="connsiteY1952" fmla="*/ 2590960 h 4534608"/>
              <a:gd name="connsiteX1953" fmla="*/ 6916896 w 12191999"/>
              <a:gd name="connsiteY1953" fmla="*/ 2540623 h 4534608"/>
              <a:gd name="connsiteX1954" fmla="*/ 6926183 w 12191999"/>
              <a:gd name="connsiteY1954" fmla="*/ 2585468 h 4534608"/>
              <a:gd name="connsiteX1955" fmla="*/ 7060514 w 12191999"/>
              <a:gd name="connsiteY1955" fmla="*/ 2541015 h 4534608"/>
              <a:gd name="connsiteX1956" fmla="*/ 7067576 w 12191999"/>
              <a:gd name="connsiteY1956" fmla="*/ 2580239 h 4534608"/>
              <a:gd name="connsiteX1957" fmla="*/ 7203607 w 12191999"/>
              <a:gd name="connsiteY1957" fmla="*/ 2541015 h 4534608"/>
              <a:gd name="connsiteX1958" fmla="*/ 7209101 w 12191999"/>
              <a:gd name="connsiteY1958" fmla="*/ 2575271 h 4534608"/>
              <a:gd name="connsiteX1959" fmla="*/ 7346832 w 12191999"/>
              <a:gd name="connsiteY1959" fmla="*/ 2541015 h 4534608"/>
              <a:gd name="connsiteX1960" fmla="*/ 7350886 w 12191999"/>
              <a:gd name="connsiteY1960" fmla="*/ 2570433 h 4534608"/>
              <a:gd name="connsiteX1961" fmla="*/ 7490055 w 12191999"/>
              <a:gd name="connsiteY1961" fmla="*/ 2541015 h 4534608"/>
              <a:gd name="connsiteX1962" fmla="*/ 7492933 w 12191999"/>
              <a:gd name="connsiteY1962" fmla="*/ 2565988 h 4534608"/>
              <a:gd name="connsiteX1963" fmla="*/ 7633280 w 12191999"/>
              <a:gd name="connsiteY1963" fmla="*/ 2541015 h 4534608"/>
              <a:gd name="connsiteX1964" fmla="*/ 7635242 w 12191999"/>
              <a:gd name="connsiteY1964" fmla="*/ 2561673 h 4534608"/>
              <a:gd name="connsiteX1965" fmla="*/ 7776374 w 12191999"/>
              <a:gd name="connsiteY1965" fmla="*/ 2541015 h 4534608"/>
              <a:gd name="connsiteX1966" fmla="*/ 7778336 w 12191999"/>
              <a:gd name="connsiteY1966" fmla="*/ 2557358 h 4534608"/>
              <a:gd name="connsiteX1967" fmla="*/ 7920121 w 12191999"/>
              <a:gd name="connsiteY1967" fmla="*/ 2540754 h 4534608"/>
              <a:gd name="connsiteX1968" fmla="*/ 7921036 w 12191999"/>
              <a:gd name="connsiteY1968" fmla="*/ 2553829 h 4534608"/>
              <a:gd name="connsiteX1969" fmla="*/ 8063346 w 12191999"/>
              <a:gd name="connsiteY1969" fmla="*/ 2540754 h 4534608"/>
              <a:gd name="connsiteX1970" fmla="*/ 8063346 w 12191999"/>
              <a:gd name="connsiteY1970" fmla="*/ 2550037 h 4534608"/>
              <a:gd name="connsiteX1971" fmla="*/ 8206046 w 12191999"/>
              <a:gd name="connsiteY1971" fmla="*/ 2540754 h 4534608"/>
              <a:gd name="connsiteX1972" fmla="*/ 8206046 w 12191999"/>
              <a:gd name="connsiteY1972" fmla="*/ 2546637 h 4534608"/>
              <a:gd name="connsiteX1973" fmla="*/ 8215071 w 12191999"/>
              <a:gd name="connsiteY1973" fmla="*/ 2546637 h 4534608"/>
              <a:gd name="connsiteX1974" fmla="*/ 8303100 w 12191999"/>
              <a:gd name="connsiteY1974" fmla="*/ 2542977 h 4534608"/>
              <a:gd name="connsiteX1975" fmla="*/ 8303100 w 12191999"/>
              <a:gd name="connsiteY1975" fmla="*/ 2541015 h 4534608"/>
              <a:gd name="connsiteX1976" fmla="*/ 12191607 w 12191999"/>
              <a:gd name="connsiteY1976" fmla="*/ 2541015 h 4534608"/>
              <a:gd name="connsiteX1977" fmla="*/ 12191607 w 12191999"/>
              <a:gd name="connsiteY1977" fmla="*/ 2743539 h 4534608"/>
              <a:gd name="connsiteX1978" fmla="*/ 8303100 w 12191999"/>
              <a:gd name="connsiteY1978" fmla="*/ 2743539 h 4534608"/>
              <a:gd name="connsiteX1979" fmla="*/ 8304538 w 12191999"/>
              <a:gd name="connsiteY1979" fmla="*/ 2740401 h 4534608"/>
              <a:gd name="connsiteX1980" fmla="*/ 8173740 w 12191999"/>
              <a:gd name="connsiteY1980" fmla="*/ 2743015 h 4534608"/>
              <a:gd name="connsiteX1981" fmla="*/ 8173740 w 12191999"/>
              <a:gd name="connsiteY1981" fmla="*/ 2737656 h 4534608"/>
              <a:gd name="connsiteX1982" fmla="*/ 8042941 w 12191999"/>
              <a:gd name="connsiteY1982" fmla="*/ 2743015 h 4534608"/>
              <a:gd name="connsiteX1983" fmla="*/ 8042941 w 12191999"/>
              <a:gd name="connsiteY1983" fmla="*/ 2734648 h 4534608"/>
              <a:gd name="connsiteX1984" fmla="*/ 7912142 w 12191999"/>
              <a:gd name="connsiteY1984" fmla="*/ 2743015 h 4534608"/>
              <a:gd name="connsiteX1985" fmla="*/ 7912142 w 12191999"/>
              <a:gd name="connsiteY1985" fmla="*/ 2731379 h 4534608"/>
              <a:gd name="connsiteX1986" fmla="*/ 7782260 w 12191999"/>
              <a:gd name="connsiteY1986" fmla="*/ 2743015 h 4534608"/>
              <a:gd name="connsiteX1987" fmla="*/ 7781476 w 12191999"/>
              <a:gd name="connsiteY1987" fmla="*/ 2727980 h 4534608"/>
              <a:gd name="connsiteX1988" fmla="*/ 7651853 w 12191999"/>
              <a:gd name="connsiteY1988" fmla="*/ 2743015 h 4534608"/>
              <a:gd name="connsiteX1989" fmla="*/ 7650677 w 12191999"/>
              <a:gd name="connsiteY1989" fmla="*/ 2724188 h 4534608"/>
              <a:gd name="connsiteX1990" fmla="*/ 7521578 w 12191999"/>
              <a:gd name="connsiteY1990" fmla="*/ 2743015 h 4534608"/>
              <a:gd name="connsiteX1991" fmla="*/ 7519746 w 12191999"/>
              <a:gd name="connsiteY1991" fmla="*/ 2720267 h 4534608"/>
              <a:gd name="connsiteX1992" fmla="*/ 7391303 w 12191999"/>
              <a:gd name="connsiteY1992" fmla="*/ 2743015 h 4534608"/>
              <a:gd name="connsiteX1993" fmla="*/ 7388687 w 12191999"/>
              <a:gd name="connsiteY1993" fmla="*/ 2716083 h 4534608"/>
              <a:gd name="connsiteX1994" fmla="*/ 7260897 w 12191999"/>
              <a:gd name="connsiteY1994" fmla="*/ 2743015 h 4534608"/>
              <a:gd name="connsiteX1995" fmla="*/ 7257366 w 12191999"/>
              <a:gd name="connsiteY1995" fmla="*/ 2711506 h 4534608"/>
              <a:gd name="connsiteX1996" fmla="*/ 7130622 w 12191999"/>
              <a:gd name="connsiteY1996" fmla="*/ 2743015 h 4534608"/>
              <a:gd name="connsiteX1997" fmla="*/ 7125783 w 12191999"/>
              <a:gd name="connsiteY1997" fmla="*/ 2706799 h 4534608"/>
              <a:gd name="connsiteX1998" fmla="*/ 7000345 w 12191999"/>
              <a:gd name="connsiteY1998" fmla="*/ 2743015 h 4534608"/>
              <a:gd name="connsiteX1999" fmla="*/ 6993807 w 12191999"/>
              <a:gd name="connsiteY1999" fmla="*/ 2701700 h 4534608"/>
              <a:gd name="connsiteX2000" fmla="*/ 6870071 w 12191999"/>
              <a:gd name="connsiteY2000" fmla="*/ 2743015 h 4534608"/>
              <a:gd name="connsiteX2001" fmla="*/ 6861437 w 12191999"/>
              <a:gd name="connsiteY2001" fmla="*/ 2696340 h 4534608"/>
              <a:gd name="connsiteX2002" fmla="*/ 6739664 w 12191999"/>
              <a:gd name="connsiteY2002" fmla="*/ 2743015 h 4534608"/>
              <a:gd name="connsiteX2003" fmla="*/ 6728678 w 12191999"/>
              <a:gd name="connsiteY2003" fmla="*/ 2690718 h 4534608"/>
              <a:gd name="connsiteX2004" fmla="*/ 6609391 w 12191999"/>
              <a:gd name="connsiteY2004" fmla="*/ 2743015 h 4534608"/>
              <a:gd name="connsiteX2005" fmla="*/ 6595394 w 12191999"/>
              <a:gd name="connsiteY2005" fmla="*/ 2684835 h 4534608"/>
              <a:gd name="connsiteX2006" fmla="*/ 6479114 w 12191999"/>
              <a:gd name="connsiteY2006" fmla="*/ 2743015 h 4534608"/>
              <a:gd name="connsiteX2007" fmla="*/ 6461586 w 12191999"/>
              <a:gd name="connsiteY2007" fmla="*/ 2678820 h 4534608"/>
              <a:gd name="connsiteX2008" fmla="*/ 6348708 w 12191999"/>
              <a:gd name="connsiteY2008" fmla="*/ 2743015 h 4534608"/>
              <a:gd name="connsiteX2009" fmla="*/ 6326865 w 12191999"/>
              <a:gd name="connsiteY2009" fmla="*/ 2672675 h 4534608"/>
              <a:gd name="connsiteX2010" fmla="*/ 6218433 w 12191999"/>
              <a:gd name="connsiteY2010" fmla="*/ 2743015 h 4534608"/>
              <a:gd name="connsiteX2011" fmla="*/ 6191488 w 12191999"/>
              <a:gd name="connsiteY2011" fmla="*/ 2666792 h 4534608"/>
              <a:gd name="connsiteX2012" fmla="*/ 6088158 w 12191999"/>
              <a:gd name="connsiteY2012" fmla="*/ 2743015 h 4534608"/>
              <a:gd name="connsiteX2013" fmla="*/ 6055197 w 12191999"/>
              <a:gd name="connsiteY2013" fmla="*/ 2661170 h 4534608"/>
              <a:gd name="connsiteX2014" fmla="*/ 5957881 w 12191999"/>
              <a:gd name="connsiteY2014" fmla="*/ 2743015 h 4534608"/>
              <a:gd name="connsiteX2015" fmla="*/ 5918642 w 12191999"/>
              <a:gd name="connsiteY2015" fmla="*/ 2658294 h 4534608"/>
              <a:gd name="connsiteX2016" fmla="*/ 5198336 w 12191999"/>
              <a:gd name="connsiteY2016" fmla="*/ 2540623 h 4534608"/>
              <a:gd name="connsiteX2017" fmla="*/ 5250655 w 12191999"/>
              <a:gd name="connsiteY2017" fmla="*/ 2586253 h 4534608"/>
              <a:gd name="connsiteX2018" fmla="*/ 5175576 w 12191999"/>
              <a:gd name="connsiteY2018" fmla="*/ 2743146 h 4534608"/>
              <a:gd name="connsiteX2019" fmla="*/ 5123257 w 12191999"/>
              <a:gd name="connsiteY2019" fmla="*/ 2697517 h 4534608"/>
              <a:gd name="connsiteX2020" fmla="*/ 4337943 w 12191999"/>
              <a:gd name="connsiteY2020" fmla="*/ 2540493 h 4534608"/>
              <a:gd name="connsiteX2021" fmla="*/ 4403342 w 12191999"/>
              <a:gd name="connsiteY2021" fmla="*/ 2547030 h 4534608"/>
              <a:gd name="connsiteX2022" fmla="*/ 4392617 w 12191999"/>
              <a:gd name="connsiteY2022" fmla="*/ 2743146 h 4534608"/>
              <a:gd name="connsiteX2023" fmla="*/ 4327218 w 12191999"/>
              <a:gd name="connsiteY2023" fmla="*/ 2736610 h 4534608"/>
              <a:gd name="connsiteX2024" fmla="*/ 2972543 w 12191999"/>
              <a:gd name="connsiteY2024" fmla="*/ 2540492 h 4534608"/>
              <a:gd name="connsiteX2025" fmla="*/ 3069069 w 12191999"/>
              <a:gd name="connsiteY2025" fmla="*/ 2684310 h 4534608"/>
              <a:gd name="connsiteX2026" fmla="*/ 3021459 w 12191999"/>
              <a:gd name="connsiteY2026" fmla="*/ 2743014 h 4534608"/>
              <a:gd name="connsiteX2027" fmla="*/ 2924931 w 12191999"/>
              <a:gd name="connsiteY2027" fmla="*/ 2599196 h 4534608"/>
              <a:gd name="connsiteX2028" fmla="*/ 3545310 w 12191999"/>
              <a:gd name="connsiteY2028" fmla="*/ 2540361 h 4534608"/>
              <a:gd name="connsiteX2029" fmla="*/ 3598934 w 12191999"/>
              <a:gd name="connsiteY2029" fmla="*/ 2710329 h 4534608"/>
              <a:gd name="connsiteX2030" fmla="*/ 3542691 w 12191999"/>
              <a:gd name="connsiteY2030" fmla="*/ 2743014 h 4534608"/>
              <a:gd name="connsiteX2031" fmla="*/ 3489065 w 12191999"/>
              <a:gd name="connsiteY2031" fmla="*/ 2573046 h 4534608"/>
              <a:gd name="connsiteX2032" fmla="*/ 5914327 w 12191999"/>
              <a:gd name="connsiteY2032" fmla="*/ 2284757 h 4534608"/>
              <a:gd name="connsiteX2033" fmla="*/ 5955397 w 12191999"/>
              <a:gd name="connsiteY2033" fmla="*/ 2363203 h 4534608"/>
              <a:gd name="connsiteX2034" fmla="*/ 5826691 w 12191999"/>
              <a:gd name="connsiteY2034" fmla="*/ 2487149 h 4534608"/>
              <a:gd name="connsiteX2035" fmla="*/ 5785621 w 12191999"/>
              <a:gd name="connsiteY2035" fmla="*/ 2408702 h 4534608"/>
              <a:gd name="connsiteX2036" fmla="*/ 5771494 w 12191999"/>
              <a:gd name="connsiteY2036" fmla="*/ 2284757 h 4534608"/>
              <a:gd name="connsiteX2037" fmla="*/ 5814397 w 12191999"/>
              <a:gd name="connsiteY2037" fmla="*/ 2356666 h 4534608"/>
              <a:gd name="connsiteX2038" fmla="*/ 5697070 w 12191999"/>
              <a:gd name="connsiteY2038" fmla="*/ 2487279 h 4534608"/>
              <a:gd name="connsiteX2039" fmla="*/ 5653775 w 12191999"/>
              <a:gd name="connsiteY2039" fmla="*/ 2415501 h 4534608"/>
              <a:gd name="connsiteX2040" fmla="*/ 5628402 w 12191999"/>
              <a:gd name="connsiteY2040" fmla="*/ 2284757 h 4534608"/>
              <a:gd name="connsiteX2041" fmla="*/ 5673788 w 12191999"/>
              <a:gd name="connsiteY2041" fmla="*/ 2350129 h 4534608"/>
              <a:gd name="connsiteX2042" fmla="*/ 5566534 w 12191999"/>
              <a:gd name="connsiteY2042" fmla="*/ 2487149 h 4534608"/>
              <a:gd name="connsiteX2043" fmla="*/ 5521146 w 12191999"/>
              <a:gd name="connsiteY2043" fmla="*/ 2421777 h 4534608"/>
              <a:gd name="connsiteX2044" fmla="*/ 5485177 w 12191999"/>
              <a:gd name="connsiteY2044" fmla="*/ 2284757 h 4534608"/>
              <a:gd name="connsiteX2045" fmla="*/ 5532657 w 12191999"/>
              <a:gd name="connsiteY2045" fmla="*/ 2343461 h 4534608"/>
              <a:gd name="connsiteX2046" fmla="*/ 5436128 w 12191999"/>
              <a:gd name="connsiteY2046" fmla="*/ 2487279 h 4534608"/>
              <a:gd name="connsiteX2047" fmla="*/ 5388648 w 12191999"/>
              <a:gd name="connsiteY2047" fmla="*/ 2428575 h 4534608"/>
              <a:gd name="connsiteX2048" fmla="*/ 5055765 w 12191999"/>
              <a:gd name="connsiteY2048" fmla="*/ 2284757 h 4534608"/>
              <a:gd name="connsiteX2049" fmla="*/ 5109523 w 12191999"/>
              <a:gd name="connsiteY2049" fmla="*/ 2323979 h 4534608"/>
              <a:gd name="connsiteX2050" fmla="*/ 5044778 w 12191999"/>
              <a:gd name="connsiteY2050" fmla="*/ 2486757 h 4534608"/>
              <a:gd name="connsiteX2051" fmla="*/ 4991413 w 12191999"/>
              <a:gd name="connsiteY2051" fmla="*/ 2447794 h 4534608"/>
              <a:gd name="connsiteX2052" fmla="*/ 4911887 w 12191999"/>
              <a:gd name="connsiteY2052" fmla="*/ 2284757 h 4534608"/>
              <a:gd name="connsiteX2053" fmla="*/ 4968392 w 12191999"/>
              <a:gd name="connsiteY2053" fmla="*/ 2317181 h 4534608"/>
              <a:gd name="connsiteX2054" fmla="*/ 4914764 w 12191999"/>
              <a:gd name="connsiteY2054" fmla="*/ 2487149 h 4534608"/>
              <a:gd name="connsiteX2055" fmla="*/ 4858390 w 12191999"/>
              <a:gd name="connsiteY2055" fmla="*/ 2454725 h 4534608"/>
              <a:gd name="connsiteX2056" fmla="*/ 4769187 w 12191999"/>
              <a:gd name="connsiteY2056" fmla="*/ 2284757 h 4534608"/>
              <a:gd name="connsiteX2057" fmla="*/ 4827522 w 12191999"/>
              <a:gd name="connsiteY2057" fmla="*/ 2310905 h 4534608"/>
              <a:gd name="connsiteX2058" fmla="*/ 4783705 w 12191999"/>
              <a:gd name="connsiteY2058" fmla="*/ 2487149 h 4534608"/>
              <a:gd name="connsiteX2059" fmla="*/ 4726285 w 12191999"/>
              <a:gd name="connsiteY2059" fmla="*/ 2460869 h 4534608"/>
              <a:gd name="connsiteX2060" fmla="*/ 4482999 w 12191999"/>
              <a:gd name="connsiteY2060" fmla="*/ 2284757 h 4534608"/>
              <a:gd name="connsiteX2061" fmla="*/ 4545651 w 12191999"/>
              <a:gd name="connsiteY2061" fmla="*/ 2297832 h 4534608"/>
              <a:gd name="connsiteX2062" fmla="*/ 4523416 w 12191999"/>
              <a:gd name="connsiteY2062" fmla="*/ 2486627 h 4534608"/>
              <a:gd name="connsiteX2063" fmla="*/ 4461548 w 12191999"/>
              <a:gd name="connsiteY2063" fmla="*/ 2473944 h 4534608"/>
              <a:gd name="connsiteX2064" fmla="*/ 3974849 w 12191999"/>
              <a:gd name="connsiteY2064" fmla="*/ 2284756 h 4534608"/>
              <a:gd name="connsiteX2065" fmla="*/ 3996303 w 12191999"/>
              <a:gd name="connsiteY2065" fmla="*/ 2473681 h 4534608"/>
              <a:gd name="connsiteX2066" fmla="*/ 3933650 w 12191999"/>
              <a:gd name="connsiteY2066" fmla="*/ 2487017 h 4534608"/>
              <a:gd name="connsiteX2067" fmla="*/ 3912199 w 12191999"/>
              <a:gd name="connsiteY2067" fmla="*/ 2297830 h 4534608"/>
              <a:gd name="connsiteX2068" fmla="*/ 3831758 w 12191999"/>
              <a:gd name="connsiteY2068" fmla="*/ 2284756 h 4534608"/>
              <a:gd name="connsiteX2069" fmla="*/ 3863934 w 12191999"/>
              <a:gd name="connsiteY2069" fmla="*/ 2467798 h 4534608"/>
              <a:gd name="connsiteX2070" fmla="*/ 3803375 w 12191999"/>
              <a:gd name="connsiteY2070" fmla="*/ 2487408 h 4534608"/>
              <a:gd name="connsiteX2071" fmla="*/ 3771198 w 12191999"/>
              <a:gd name="connsiteY2071" fmla="*/ 2304368 h 4534608"/>
              <a:gd name="connsiteX2072" fmla="*/ 3688533 w 12191999"/>
              <a:gd name="connsiteY2072" fmla="*/ 2284756 h 4534608"/>
              <a:gd name="connsiteX2073" fmla="*/ 3731435 w 12191999"/>
              <a:gd name="connsiteY2073" fmla="*/ 2461261 h 4534608"/>
              <a:gd name="connsiteX2074" fmla="*/ 3672969 w 12191999"/>
              <a:gd name="connsiteY2074" fmla="*/ 2487017 h 4534608"/>
              <a:gd name="connsiteX2075" fmla="*/ 3630067 w 12191999"/>
              <a:gd name="connsiteY2075" fmla="*/ 2310904 h 4534608"/>
              <a:gd name="connsiteX2076" fmla="*/ 3402084 w 12191999"/>
              <a:gd name="connsiteY2076" fmla="*/ 2284756 h 4534608"/>
              <a:gd name="connsiteX2077" fmla="*/ 3466438 w 12191999"/>
              <a:gd name="connsiteY2077" fmla="*/ 2448186 h 4534608"/>
              <a:gd name="connsiteX2078" fmla="*/ 3412419 w 12191999"/>
              <a:gd name="connsiteY2078" fmla="*/ 2487017 h 4534608"/>
              <a:gd name="connsiteX2079" fmla="*/ 3348062 w 12191999"/>
              <a:gd name="connsiteY2079" fmla="*/ 2323978 h 4534608"/>
              <a:gd name="connsiteX2080" fmla="*/ 3258860 w 12191999"/>
              <a:gd name="connsiteY2080" fmla="*/ 2284756 h 4534608"/>
              <a:gd name="connsiteX2081" fmla="*/ 3333939 w 12191999"/>
              <a:gd name="connsiteY2081" fmla="*/ 2441649 h 4534608"/>
              <a:gd name="connsiteX2082" fmla="*/ 3281619 w 12191999"/>
              <a:gd name="connsiteY2082" fmla="*/ 2487278 h 4534608"/>
              <a:gd name="connsiteX2083" fmla="*/ 3206538 w 12191999"/>
              <a:gd name="connsiteY2083" fmla="*/ 2330385 h 4534608"/>
              <a:gd name="connsiteX2084" fmla="*/ 3115768 w 12191999"/>
              <a:gd name="connsiteY2084" fmla="*/ 2284756 h 4534608"/>
              <a:gd name="connsiteX2085" fmla="*/ 3201571 w 12191999"/>
              <a:gd name="connsiteY2085" fmla="*/ 2434457 h 4534608"/>
              <a:gd name="connsiteX2086" fmla="*/ 3151736 w 12191999"/>
              <a:gd name="connsiteY2086" fmla="*/ 2486756 h 4534608"/>
              <a:gd name="connsiteX2087" fmla="*/ 3066064 w 12191999"/>
              <a:gd name="connsiteY2087" fmla="*/ 2336661 h 4534608"/>
              <a:gd name="connsiteX2088" fmla="*/ 2972543 w 12191999"/>
              <a:gd name="connsiteY2088" fmla="*/ 2284756 h 4534608"/>
              <a:gd name="connsiteX2089" fmla="*/ 3069069 w 12191999"/>
              <a:gd name="connsiteY2089" fmla="*/ 2428574 h 4534608"/>
              <a:gd name="connsiteX2090" fmla="*/ 3021459 w 12191999"/>
              <a:gd name="connsiteY2090" fmla="*/ 2487278 h 4534608"/>
              <a:gd name="connsiteX2091" fmla="*/ 2924931 w 12191999"/>
              <a:gd name="connsiteY2091" fmla="*/ 2343460 h 4534608"/>
              <a:gd name="connsiteX2092" fmla="*/ 2829319 w 12191999"/>
              <a:gd name="connsiteY2092" fmla="*/ 2284756 h 4534608"/>
              <a:gd name="connsiteX2093" fmla="*/ 2935916 w 12191999"/>
              <a:gd name="connsiteY2093" fmla="*/ 2421645 h 4534608"/>
              <a:gd name="connsiteX2094" fmla="*/ 2890532 w 12191999"/>
              <a:gd name="connsiteY2094" fmla="*/ 2487017 h 4534608"/>
              <a:gd name="connsiteX2095" fmla="*/ 2783932 w 12191999"/>
              <a:gd name="connsiteY2095" fmla="*/ 2350127 h 4534608"/>
              <a:gd name="connsiteX2096" fmla="*/ 2542869 w 12191999"/>
              <a:gd name="connsiteY2096" fmla="*/ 2284756 h 4534608"/>
              <a:gd name="connsiteX2097" fmla="*/ 2670659 w 12191999"/>
              <a:gd name="connsiteY2097" fmla="*/ 2409224 h 4534608"/>
              <a:gd name="connsiteX2098" fmla="*/ 2629587 w 12191999"/>
              <a:gd name="connsiteY2098" fmla="*/ 2487671 h 4534608"/>
              <a:gd name="connsiteX2099" fmla="*/ 2501930 w 12191999"/>
              <a:gd name="connsiteY2099" fmla="*/ 2363202 h 4534608"/>
              <a:gd name="connsiteX2100" fmla="*/ 6630841 w 12191999"/>
              <a:gd name="connsiteY2100" fmla="*/ 2284494 h 4534608"/>
              <a:gd name="connsiteX2101" fmla="*/ 6646144 w 12191999"/>
              <a:gd name="connsiteY2101" fmla="*/ 2340716 h 4534608"/>
              <a:gd name="connsiteX2102" fmla="*/ 6774064 w 12191999"/>
              <a:gd name="connsiteY2102" fmla="*/ 2284494 h 4534608"/>
              <a:gd name="connsiteX2103" fmla="*/ 6786097 w 12191999"/>
              <a:gd name="connsiteY2103" fmla="*/ 2334963 h 4534608"/>
              <a:gd name="connsiteX2104" fmla="*/ 6916896 w 12191999"/>
              <a:gd name="connsiteY2104" fmla="*/ 2284494 h 4534608"/>
              <a:gd name="connsiteX2105" fmla="*/ 6926183 w 12191999"/>
              <a:gd name="connsiteY2105" fmla="*/ 2329341 h 4534608"/>
              <a:gd name="connsiteX2106" fmla="*/ 7060383 w 12191999"/>
              <a:gd name="connsiteY2106" fmla="*/ 2284757 h 4534608"/>
              <a:gd name="connsiteX2107" fmla="*/ 7067445 w 12191999"/>
              <a:gd name="connsiteY2107" fmla="*/ 2323979 h 4534608"/>
              <a:gd name="connsiteX2108" fmla="*/ 7203476 w 12191999"/>
              <a:gd name="connsiteY2108" fmla="*/ 2284757 h 4534608"/>
              <a:gd name="connsiteX2109" fmla="*/ 7208969 w 12191999"/>
              <a:gd name="connsiteY2109" fmla="*/ 2319011 h 4534608"/>
              <a:gd name="connsiteX2110" fmla="*/ 7346701 w 12191999"/>
              <a:gd name="connsiteY2110" fmla="*/ 2284757 h 4534608"/>
              <a:gd name="connsiteX2111" fmla="*/ 7350756 w 12191999"/>
              <a:gd name="connsiteY2111" fmla="*/ 2314173 h 4534608"/>
              <a:gd name="connsiteX2112" fmla="*/ 7489924 w 12191999"/>
              <a:gd name="connsiteY2112" fmla="*/ 2284757 h 4534608"/>
              <a:gd name="connsiteX2113" fmla="*/ 7492933 w 12191999"/>
              <a:gd name="connsiteY2113" fmla="*/ 2309729 h 4534608"/>
              <a:gd name="connsiteX2114" fmla="*/ 7633280 w 12191999"/>
              <a:gd name="connsiteY2114" fmla="*/ 2284757 h 4534608"/>
              <a:gd name="connsiteX2115" fmla="*/ 7635242 w 12191999"/>
              <a:gd name="connsiteY2115" fmla="*/ 2305414 h 4534608"/>
              <a:gd name="connsiteX2116" fmla="*/ 7776374 w 12191999"/>
              <a:gd name="connsiteY2116" fmla="*/ 2284757 h 4534608"/>
              <a:gd name="connsiteX2117" fmla="*/ 7777551 w 12191999"/>
              <a:gd name="connsiteY2117" fmla="*/ 2301361 h 4534608"/>
              <a:gd name="connsiteX2118" fmla="*/ 7919336 w 12191999"/>
              <a:gd name="connsiteY2118" fmla="*/ 2284757 h 4534608"/>
              <a:gd name="connsiteX2119" fmla="*/ 7920251 w 12191999"/>
              <a:gd name="connsiteY2119" fmla="*/ 2297832 h 4534608"/>
              <a:gd name="connsiteX2120" fmla="*/ 8063346 w 12191999"/>
              <a:gd name="connsiteY2120" fmla="*/ 2284757 h 4534608"/>
              <a:gd name="connsiteX2121" fmla="*/ 8063346 w 12191999"/>
              <a:gd name="connsiteY2121" fmla="*/ 2294039 h 4534608"/>
              <a:gd name="connsiteX2122" fmla="*/ 8206046 w 12191999"/>
              <a:gd name="connsiteY2122" fmla="*/ 2284757 h 4534608"/>
              <a:gd name="connsiteX2123" fmla="*/ 8206046 w 12191999"/>
              <a:gd name="connsiteY2123" fmla="*/ 2290379 h 4534608"/>
              <a:gd name="connsiteX2124" fmla="*/ 8215202 w 12191999"/>
              <a:gd name="connsiteY2124" fmla="*/ 2290379 h 4534608"/>
              <a:gd name="connsiteX2125" fmla="*/ 8303100 w 12191999"/>
              <a:gd name="connsiteY2125" fmla="*/ 2286718 h 4534608"/>
              <a:gd name="connsiteX2126" fmla="*/ 8303100 w 12191999"/>
              <a:gd name="connsiteY2126" fmla="*/ 2284757 h 4534608"/>
              <a:gd name="connsiteX2127" fmla="*/ 12191477 w 12191999"/>
              <a:gd name="connsiteY2127" fmla="*/ 2284757 h 4534608"/>
              <a:gd name="connsiteX2128" fmla="*/ 12191477 w 12191999"/>
              <a:gd name="connsiteY2128" fmla="*/ 2487149 h 4534608"/>
              <a:gd name="connsiteX2129" fmla="*/ 8302968 w 12191999"/>
              <a:gd name="connsiteY2129" fmla="*/ 2487149 h 4534608"/>
              <a:gd name="connsiteX2130" fmla="*/ 8304930 w 12191999"/>
              <a:gd name="connsiteY2130" fmla="*/ 2484534 h 4534608"/>
              <a:gd name="connsiteX2131" fmla="*/ 8174131 w 12191999"/>
              <a:gd name="connsiteY2131" fmla="*/ 2487279 h 4534608"/>
              <a:gd name="connsiteX2132" fmla="*/ 8174131 w 12191999"/>
              <a:gd name="connsiteY2132" fmla="*/ 2481789 h 4534608"/>
              <a:gd name="connsiteX2133" fmla="*/ 8043333 w 12191999"/>
              <a:gd name="connsiteY2133" fmla="*/ 2487279 h 4534608"/>
              <a:gd name="connsiteX2134" fmla="*/ 8043333 w 12191999"/>
              <a:gd name="connsiteY2134" fmla="*/ 2478781 h 4534608"/>
              <a:gd name="connsiteX2135" fmla="*/ 7912534 w 12191999"/>
              <a:gd name="connsiteY2135" fmla="*/ 2487279 h 4534608"/>
              <a:gd name="connsiteX2136" fmla="*/ 7912534 w 12191999"/>
              <a:gd name="connsiteY2136" fmla="*/ 2475513 h 4534608"/>
              <a:gd name="connsiteX2137" fmla="*/ 7782652 w 12191999"/>
              <a:gd name="connsiteY2137" fmla="*/ 2487279 h 4534608"/>
              <a:gd name="connsiteX2138" fmla="*/ 7781867 w 12191999"/>
              <a:gd name="connsiteY2138" fmla="*/ 2472113 h 4534608"/>
              <a:gd name="connsiteX2139" fmla="*/ 7652246 w 12191999"/>
              <a:gd name="connsiteY2139" fmla="*/ 2487279 h 4534608"/>
              <a:gd name="connsiteX2140" fmla="*/ 7651068 w 12191999"/>
              <a:gd name="connsiteY2140" fmla="*/ 2468321 h 4534608"/>
              <a:gd name="connsiteX2141" fmla="*/ 7521971 w 12191999"/>
              <a:gd name="connsiteY2141" fmla="*/ 2487279 h 4534608"/>
              <a:gd name="connsiteX2142" fmla="*/ 7520139 w 12191999"/>
              <a:gd name="connsiteY2142" fmla="*/ 2464400 h 4534608"/>
              <a:gd name="connsiteX2143" fmla="*/ 7391696 w 12191999"/>
              <a:gd name="connsiteY2143" fmla="*/ 2487279 h 4534608"/>
              <a:gd name="connsiteX2144" fmla="*/ 7389080 w 12191999"/>
              <a:gd name="connsiteY2144" fmla="*/ 2460215 h 4534608"/>
              <a:gd name="connsiteX2145" fmla="*/ 7261289 w 12191999"/>
              <a:gd name="connsiteY2145" fmla="*/ 2487279 h 4534608"/>
              <a:gd name="connsiteX2146" fmla="*/ 7257757 w 12191999"/>
              <a:gd name="connsiteY2146" fmla="*/ 2455640 h 4534608"/>
              <a:gd name="connsiteX2147" fmla="*/ 7131013 w 12191999"/>
              <a:gd name="connsiteY2147" fmla="*/ 2487279 h 4534608"/>
              <a:gd name="connsiteX2148" fmla="*/ 7126174 w 12191999"/>
              <a:gd name="connsiteY2148" fmla="*/ 2450932 h 4534608"/>
              <a:gd name="connsiteX2149" fmla="*/ 7000738 w 12191999"/>
              <a:gd name="connsiteY2149" fmla="*/ 2487279 h 4534608"/>
              <a:gd name="connsiteX2150" fmla="*/ 6994198 w 12191999"/>
              <a:gd name="connsiteY2150" fmla="*/ 2445834 h 4534608"/>
              <a:gd name="connsiteX2151" fmla="*/ 6870463 w 12191999"/>
              <a:gd name="connsiteY2151" fmla="*/ 2487279 h 4534608"/>
              <a:gd name="connsiteX2152" fmla="*/ 6861830 w 12191999"/>
              <a:gd name="connsiteY2152" fmla="*/ 2440474 h 4534608"/>
              <a:gd name="connsiteX2153" fmla="*/ 6740057 w 12191999"/>
              <a:gd name="connsiteY2153" fmla="*/ 2487279 h 4534608"/>
              <a:gd name="connsiteX2154" fmla="*/ 6729070 w 12191999"/>
              <a:gd name="connsiteY2154" fmla="*/ 2434982 h 4534608"/>
              <a:gd name="connsiteX2155" fmla="*/ 6609782 w 12191999"/>
              <a:gd name="connsiteY2155" fmla="*/ 2487279 h 4534608"/>
              <a:gd name="connsiteX2156" fmla="*/ 6595787 w 12191999"/>
              <a:gd name="connsiteY2156" fmla="*/ 2428968 h 4534608"/>
              <a:gd name="connsiteX2157" fmla="*/ 6479507 w 12191999"/>
              <a:gd name="connsiteY2157" fmla="*/ 2487279 h 4534608"/>
              <a:gd name="connsiteX2158" fmla="*/ 6461979 w 12191999"/>
              <a:gd name="connsiteY2158" fmla="*/ 2422953 h 4534608"/>
              <a:gd name="connsiteX2159" fmla="*/ 6349101 w 12191999"/>
              <a:gd name="connsiteY2159" fmla="*/ 2487279 h 4534608"/>
              <a:gd name="connsiteX2160" fmla="*/ 6327258 w 12191999"/>
              <a:gd name="connsiteY2160" fmla="*/ 2416809 h 4534608"/>
              <a:gd name="connsiteX2161" fmla="*/ 6218825 w 12191999"/>
              <a:gd name="connsiteY2161" fmla="*/ 2487279 h 4534608"/>
              <a:gd name="connsiteX2162" fmla="*/ 6191881 w 12191999"/>
              <a:gd name="connsiteY2162" fmla="*/ 2410925 h 4534608"/>
              <a:gd name="connsiteX2163" fmla="*/ 6088551 w 12191999"/>
              <a:gd name="connsiteY2163" fmla="*/ 2487279 h 4534608"/>
              <a:gd name="connsiteX2164" fmla="*/ 6055588 w 12191999"/>
              <a:gd name="connsiteY2164" fmla="*/ 2405303 h 4534608"/>
              <a:gd name="connsiteX2165" fmla="*/ 5958274 w 12191999"/>
              <a:gd name="connsiteY2165" fmla="*/ 2487279 h 4534608"/>
              <a:gd name="connsiteX2166" fmla="*/ 5919035 w 12191999"/>
              <a:gd name="connsiteY2166" fmla="*/ 2402426 h 4534608"/>
              <a:gd name="connsiteX2167" fmla="*/ 6057943 w 12191999"/>
              <a:gd name="connsiteY2167" fmla="*/ 2284757 h 4534608"/>
              <a:gd name="connsiteX2168" fmla="*/ 6094175 w 12191999"/>
              <a:gd name="connsiteY2168" fmla="*/ 2363203 h 4534608"/>
              <a:gd name="connsiteX2169" fmla="*/ 6201168 w 12191999"/>
              <a:gd name="connsiteY2169" fmla="*/ 2284757 h 4534608"/>
              <a:gd name="connsiteX2170" fmla="*/ 6230729 w 12191999"/>
              <a:gd name="connsiteY2170" fmla="*/ 2358496 h 4534608"/>
              <a:gd name="connsiteX2171" fmla="*/ 6344261 w 12191999"/>
              <a:gd name="connsiteY2171" fmla="*/ 2284757 h 4534608"/>
              <a:gd name="connsiteX2172" fmla="*/ 6368327 w 12191999"/>
              <a:gd name="connsiteY2172" fmla="*/ 2352743 h 4534608"/>
              <a:gd name="connsiteX2173" fmla="*/ 6487486 w 12191999"/>
              <a:gd name="connsiteY2173" fmla="*/ 2284757 h 4534608"/>
              <a:gd name="connsiteX2174" fmla="*/ 6506974 w 12191999"/>
              <a:gd name="connsiteY2174" fmla="*/ 2346599 h 4534608"/>
              <a:gd name="connsiteX2175" fmla="*/ 5341952 w 12191999"/>
              <a:gd name="connsiteY2175" fmla="*/ 2284494 h 4534608"/>
              <a:gd name="connsiteX2176" fmla="*/ 5391656 w 12191999"/>
              <a:gd name="connsiteY2176" fmla="*/ 2337054 h 4534608"/>
              <a:gd name="connsiteX2177" fmla="*/ 5305852 w 12191999"/>
              <a:gd name="connsiteY2177" fmla="*/ 2486757 h 4534608"/>
              <a:gd name="connsiteX2178" fmla="*/ 5256148 w 12191999"/>
              <a:gd name="connsiteY2178" fmla="*/ 2434459 h 4534608"/>
              <a:gd name="connsiteX2179" fmla="*/ 4625831 w 12191999"/>
              <a:gd name="connsiteY2179" fmla="*/ 2284494 h 4534608"/>
              <a:gd name="connsiteX2180" fmla="*/ 4686390 w 12191999"/>
              <a:gd name="connsiteY2180" fmla="*/ 2304106 h 4534608"/>
              <a:gd name="connsiteX2181" fmla="*/ 4654213 w 12191999"/>
              <a:gd name="connsiteY2181" fmla="*/ 2487149 h 4534608"/>
              <a:gd name="connsiteX2182" fmla="*/ 4593654 w 12191999"/>
              <a:gd name="connsiteY2182" fmla="*/ 2467537 h 4534608"/>
              <a:gd name="connsiteX2183" fmla="*/ 4194332 w 12191999"/>
              <a:gd name="connsiteY2183" fmla="*/ 2284493 h 4534608"/>
              <a:gd name="connsiteX2184" fmla="*/ 4261294 w 12191999"/>
              <a:gd name="connsiteY2184" fmla="*/ 2284493 h 4534608"/>
              <a:gd name="connsiteX2185" fmla="*/ 4261294 w 12191999"/>
              <a:gd name="connsiteY2185" fmla="*/ 2284757 h 4534608"/>
              <a:gd name="connsiteX2186" fmla="*/ 4263388 w 12191999"/>
              <a:gd name="connsiteY2186" fmla="*/ 2284757 h 4534608"/>
              <a:gd name="connsiteX2187" fmla="*/ 4263388 w 12191999"/>
              <a:gd name="connsiteY2187" fmla="*/ 2486757 h 4534608"/>
              <a:gd name="connsiteX2188" fmla="*/ 4196426 w 12191999"/>
              <a:gd name="connsiteY2188" fmla="*/ 2486757 h 4534608"/>
              <a:gd name="connsiteX2189" fmla="*/ 4196426 w 12191999"/>
              <a:gd name="connsiteY2189" fmla="*/ 2486756 h 4534608"/>
              <a:gd name="connsiteX2190" fmla="*/ 4194332 w 12191999"/>
              <a:gd name="connsiteY2190" fmla="*/ 2486756 h 4534608"/>
              <a:gd name="connsiteX2191" fmla="*/ 5198336 w 12191999"/>
              <a:gd name="connsiteY2191" fmla="*/ 2284233 h 4534608"/>
              <a:gd name="connsiteX2192" fmla="*/ 5250655 w 12191999"/>
              <a:gd name="connsiteY2192" fmla="*/ 2329863 h 4534608"/>
              <a:gd name="connsiteX2193" fmla="*/ 5175576 w 12191999"/>
              <a:gd name="connsiteY2193" fmla="*/ 2486757 h 4534608"/>
              <a:gd name="connsiteX2194" fmla="*/ 5123257 w 12191999"/>
              <a:gd name="connsiteY2194" fmla="*/ 2441126 h 4534608"/>
              <a:gd name="connsiteX2195" fmla="*/ 4118075 w 12191999"/>
              <a:gd name="connsiteY2195" fmla="*/ 2284102 h 4534608"/>
              <a:gd name="connsiteX2196" fmla="*/ 4128801 w 12191999"/>
              <a:gd name="connsiteY2196" fmla="*/ 2480219 h 4534608"/>
              <a:gd name="connsiteX2197" fmla="*/ 4064053 w 12191999"/>
              <a:gd name="connsiteY2197" fmla="*/ 2486756 h 4534608"/>
              <a:gd name="connsiteX2198" fmla="*/ 4053330 w 12191999"/>
              <a:gd name="connsiteY2198" fmla="*/ 2290639 h 4534608"/>
              <a:gd name="connsiteX2199" fmla="*/ 4337943 w 12191999"/>
              <a:gd name="connsiteY2199" fmla="*/ 2283972 h 4534608"/>
              <a:gd name="connsiteX2200" fmla="*/ 4403342 w 12191999"/>
              <a:gd name="connsiteY2200" fmla="*/ 2290510 h 4534608"/>
              <a:gd name="connsiteX2201" fmla="*/ 4392617 w 12191999"/>
              <a:gd name="connsiteY2201" fmla="*/ 2486627 h 4534608"/>
              <a:gd name="connsiteX2202" fmla="*/ 4327218 w 12191999"/>
              <a:gd name="connsiteY2202" fmla="*/ 2480089 h 4534608"/>
              <a:gd name="connsiteX2203" fmla="*/ 2686354 w 12191999"/>
              <a:gd name="connsiteY2203" fmla="*/ 2283971 h 4534608"/>
              <a:gd name="connsiteX2204" fmla="*/ 2804073 w 12191999"/>
              <a:gd name="connsiteY2204" fmla="*/ 2414715 h 4534608"/>
              <a:gd name="connsiteX2205" fmla="*/ 2760911 w 12191999"/>
              <a:gd name="connsiteY2205" fmla="*/ 2486493 h 4534608"/>
              <a:gd name="connsiteX2206" fmla="*/ 2643192 w 12191999"/>
              <a:gd name="connsiteY2206" fmla="*/ 2355750 h 4534608"/>
              <a:gd name="connsiteX2207" fmla="*/ 3545310 w 12191999"/>
              <a:gd name="connsiteY2207" fmla="*/ 2283841 h 4534608"/>
              <a:gd name="connsiteX2208" fmla="*/ 3598934 w 12191999"/>
              <a:gd name="connsiteY2208" fmla="*/ 2453808 h 4534608"/>
              <a:gd name="connsiteX2209" fmla="*/ 3542691 w 12191999"/>
              <a:gd name="connsiteY2209" fmla="*/ 2486493 h 4534608"/>
              <a:gd name="connsiteX2210" fmla="*/ 3489065 w 12191999"/>
              <a:gd name="connsiteY2210" fmla="*/ 2316526 h 4534608"/>
              <a:gd name="connsiteX2211" fmla="*/ 2399907 w 12191999"/>
              <a:gd name="connsiteY2211" fmla="*/ 2283841 h 4534608"/>
              <a:gd name="connsiteX2212" fmla="*/ 2539208 w 12191999"/>
              <a:gd name="connsiteY2212" fmla="*/ 2401510 h 4534608"/>
              <a:gd name="connsiteX2213" fmla="*/ 2499966 w 12191999"/>
              <a:gd name="connsiteY2213" fmla="*/ 2486363 h 4534608"/>
              <a:gd name="connsiteX2214" fmla="*/ 2402653 w 12191999"/>
              <a:gd name="connsiteY2214" fmla="*/ 2404387 h 4534608"/>
              <a:gd name="connsiteX2215" fmla="*/ 2369692 w 12191999"/>
              <a:gd name="connsiteY2215" fmla="*/ 2486363 h 4534608"/>
              <a:gd name="connsiteX2216" fmla="*/ 2266362 w 12191999"/>
              <a:gd name="connsiteY2216" fmla="*/ 2410009 h 4534608"/>
              <a:gd name="connsiteX2217" fmla="*/ 2239287 w 12191999"/>
              <a:gd name="connsiteY2217" fmla="*/ 2486363 h 4534608"/>
              <a:gd name="connsiteX2218" fmla="*/ 2130855 w 12191999"/>
              <a:gd name="connsiteY2218" fmla="*/ 2415892 h 4534608"/>
              <a:gd name="connsiteX2219" fmla="*/ 2109011 w 12191999"/>
              <a:gd name="connsiteY2219" fmla="*/ 2486363 h 4534608"/>
              <a:gd name="connsiteX2220" fmla="*/ 1996262 w 12191999"/>
              <a:gd name="connsiteY2220" fmla="*/ 2422037 h 4534608"/>
              <a:gd name="connsiteX2221" fmla="*/ 1978736 w 12191999"/>
              <a:gd name="connsiteY2221" fmla="*/ 2486363 h 4534608"/>
              <a:gd name="connsiteX2222" fmla="*/ 1862325 w 12191999"/>
              <a:gd name="connsiteY2222" fmla="*/ 2428052 h 4534608"/>
              <a:gd name="connsiteX2223" fmla="*/ 1848460 w 12191999"/>
              <a:gd name="connsiteY2223" fmla="*/ 2486363 h 4534608"/>
              <a:gd name="connsiteX2224" fmla="*/ 1729041 w 12191999"/>
              <a:gd name="connsiteY2224" fmla="*/ 2434066 h 4534608"/>
              <a:gd name="connsiteX2225" fmla="*/ 1718054 w 12191999"/>
              <a:gd name="connsiteY2225" fmla="*/ 2486363 h 4534608"/>
              <a:gd name="connsiteX2226" fmla="*/ 1596281 w 12191999"/>
              <a:gd name="connsiteY2226" fmla="*/ 2439556 h 4534608"/>
              <a:gd name="connsiteX2227" fmla="*/ 1587779 w 12191999"/>
              <a:gd name="connsiteY2227" fmla="*/ 2486363 h 4534608"/>
              <a:gd name="connsiteX2228" fmla="*/ 1464043 w 12191999"/>
              <a:gd name="connsiteY2228" fmla="*/ 2444917 h 4534608"/>
              <a:gd name="connsiteX2229" fmla="*/ 1457503 w 12191999"/>
              <a:gd name="connsiteY2229" fmla="*/ 2486363 h 4534608"/>
              <a:gd name="connsiteX2230" fmla="*/ 1332067 w 12191999"/>
              <a:gd name="connsiteY2230" fmla="*/ 2450016 h 4534608"/>
              <a:gd name="connsiteX2231" fmla="*/ 1327098 w 12191999"/>
              <a:gd name="connsiteY2231" fmla="*/ 2486363 h 4534608"/>
              <a:gd name="connsiteX2232" fmla="*/ 1200484 w 12191999"/>
              <a:gd name="connsiteY2232" fmla="*/ 2454723 h 4534608"/>
              <a:gd name="connsiteX2233" fmla="*/ 1196822 w 12191999"/>
              <a:gd name="connsiteY2233" fmla="*/ 2486363 h 4534608"/>
              <a:gd name="connsiteX2234" fmla="*/ 1069168 w 12191999"/>
              <a:gd name="connsiteY2234" fmla="*/ 2459299 h 4534608"/>
              <a:gd name="connsiteX2235" fmla="*/ 1066552 w 12191999"/>
              <a:gd name="connsiteY2235" fmla="*/ 2486363 h 4534608"/>
              <a:gd name="connsiteX2236" fmla="*/ 937977 w 12191999"/>
              <a:gd name="connsiteY2236" fmla="*/ 2463482 h 4534608"/>
              <a:gd name="connsiteX2237" fmla="*/ 936278 w 12191999"/>
              <a:gd name="connsiteY2237" fmla="*/ 2486363 h 4534608"/>
              <a:gd name="connsiteX2238" fmla="*/ 807050 w 12191999"/>
              <a:gd name="connsiteY2238" fmla="*/ 2467405 h 4534608"/>
              <a:gd name="connsiteX2239" fmla="*/ 805873 w 12191999"/>
              <a:gd name="connsiteY2239" fmla="*/ 2486363 h 4534608"/>
              <a:gd name="connsiteX2240" fmla="*/ 676383 w 12191999"/>
              <a:gd name="connsiteY2240" fmla="*/ 2471197 h 4534608"/>
              <a:gd name="connsiteX2241" fmla="*/ 675597 w 12191999"/>
              <a:gd name="connsiteY2241" fmla="*/ 2486363 h 4534608"/>
              <a:gd name="connsiteX2242" fmla="*/ 545715 w 12191999"/>
              <a:gd name="connsiteY2242" fmla="*/ 2474596 h 4534608"/>
              <a:gd name="connsiteX2243" fmla="*/ 545715 w 12191999"/>
              <a:gd name="connsiteY2243" fmla="*/ 2486363 h 4534608"/>
              <a:gd name="connsiteX2244" fmla="*/ 415570 w 12191999"/>
              <a:gd name="connsiteY2244" fmla="*/ 2477865 h 4534608"/>
              <a:gd name="connsiteX2245" fmla="*/ 415570 w 12191999"/>
              <a:gd name="connsiteY2245" fmla="*/ 2486363 h 4534608"/>
              <a:gd name="connsiteX2246" fmla="*/ 285426 w 12191999"/>
              <a:gd name="connsiteY2246" fmla="*/ 2480873 h 4534608"/>
              <a:gd name="connsiteX2247" fmla="*/ 285426 w 12191999"/>
              <a:gd name="connsiteY2247" fmla="*/ 2486756 h 4534608"/>
              <a:gd name="connsiteX2248" fmla="*/ 154631 w 12191999"/>
              <a:gd name="connsiteY2248" fmla="*/ 2484009 h 4534608"/>
              <a:gd name="connsiteX2249" fmla="*/ 154631 w 12191999"/>
              <a:gd name="connsiteY2249" fmla="*/ 2487017 h 4534608"/>
              <a:gd name="connsiteX2250" fmla="*/ 0 w 12191999"/>
              <a:gd name="connsiteY2250" fmla="*/ 2487017 h 4534608"/>
              <a:gd name="connsiteX2251" fmla="*/ 0 w 12191999"/>
              <a:gd name="connsiteY2251" fmla="*/ 2284756 h 4534608"/>
              <a:gd name="connsiteX2252" fmla="*/ 154893 w 12191999"/>
              <a:gd name="connsiteY2252" fmla="*/ 2284756 h 4534608"/>
              <a:gd name="connsiteX2253" fmla="*/ 154893 w 12191999"/>
              <a:gd name="connsiteY2253" fmla="*/ 2286977 h 4534608"/>
              <a:gd name="connsiteX2254" fmla="*/ 242790 w 12191999"/>
              <a:gd name="connsiteY2254" fmla="*/ 2290639 h 4534608"/>
              <a:gd name="connsiteX2255" fmla="*/ 251814 w 12191999"/>
              <a:gd name="connsiteY2255" fmla="*/ 2290639 h 4534608"/>
              <a:gd name="connsiteX2256" fmla="*/ 251814 w 12191999"/>
              <a:gd name="connsiteY2256" fmla="*/ 2284756 h 4534608"/>
              <a:gd name="connsiteX2257" fmla="*/ 394905 w 12191999"/>
              <a:gd name="connsiteY2257" fmla="*/ 2294038 h 4534608"/>
              <a:gd name="connsiteX2258" fmla="*/ 394905 w 12191999"/>
              <a:gd name="connsiteY2258" fmla="*/ 2284756 h 4534608"/>
              <a:gd name="connsiteX2259" fmla="*/ 537344 w 12191999"/>
              <a:gd name="connsiteY2259" fmla="*/ 2297830 h 4534608"/>
              <a:gd name="connsiteX2260" fmla="*/ 538128 w 12191999"/>
              <a:gd name="connsiteY2260" fmla="*/ 2284756 h 4534608"/>
              <a:gd name="connsiteX2261" fmla="*/ 680045 w 12191999"/>
              <a:gd name="connsiteY2261" fmla="*/ 2301360 h 4534608"/>
              <a:gd name="connsiteX2262" fmla="*/ 681353 w 12191999"/>
              <a:gd name="connsiteY2262" fmla="*/ 2284756 h 4534608"/>
              <a:gd name="connsiteX2263" fmla="*/ 822616 w 12191999"/>
              <a:gd name="connsiteY2263" fmla="*/ 2305413 h 4534608"/>
              <a:gd name="connsiteX2264" fmla="*/ 824578 w 12191999"/>
              <a:gd name="connsiteY2264" fmla="*/ 2284756 h 4534608"/>
              <a:gd name="connsiteX2265" fmla="*/ 964922 w 12191999"/>
              <a:gd name="connsiteY2265" fmla="*/ 2309727 h 4534608"/>
              <a:gd name="connsiteX2266" fmla="*/ 967799 w 12191999"/>
              <a:gd name="connsiteY2266" fmla="*/ 2284756 h 4534608"/>
              <a:gd name="connsiteX2267" fmla="*/ 1106968 w 12191999"/>
              <a:gd name="connsiteY2267" fmla="*/ 2314172 h 4534608"/>
              <a:gd name="connsiteX2268" fmla="*/ 1110888 w 12191999"/>
              <a:gd name="connsiteY2268" fmla="*/ 2284756 h 4534608"/>
              <a:gd name="connsiteX2269" fmla="*/ 1248748 w 12191999"/>
              <a:gd name="connsiteY2269" fmla="*/ 2319010 h 4534608"/>
              <a:gd name="connsiteX2270" fmla="*/ 1254113 w 12191999"/>
              <a:gd name="connsiteY2270" fmla="*/ 2284756 h 4534608"/>
              <a:gd name="connsiteX2271" fmla="*/ 1390141 w 12191999"/>
              <a:gd name="connsiteY2271" fmla="*/ 2323978 h 4534608"/>
              <a:gd name="connsiteX2272" fmla="*/ 1397336 w 12191999"/>
              <a:gd name="connsiteY2272" fmla="*/ 2284756 h 4534608"/>
              <a:gd name="connsiteX2273" fmla="*/ 1531535 w 12191999"/>
              <a:gd name="connsiteY2273" fmla="*/ 2329600 h 4534608"/>
              <a:gd name="connsiteX2274" fmla="*/ 1540952 w 12191999"/>
              <a:gd name="connsiteY2274" fmla="*/ 2284756 h 4534608"/>
              <a:gd name="connsiteX2275" fmla="*/ 1671751 w 12191999"/>
              <a:gd name="connsiteY2275" fmla="*/ 2335223 h 4534608"/>
              <a:gd name="connsiteX2276" fmla="*/ 1683786 w 12191999"/>
              <a:gd name="connsiteY2276" fmla="*/ 2284756 h 4534608"/>
              <a:gd name="connsiteX2277" fmla="*/ 1811575 w 12191999"/>
              <a:gd name="connsiteY2277" fmla="*/ 2340976 h 4534608"/>
              <a:gd name="connsiteX2278" fmla="*/ 1826878 w 12191999"/>
              <a:gd name="connsiteY2278" fmla="*/ 2284756 h 4534608"/>
              <a:gd name="connsiteX2279" fmla="*/ 1950352 w 12191999"/>
              <a:gd name="connsiteY2279" fmla="*/ 2346859 h 4534608"/>
              <a:gd name="connsiteX2280" fmla="*/ 1969579 w 12191999"/>
              <a:gd name="connsiteY2280" fmla="*/ 2284756 h 4534608"/>
              <a:gd name="connsiteX2281" fmla="*/ 2088736 w 12191999"/>
              <a:gd name="connsiteY2281" fmla="*/ 2352742 h 4534608"/>
              <a:gd name="connsiteX2282" fmla="*/ 2112805 w 12191999"/>
              <a:gd name="connsiteY2282" fmla="*/ 2284756 h 4534608"/>
              <a:gd name="connsiteX2283" fmla="*/ 2226992 w 12191999"/>
              <a:gd name="connsiteY2283" fmla="*/ 2358495 h 4534608"/>
              <a:gd name="connsiteX2284" fmla="*/ 2256680 w 12191999"/>
              <a:gd name="connsiteY2284" fmla="*/ 2284756 h 4534608"/>
              <a:gd name="connsiteX2285" fmla="*/ 2363676 w 12191999"/>
              <a:gd name="connsiteY2285" fmla="*/ 2362287 h 4534608"/>
              <a:gd name="connsiteX2286" fmla="*/ 2541954 w 12191999"/>
              <a:gd name="connsiteY2286" fmla="*/ 2028767 h 4534608"/>
              <a:gd name="connsiteX2287" fmla="*/ 2670659 w 12191999"/>
              <a:gd name="connsiteY2287" fmla="*/ 2152704 h 4534608"/>
              <a:gd name="connsiteX2288" fmla="*/ 2629587 w 12191999"/>
              <a:gd name="connsiteY2288" fmla="*/ 2231150 h 4534608"/>
              <a:gd name="connsiteX2289" fmla="*/ 2501015 w 12191999"/>
              <a:gd name="connsiteY2289" fmla="*/ 2107205 h 4534608"/>
              <a:gd name="connsiteX2290" fmla="*/ 3402084 w 12191999"/>
              <a:gd name="connsiteY2290" fmla="*/ 2028636 h 4534608"/>
              <a:gd name="connsiteX2291" fmla="*/ 3466438 w 12191999"/>
              <a:gd name="connsiteY2291" fmla="*/ 2191665 h 4534608"/>
              <a:gd name="connsiteX2292" fmla="*/ 3412419 w 12191999"/>
              <a:gd name="connsiteY2292" fmla="*/ 2230889 h 4534608"/>
              <a:gd name="connsiteX2293" fmla="*/ 3348062 w 12191999"/>
              <a:gd name="connsiteY2293" fmla="*/ 2067860 h 4534608"/>
              <a:gd name="connsiteX2294" fmla="*/ 5628402 w 12191999"/>
              <a:gd name="connsiteY2294" fmla="*/ 2028500 h 4534608"/>
              <a:gd name="connsiteX2295" fmla="*/ 5673788 w 12191999"/>
              <a:gd name="connsiteY2295" fmla="*/ 2093871 h 4534608"/>
              <a:gd name="connsiteX2296" fmla="*/ 5566534 w 12191999"/>
              <a:gd name="connsiteY2296" fmla="*/ 2230891 h 4534608"/>
              <a:gd name="connsiteX2297" fmla="*/ 5521146 w 12191999"/>
              <a:gd name="connsiteY2297" fmla="*/ 2165517 h 4534608"/>
              <a:gd name="connsiteX2298" fmla="*/ 3688795 w 12191999"/>
              <a:gd name="connsiteY2298" fmla="*/ 2028375 h 4534608"/>
              <a:gd name="connsiteX2299" fmla="*/ 3731698 w 12191999"/>
              <a:gd name="connsiteY2299" fmla="*/ 2204478 h 4534608"/>
              <a:gd name="connsiteX2300" fmla="*/ 3673360 w 12191999"/>
              <a:gd name="connsiteY2300" fmla="*/ 2230627 h 4534608"/>
              <a:gd name="connsiteX2301" fmla="*/ 3630460 w 12191999"/>
              <a:gd name="connsiteY2301" fmla="*/ 2054524 h 4534608"/>
              <a:gd name="connsiteX2302" fmla="*/ 4769578 w 12191999"/>
              <a:gd name="connsiteY2302" fmla="*/ 2028369 h 4534608"/>
              <a:gd name="connsiteX2303" fmla="*/ 4827914 w 12191999"/>
              <a:gd name="connsiteY2303" fmla="*/ 2054518 h 4534608"/>
              <a:gd name="connsiteX2304" fmla="*/ 4785012 w 12191999"/>
              <a:gd name="connsiteY2304" fmla="*/ 2230628 h 4534608"/>
              <a:gd name="connsiteX2305" fmla="*/ 4726676 w 12191999"/>
              <a:gd name="connsiteY2305" fmla="*/ 2204479 h 4534608"/>
              <a:gd name="connsiteX2306" fmla="*/ 2828664 w 12191999"/>
              <a:gd name="connsiteY2306" fmla="*/ 2028244 h 4534608"/>
              <a:gd name="connsiteX2307" fmla="*/ 2935916 w 12191999"/>
              <a:gd name="connsiteY2307" fmla="*/ 2165255 h 4534608"/>
              <a:gd name="connsiteX2308" fmla="*/ 2890532 w 12191999"/>
              <a:gd name="connsiteY2308" fmla="*/ 2230627 h 4534608"/>
              <a:gd name="connsiteX2309" fmla="*/ 2783277 w 12191999"/>
              <a:gd name="connsiteY2309" fmla="*/ 2093616 h 4534608"/>
              <a:gd name="connsiteX2310" fmla="*/ 5914327 w 12191999"/>
              <a:gd name="connsiteY2310" fmla="*/ 2028239 h 4534608"/>
              <a:gd name="connsiteX2311" fmla="*/ 5955397 w 12191999"/>
              <a:gd name="connsiteY2311" fmla="*/ 2106683 h 4534608"/>
              <a:gd name="connsiteX2312" fmla="*/ 5826691 w 12191999"/>
              <a:gd name="connsiteY2312" fmla="*/ 2230628 h 4534608"/>
              <a:gd name="connsiteX2313" fmla="*/ 5785621 w 12191999"/>
              <a:gd name="connsiteY2313" fmla="*/ 2152182 h 4534608"/>
              <a:gd name="connsiteX2314" fmla="*/ 5484784 w 12191999"/>
              <a:gd name="connsiteY2314" fmla="*/ 2028108 h 4534608"/>
              <a:gd name="connsiteX2315" fmla="*/ 5532264 w 12191999"/>
              <a:gd name="connsiteY2315" fmla="*/ 2086812 h 4534608"/>
              <a:gd name="connsiteX2316" fmla="*/ 5435735 w 12191999"/>
              <a:gd name="connsiteY2316" fmla="*/ 2230628 h 4534608"/>
              <a:gd name="connsiteX2317" fmla="*/ 5388255 w 12191999"/>
              <a:gd name="connsiteY2317" fmla="*/ 2171924 h 4534608"/>
              <a:gd name="connsiteX2318" fmla="*/ 3974849 w 12191999"/>
              <a:gd name="connsiteY2318" fmla="*/ 2027982 h 4534608"/>
              <a:gd name="connsiteX2319" fmla="*/ 3996303 w 12191999"/>
              <a:gd name="connsiteY2319" fmla="*/ 2217161 h 4534608"/>
              <a:gd name="connsiteX2320" fmla="*/ 3933650 w 12191999"/>
              <a:gd name="connsiteY2320" fmla="*/ 2230235 h 4534608"/>
              <a:gd name="connsiteX2321" fmla="*/ 3912199 w 12191999"/>
              <a:gd name="connsiteY2321" fmla="*/ 2041056 h 4534608"/>
              <a:gd name="connsiteX2322" fmla="*/ 3115768 w 12191999"/>
              <a:gd name="connsiteY2322" fmla="*/ 2027982 h 4534608"/>
              <a:gd name="connsiteX2323" fmla="*/ 3201571 w 12191999"/>
              <a:gd name="connsiteY2323" fmla="*/ 2178067 h 4534608"/>
              <a:gd name="connsiteX2324" fmla="*/ 3151736 w 12191999"/>
              <a:gd name="connsiteY2324" fmla="*/ 2230366 h 4534608"/>
              <a:gd name="connsiteX2325" fmla="*/ 3066064 w 12191999"/>
              <a:gd name="connsiteY2325" fmla="*/ 2080280 h 4534608"/>
              <a:gd name="connsiteX2326" fmla="*/ 5771102 w 12191999"/>
              <a:gd name="connsiteY2326" fmla="*/ 2027976 h 4534608"/>
              <a:gd name="connsiteX2327" fmla="*/ 5814397 w 12191999"/>
              <a:gd name="connsiteY2327" fmla="*/ 2099754 h 4534608"/>
              <a:gd name="connsiteX2328" fmla="*/ 5696678 w 12191999"/>
              <a:gd name="connsiteY2328" fmla="*/ 2230498 h 4534608"/>
              <a:gd name="connsiteX2329" fmla="*/ 5653383 w 12191999"/>
              <a:gd name="connsiteY2329" fmla="*/ 2158719 h 4534608"/>
              <a:gd name="connsiteX2330" fmla="*/ 5341952 w 12191999"/>
              <a:gd name="connsiteY2330" fmla="*/ 2027976 h 4534608"/>
              <a:gd name="connsiteX2331" fmla="*/ 5391656 w 12191999"/>
              <a:gd name="connsiteY2331" fmla="*/ 2080275 h 4534608"/>
              <a:gd name="connsiteX2332" fmla="*/ 5305852 w 12191999"/>
              <a:gd name="connsiteY2332" fmla="*/ 2230367 h 4534608"/>
              <a:gd name="connsiteX2333" fmla="*/ 5256148 w 12191999"/>
              <a:gd name="connsiteY2333" fmla="*/ 2178069 h 4534608"/>
              <a:gd name="connsiteX2334" fmla="*/ 5054981 w 12191999"/>
              <a:gd name="connsiteY2334" fmla="*/ 2027976 h 4534608"/>
              <a:gd name="connsiteX2335" fmla="*/ 5109001 w 12191999"/>
              <a:gd name="connsiteY2335" fmla="*/ 2067200 h 4534608"/>
              <a:gd name="connsiteX2336" fmla="*/ 5044778 w 12191999"/>
              <a:gd name="connsiteY2336" fmla="*/ 2230237 h 4534608"/>
              <a:gd name="connsiteX2337" fmla="*/ 4990628 w 12191999"/>
              <a:gd name="connsiteY2337" fmla="*/ 2191013 h 4534608"/>
              <a:gd name="connsiteX2338" fmla="*/ 4912149 w 12191999"/>
              <a:gd name="connsiteY2338" fmla="*/ 2027976 h 4534608"/>
              <a:gd name="connsiteX2339" fmla="*/ 4968392 w 12191999"/>
              <a:gd name="connsiteY2339" fmla="*/ 2060663 h 4534608"/>
              <a:gd name="connsiteX2340" fmla="*/ 4914764 w 12191999"/>
              <a:gd name="connsiteY2340" fmla="*/ 2230628 h 4534608"/>
              <a:gd name="connsiteX2341" fmla="*/ 4858652 w 12191999"/>
              <a:gd name="connsiteY2341" fmla="*/ 2197943 h 4534608"/>
              <a:gd name="connsiteX2342" fmla="*/ 4625831 w 12191999"/>
              <a:gd name="connsiteY2342" fmla="*/ 2027976 h 4534608"/>
              <a:gd name="connsiteX2343" fmla="*/ 4686390 w 12191999"/>
              <a:gd name="connsiteY2343" fmla="*/ 2047588 h 4534608"/>
              <a:gd name="connsiteX2344" fmla="*/ 4654213 w 12191999"/>
              <a:gd name="connsiteY2344" fmla="*/ 2230628 h 4534608"/>
              <a:gd name="connsiteX2345" fmla="*/ 4593654 w 12191999"/>
              <a:gd name="connsiteY2345" fmla="*/ 2211016 h 4534608"/>
              <a:gd name="connsiteX2346" fmla="*/ 4482999 w 12191999"/>
              <a:gd name="connsiteY2346" fmla="*/ 2027976 h 4534608"/>
              <a:gd name="connsiteX2347" fmla="*/ 4545651 w 12191999"/>
              <a:gd name="connsiteY2347" fmla="*/ 2041051 h 4534608"/>
              <a:gd name="connsiteX2348" fmla="*/ 4523939 w 12191999"/>
              <a:gd name="connsiteY2348" fmla="*/ 2230237 h 4534608"/>
              <a:gd name="connsiteX2349" fmla="*/ 4461548 w 12191999"/>
              <a:gd name="connsiteY2349" fmla="*/ 2217162 h 4534608"/>
              <a:gd name="connsiteX2350" fmla="*/ 4196426 w 12191999"/>
              <a:gd name="connsiteY2350" fmla="*/ 2027976 h 4534608"/>
              <a:gd name="connsiteX2351" fmla="*/ 4263388 w 12191999"/>
              <a:gd name="connsiteY2351" fmla="*/ 2027976 h 4534608"/>
              <a:gd name="connsiteX2352" fmla="*/ 4263388 w 12191999"/>
              <a:gd name="connsiteY2352" fmla="*/ 2230237 h 4534608"/>
              <a:gd name="connsiteX2353" fmla="*/ 4196426 w 12191999"/>
              <a:gd name="connsiteY2353" fmla="*/ 2230237 h 4534608"/>
              <a:gd name="connsiteX2354" fmla="*/ 4196426 w 12191999"/>
              <a:gd name="connsiteY2354" fmla="*/ 2230235 h 4534608"/>
              <a:gd name="connsiteX2355" fmla="*/ 4194332 w 12191999"/>
              <a:gd name="connsiteY2355" fmla="*/ 2230235 h 4534608"/>
              <a:gd name="connsiteX2356" fmla="*/ 4194332 w 12191999"/>
              <a:gd name="connsiteY2356" fmla="*/ 2027982 h 4534608"/>
              <a:gd name="connsiteX2357" fmla="*/ 4196426 w 12191999"/>
              <a:gd name="connsiteY2357" fmla="*/ 2027982 h 4534608"/>
              <a:gd name="connsiteX2358" fmla="*/ 2972543 w 12191999"/>
              <a:gd name="connsiteY2358" fmla="*/ 2027721 h 4534608"/>
              <a:gd name="connsiteX2359" fmla="*/ 3069069 w 12191999"/>
              <a:gd name="connsiteY2359" fmla="*/ 2171530 h 4534608"/>
              <a:gd name="connsiteX2360" fmla="*/ 3021459 w 12191999"/>
              <a:gd name="connsiteY2360" fmla="*/ 2230235 h 4534608"/>
              <a:gd name="connsiteX2361" fmla="*/ 2924931 w 12191999"/>
              <a:gd name="connsiteY2361" fmla="*/ 2086425 h 4534608"/>
              <a:gd name="connsiteX2362" fmla="*/ 2256680 w 12191999"/>
              <a:gd name="connsiteY2362" fmla="*/ 2027721 h 4534608"/>
              <a:gd name="connsiteX2363" fmla="*/ 2363676 w 12191999"/>
              <a:gd name="connsiteY2363" fmla="*/ 2106158 h 4534608"/>
              <a:gd name="connsiteX2364" fmla="*/ 2399907 w 12191999"/>
              <a:gd name="connsiteY2364" fmla="*/ 2027721 h 4534608"/>
              <a:gd name="connsiteX2365" fmla="*/ 2539208 w 12191999"/>
              <a:gd name="connsiteY2365" fmla="*/ 2145382 h 4534608"/>
              <a:gd name="connsiteX2366" fmla="*/ 2499966 w 12191999"/>
              <a:gd name="connsiteY2366" fmla="*/ 2230235 h 4534608"/>
              <a:gd name="connsiteX2367" fmla="*/ 2402653 w 12191999"/>
              <a:gd name="connsiteY2367" fmla="*/ 2148258 h 4534608"/>
              <a:gd name="connsiteX2368" fmla="*/ 2369692 w 12191999"/>
              <a:gd name="connsiteY2368" fmla="*/ 2230235 h 4534608"/>
              <a:gd name="connsiteX2369" fmla="*/ 2266362 w 12191999"/>
              <a:gd name="connsiteY2369" fmla="*/ 2153880 h 4534608"/>
              <a:gd name="connsiteX2370" fmla="*/ 2239287 w 12191999"/>
              <a:gd name="connsiteY2370" fmla="*/ 2230235 h 4534608"/>
              <a:gd name="connsiteX2371" fmla="*/ 2130855 w 12191999"/>
              <a:gd name="connsiteY2371" fmla="*/ 2159763 h 4534608"/>
              <a:gd name="connsiteX2372" fmla="*/ 2109011 w 12191999"/>
              <a:gd name="connsiteY2372" fmla="*/ 2230235 h 4534608"/>
              <a:gd name="connsiteX2373" fmla="*/ 1996262 w 12191999"/>
              <a:gd name="connsiteY2373" fmla="*/ 2165909 h 4534608"/>
              <a:gd name="connsiteX2374" fmla="*/ 1978736 w 12191999"/>
              <a:gd name="connsiteY2374" fmla="*/ 2230235 h 4534608"/>
              <a:gd name="connsiteX2375" fmla="*/ 1862325 w 12191999"/>
              <a:gd name="connsiteY2375" fmla="*/ 2171923 h 4534608"/>
              <a:gd name="connsiteX2376" fmla="*/ 1848460 w 12191999"/>
              <a:gd name="connsiteY2376" fmla="*/ 2230235 h 4534608"/>
              <a:gd name="connsiteX2377" fmla="*/ 1729041 w 12191999"/>
              <a:gd name="connsiteY2377" fmla="*/ 2177937 h 4534608"/>
              <a:gd name="connsiteX2378" fmla="*/ 1718054 w 12191999"/>
              <a:gd name="connsiteY2378" fmla="*/ 2230235 h 4534608"/>
              <a:gd name="connsiteX2379" fmla="*/ 1596281 w 12191999"/>
              <a:gd name="connsiteY2379" fmla="*/ 2183429 h 4534608"/>
              <a:gd name="connsiteX2380" fmla="*/ 1587779 w 12191999"/>
              <a:gd name="connsiteY2380" fmla="*/ 2230235 h 4534608"/>
              <a:gd name="connsiteX2381" fmla="*/ 1464043 w 12191999"/>
              <a:gd name="connsiteY2381" fmla="*/ 2188788 h 4534608"/>
              <a:gd name="connsiteX2382" fmla="*/ 1457503 w 12191999"/>
              <a:gd name="connsiteY2382" fmla="*/ 2230235 h 4534608"/>
              <a:gd name="connsiteX2383" fmla="*/ 1332067 w 12191999"/>
              <a:gd name="connsiteY2383" fmla="*/ 2193889 h 4534608"/>
              <a:gd name="connsiteX2384" fmla="*/ 1327098 w 12191999"/>
              <a:gd name="connsiteY2384" fmla="*/ 2230235 h 4534608"/>
              <a:gd name="connsiteX2385" fmla="*/ 1200484 w 12191999"/>
              <a:gd name="connsiteY2385" fmla="*/ 2198725 h 4534608"/>
              <a:gd name="connsiteX2386" fmla="*/ 1196822 w 12191999"/>
              <a:gd name="connsiteY2386" fmla="*/ 2230235 h 4534608"/>
              <a:gd name="connsiteX2387" fmla="*/ 1069168 w 12191999"/>
              <a:gd name="connsiteY2387" fmla="*/ 2203171 h 4534608"/>
              <a:gd name="connsiteX2388" fmla="*/ 1066552 w 12191999"/>
              <a:gd name="connsiteY2388" fmla="*/ 2230235 h 4534608"/>
              <a:gd name="connsiteX2389" fmla="*/ 937977 w 12191999"/>
              <a:gd name="connsiteY2389" fmla="*/ 2207355 h 4534608"/>
              <a:gd name="connsiteX2390" fmla="*/ 936278 w 12191999"/>
              <a:gd name="connsiteY2390" fmla="*/ 2230235 h 4534608"/>
              <a:gd name="connsiteX2391" fmla="*/ 807050 w 12191999"/>
              <a:gd name="connsiteY2391" fmla="*/ 2211277 h 4534608"/>
              <a:gd name="connsiteX2392" fmla="*/ 805873 w 12191999"/>
              <a:gd name="connsiteY2392" fmla="*/ 2230235 h 4534608"/>
              <a:gd name="connsiteX2393" fmla="*/ 676383 w 12191999"/>
              <a:gd name="connsiteY2393" fmla="*/ 2215068 h 4534608"/>
              <a:gd name="connsiteX2394" fmla="*/ 675597 w 12191999"/>
              <a:gd name="connsiteY2394" fmla="*/ 2230235 h 4534608"/>
              <a:gd name="connsiteX2395" fmla="*/ 545715 w 12191999"/>
              <a:gd name="connsiteY2395" fmla="*/ 2218467 h 4534608"/>
              <a:gd name="connsiteX2396" fmla="*/ 545715 w 12191999"/>
              <a:gd name="connsiteY2396" fmla="*/ 2230235 h 4534608"/>
              <a:gd name="connsiteX2397" fmla="*/ 415570 w 12191999"/>
              <a:gd name="connsiteY2397" fmla="*/ 2221736 h 4534608"/>
              <a:gd name="connsiteX2398" fmla="*/ 415570 w 12191999"/>
              <a:gd name="connsiteY2398" fmla="*/ 2230235 h 4534608"/>
              <a:gd name="connsiteX2399" fmla="*/ 285426 w 12191999"/>
              <a:gd name="connsiteY2399" fmla="*/ 2224744 h 4534608"/>
              <a:gd name="connsiteX2400" fmla="*/ 285426 w 12191999"/>
              <a:gd name="connsiteY2400" fmla="*/ 2230235 h 4534608"/>
              <a:gd name="connsiteX2401" fmla="*/ 154631 w 12191999"/>
              <a:gd name="connsiteY2401" fmla="*/ 2227489 h 4534608"/>
              <a:gd name="connsiteX2402" fmla="*/ 154631 w 12191999"/>
              <a:gd name="connsiteY2402" fmla="*/ 2230496 h 4534608"/>
              <a:gd name="connsiteX2403" fmla="*/ 0 w 12191999"/>
              <a:gd name="connsiteY2403" fmla="*/ 2230496 h 4534608"/>
              <a:gd name="connsiteX2404" fmla="*/ 0 w 12191999"/>
              <a:gd name="connsiteY2404" fmla="*/ 2028244 h 4534608"/>
              <a:gd name="connsiteX2405" fmla="*/ 155155 w 12191999"/>
              <a:gd name="connsiteY2405" fmla="*/ 2028244 h 4534608"/>
              <a:gd name="connsiteX2406" fmla="*/ 155155 w 12191999"/>
              <a:gd name="connsiteY2406" fmla="*/ 2030205 h 4534608"/>
              <a:gd name="connsiteX2407" fmla="*/ 243051 w 12191999"/>
              <a:gd name="connsiteY2407" fmla="*/ 2033867 h 4534608"/>
              <a:gd name="connsiteX2408" fmla="*/ 252077 w 12191999"/>
              <a:gd name="connsiteY2408" fmla="*/ 2033867 h 4534608"/>
              <a:gd name="connsiteX2409" fmla="*/ 252077 w 12191999"/>
              <a:gd name="connsiteY2409" fmla="*/ 2027982 h 4534608"/>
              <a:gd name="connsiteX2410" fmla="*/ 394774 w 12191999"/>
              <a:gd name="connsiteY2410" fmla="*/ 2037266 h 4534608"/>
              <a:gd name="connsiteX2411" fmla="*/ 394774 w 12191999"/>
              <a:gd name="connsiteY2411" fmla="*/ 2027982 h 4534608"/>
              <a:gd name="connsiteX2412" fmla="*/ 537213 w 12191999"/>
              <a:gd name="connsiteY2412" fmla="*/ 2041056 h 4534608"/>
              <a:gd name="connsiteX2413" fmla="*/ 537998 w 12191999"/>
              <a:gd name="connsiteY2413" fmla="*/ 2027982 h 4534608"/>
              <a:gd name="connsiteX2414" fmla="*/ 679914 w 12191999"/>
              <a:gd name="connsiteY2414" fmla="*/ 2044588 h 4534608"/>
              <a:gd name="connsiteX2415" fmla="*/ 681222 w 12191999"/>
              <a:gd name="connsiteY2415" fmla="*/ 2027982 h 4534608"/>
              <a:gd name="connsiteX2416" fmla="*/ 822485 w 12191999"/>
              <a:gd name="connsiteY2416" fmla="*/ 2048641 h 4534608"/>
              <a:gd name="connsiteX2417" fmla="*/ 824447 w 12191999"/>
              <a:gd name="connsiteY2417" fmla="*/ 2027982 h 4534608"/>
              <a:gd name="connsiteX2418" fmla="*/ 964791 w 12191999"/>
              <a:gd name="connsiteY2418" fmla="*/ 2052955 h 4534608"/>
              <a:gd name="connsiteX2419" fmla="*/ 967668 w 12191999"/>
              <a:gd name="connsiteY2419" fmla="*/ 2027982 h 4534608"/>
              <a:gd name="connsiteX2420" fmla="*/ 1106837 w 12191999"/>
              <a:gd name="connsiteY2420" fmla="*/ 2057530 h 4534608"/>
              <a:gd name="connsiteX2421" fmla="*/ 1110757 w 12191999"/>
              <a:gd name="connsiteY2421" fmla="*/ 2027982 h 4534608"/>
              <a:gd name="connsiteX2422" fmla="*/ 1248618 w 12191999"/>
              <a:gd name="connsiteY2422" fmla="*/ 2062237 h 4534608"/>
              <a:gd name="connsiteX2423" fmla="*/ 1253980 w 12191999"/>
              <a:gd name="connsiteY2423" fmla="*/ 2027982 h 4534608"/>
              <a:gd name="connsiteX2424" fmla="*/ 1390011 w 12191999"/>
              <a:gd name="connsiteY2424" fmla="*/ 2067206 h 4534608"/>
              <a:gd name="connsiteX2425" fmla="*/ 1397206 w 12191999"/>
              <a:gd name="connsiteY2425" fmla="*/ 2027982 h 4534608"/>
              <a:gd name="connsiteX2426" fmla="*/ 1531011 w 12191999"/>
              <a:gd name="connsiteY2426" fmla="*/ 2072828 h 4534608"/>
              <a:gd name="connsiteX2427" fmla="*/ 1540430 w 12191999"/>
              <a:gd name="connsiteY2427" fmla="*/ 2027982 h 4534608"/>
              <a:gd name="connsiteX2428" fmla="*/ 1671228 w 12191999"/>
              <a:gd name="connsiteY2428" fmla="*/ 2078450 h 4534608"/>
              <a:gd name="connsiteX2429" fmla="*/ 1683262 w 12191999"/>
              <a:gd name="connsiteY2429" fmla="*/ 2027982 h 4534608"/>
              <a:gd name="connsiteX2430" fmla="*/ 1811051 w 12191999"/>
              <a:gd name="connsiteY2430" fmla="*/ 2084203 h 4534608"/>
              <a:gd name="connsiteX2431" fmla="*/ 1826355 w 12191999"/>
              <a:gd name="connsiteY2431" fmla="*/ 2027982 h 4534608"/>
              <a:gd name="connsiteX2432" fmla="*/ 1950352 w 12191999"/>
              <a:gd name="connsiteY2432" fmla="*/ 2090086 h 4534608"/>
              <a:gd name="connsiteX2433" fmla="*/ 1969579 w 12191999"/>
              <a:gd name="connsiteY2433" fmla="*/ 2027982 h 4534608"/>
              <a:gd name="connsiteX2434" fmla="*/ 2088736 w 12191999"/>
              <a:gd name="connsiteY2434" fmla="*/ 2095970 h 4534608"/>
              <a:gd name="connsiteX2435" fmla="*/ 2112805 w 12191999"/>
              <a:gd name="connsiteY2435" fmla="*/ 2027982 h 4534608"/>
              <a:gd name="connsiteX2436" fmla="*/ 2226861 w 12191999"/>
              <a:gd name="connsiteY2436" fmla="*/ 2101713 h 4534608"/>
              <a:gd name="connsiteX2437" fmla="*/ 7347355 w 12191999"/>
              <a:gd name="connsiteY2437" fmla="*/ 2027715 h 4534608"/>
              <a:gd name="connsiteX2438" fmla="*/ 7351410 w 12191999"/>
              <a:gd name="connsiteY2438" fmla="*/ 2057264 h 4534608"/>
              <a:gd name="connsiteX2439" fmla="*/ 7490580 w 12191999"/>
              <a:gd name="connsiteY2439" fmla="*/ 2027715 h 4534608"/>
              <a:gd name="connsiteX2440" fmla="*/ 7493457 w 12191999"/>
              <a:gd name="connsiteY2440" fmla="*/ 2052687 h 4534608"/>
              <a:gd name="connsiteX2441" fmla="*/ 7633803 w 12191999"/>
              <a:gd name="connsiteY2441" fmla="*/ 2027715 h 4534608"/>
              <a:gd name="connsiteX2442" fmla="*/ 7635765 w 12191999"/>
              <a:gd name="connsiteY2442" fmla="*/ 2048373 h 4534608"/>
              <a:gd name="connsiteX2443" fmla="*/ 7776896 w 12191999"/>
              <a:gd name="connsiteY2443" fmla="*/ 2027715 h 4534608"/>
              <a:gd name="connsiteX2444" fmla="*/ 7778336 w 12191999"/>
              <a:gd name="connsiteY2444" fmla="*/ 2044319 h 4534608"/>
              <a:gd name="connsiteX2445" fmla="*/ 7920121 w 12191999"/>
              <a:gd name="connsiteY2445" fmla="*/ 2027715 h 4534608"/>
              <a:gd name="connsiteX2446" fmla="*/ 7921036 w 12191999"/>
              <a:gd name="connsiteY2446" fmla="*/ 2040790 h 4534608"/>
              <a:gd name="connsiteX2447" fmla="*/ 8063346 w 12191999"/>
              <a:gd name="connsiteY2447" fmla="*/ 2027715 h 4534608"/>
              <a:gd name="connsiteX2448" fmla="*/ 8063346 w 12191999"/>
              <a:gd name="connsiteY2448" fmla="*/ 2036998 h 4534608"/>
              <a:gd name="connsiteX2449" fmla="*/ 8206046 w 12191999"/>
              <a:gd name="connsiteY2449" fmla="*/ 2027715 h 4534608"/>
              <a:gd name="connsiteX2450" fmla="*/ 8206046 w 12191999"/>
              <a:gd name="connsiteY2450" fmla="*/ 2033598 h 4534608"/>
              <a:gd name="connsiteX2451" fmla="*/ 8215202 w 12191999"/>
              <a:gd name="connsiteY2451" fmla="*/ 2033598 h 4534608"/>
              <a:gd name="connsiteX2452" fmla="*/ 8303100 w 12191999"/>
              <a:gd name="connsiteY2452" fmla="*/ 2029938 h 4534608"/>
              <a:gd name="connsiteX2453" fmla="*/ 8303100 w 12191999"/>
              <a:gd name="connsiteY2453" fmla="*/ 2027976 h 4534608"/>
              <a:gd name="connsiteX2454" fmla="*/ 12191477 w 12191999"/>
              <a:gd name="connsiteY2454" fmla="*/ 2027976 h 4534608"/>
              <a:gd name="connsiteX2455" fmla="*/ 12191477 w 12191999"/>
              <a:gd name="connsiteY2455" fmla="*/ 2230628 h 4534608"/>
              <a:gd name="connsiteX2456" fmla="*/ 8302968 w 12191999"/>
              <a:gd name="connsiteY2456" fmla="*/ 2230628 h 4534608"/>
              <a:gd name="connsiteX2457" fmla="*/ 8304406 w 12191999"/>
              <a:gd name="connsiteY2457" fmla="*/ 2227752 h 4534608"/>
              <a:gd name="connsiteX2458" fmla="*/ 8173609 w 12191999"/>
              <a:gd name="connsiteY2458" fmla="*/ 2230498 h 4534608"/>
              <a:gd name="connsiteX2459" fmla="*/ 8173609 w 12191999"/>
              <a:gd name="connsiteY2459" fmla="*/ 2225006 h 4534608"/>
              <a:gd name="connsiteX2460" fmla="*/ 8042810 w 12191999"/>
              <a:gd name="connsiteY2460" fmla="*/ 2230498 h 4534608"/>
              <a:gd name="connsiteX2461" fmla="*/ 8042810 w 12191999"/>
              <a:gd name="connsiteY2461" fmla="*/ 2222000 h 4534608"/>
              <a:gd name="connsiteX2462" fmla="*/ 7912012 w 12191999"/>
              <a:gd name="connsiteY2462" fmla="*/ 2230498 h 4534608"/>
              <a:gd name="connsiteX2463" fmla="*/ 7912012 w 12191999"/>
              <a:gd name="connsiteY2463" fmla="*/ 2218731 h 4534608"/>
              <a:gd name="connsiteX2464" fmla="*/ 7782128 w 12191999"/>
              <a:gd name="connsiteY2464" fmla="*/ 2230498 h 4534608"/>
              <a:gd name="connsiteX2465" fmla="*/ 7781344 w 12191999"/>
              <a:gd name="connsiteY2465" fmla="*/ 2215332 h 4534608"/>
              <a:gd name="connsiteX2466" fmla="*/ 7651722 w 12191999"/>
              <a:gd name="connsiteY2466" fmla="*/ 2230498 h 4534608"/>
              <a:gd name="connsiteX2467" fmla="*/ 7650545 w 12191999"/>
              <a:gd name="connsiteY2467" fmla="*/ 2211540 h 4534608"/>
              <a:gd name="connsiteX2468" fmla="*/ 7521447 w 12191999"/>
              <a:gd name="connsiteY2468" fmla="*/ 2230498 h 4534608"/>
              <a:gd name="connsiteX2469" fmla="*/ 7519616 w 12191999"/>
              <a:gd name="connsiteY2469" fmla="*/ 2207617 h 4534608"/>
              <a:gd name="connsiteX2470" fmla="*/ 7391172 w 12191999"/>
              <a:gd name="connsiteY2470" fmla="*/ 2230498 h 4534608"/>
              <a:gd name="connsiteX2471" fmla="*/ 7388556 w 12191999"/>
              <a:gd name="connsiteY2471" fmla="*/ 2203433 h 4534608"/>
              <a:gd name="connsiteX2472" fmla="*/ 7260766 w 12191999"/>
              <a:gd name="connsiteY2472" fmla="*/ 2230498 h 4534608"/>
              <a:gd name="connsiteX2473" fmla="*/ 7257234 w 12191999"/>
              <a:gd name="connsiteY2473" fmla="*/ 2198989 h 4534608"/>
              <a:gd name="connsiteX2474" fmla="*/ 7130491 w 12191999"/>
              <a:gd name="connsiteY2474" fmla="*/ 2230498 h 4534608"/>
              <a:gd name="connsiteX2475" fmla="*/ 7125651 w 12191999"/>
              <a:gd name="connsiteY2475" fmla="*/ 2194151 h 4534608"/>
              <a:gd name="connsiteX2476" fmla="*/ 7000215 w 12191999"/>
              <a:gd name="connsiteY2476" fmla="*/ 2230498 h 4534608"/>
              <a:gd name="connsiteX2477" fmla="*/ 6993675 w 12191999"/>
              <a:gd name="connsiteY2477" fmla="*/ 2189052 h 4534608"/>
              <a:gd name="connsiteX2478" fmla="*/ 6869941 w 12191999"/>
              <a:gd name="connsiteY2478" fmla="*/ 2230498 h 4534608"/>
              <a:gd name="connsiteX2479" fmla="*/ 6861307 w 12191999"/>
              <a:gd name="connsiteY2479" fmla="*/ 2183691 h 4534608"/>
              <a:gd name="connsiteX2480" fmla="*/ 6739534 w 12191999"/>
              <a:gd name="connsiteY2480" fmla="*/ 2230498 h 4534608"/>
              <a:gd name="connsiteX2481" fmla="*/ 6728548 w 12191999"/>
              <a:gd name="connsiteY2481" fmla="*/ 2178200 h 4534608"/>
              <a:gd name="connsiteX2482" fmla="*/ 6609259 w 12191999"/>
              <a:gd name="connsiteY2482" fmla="*/ 2230498 h 4534608"/>
              <a:gd name="connsiteX2483" fmla="*/ 6595263 w 12191999"/>
              <a:gd name="connsiteY2483" fmla="*/ 2172185 h 4534608"/>
              <a:gd name="connsiteX2484" fmla="*/ 6478983 w 12191999"/>
              <a:gd name="connsiteY2484" fmla="*/ 2230498 h 4534608"/>
              <a:gd name="connsiteX2485" fmla="*/ 6461456 w 12191999"/>
              <a:gd name="connsiteY2485" fmla="*/ 2166171 h 4534608"/>
              <a:gd name="connsiteX2486" fmla="*/ 6348578 w 12191999"/>
              <a:gd name="connsiteY2486" fmla="*/ 2230498 h 4534608"/>
              <a:gd name="connsiteX2487" fmla="*/ 6326733 w 12191999"/>
              <a:gd name="connsiteY2487" fmla="*/ 2160027 h 4534608"/>
              <a:gd name="connsiteX2488" fmla="*/ 6218303 w 12191999"/>
              <a:gd name="connsiteY2488" fmla="*/ 2230498 h 4534608"/>
              <a:gd name="connsiteX2489" fmla="*/ 6191358 w 12191999"/>
              <a:gd name="connsiteY2489" fmla="*/ 2154142 h 4534608"/>
              <a:gd name="connsiteX2490" fmla="*/ 6088026 w 12191999"/>
              <a:gd name="connsiteY2490" fmla="*/ 2230498 h 4534608"/>
              <a:gd name="connsiteX2491" fmla="*/ 6055066 w 12191999"/>
              <a:gd name="connsiteY2491" fmla="*/ 2148521 h 4534608"/>
              <a:gd name="connsiteX2492" fmla="*/ 5957752 w 12191999"/>
              <a:gd name="connsiteY2492" fmla="*/ 2230498 h 4534608"/>
              <a:gd name="connsiteX2493" fmla="*/ 5918512 w 12191999"/>
              <a:gd name="connsiteY2493" fmla="*/ 2145644 h 4534608"/>
              <a:gd name="connsiteX2494" fmla="*/ 6057943 w 12191999"/>
              <a:gd name="connsiteY2494" fmla="*/ 2027976 h 4534608"/>
              <a:gd name="connsiteX2495" fmla="*/ 6094175 w 12191999"/>
              <a:gd name="connsiteY2495" fmla="*/ 2106422 h 4534608"/>
              <a:gd name="connsiteX2496" fmla="*/ 6201168 w 12191999"/>
              <a:gd name="connsiteY2496" fmla="*/ 2027976 h 4534608"/>
              <a:gd name="connsiteX2497" fmla="*/ 6230729 w 12191999"/>
              <a:gd name="connsiteY2497" fmla="*/ 2101715 h 4534608"/>
              <a:gd name="connsiteX2498" fmla="*/ 6344393 w 12191999"/>
              <a:gd name="connsiteY2498" fmla="*/ 2027976 h 4534608"/>
              <a:gd name="connsiteX2499" fmla="*/ 6368459 w 12191999"/>
              <a:gd name="connsiteY2499" fmla="*/ 2095964 h 4534608"/>
              <a:gd name="connsiteX2500" fmla="*/ 6487616 w 12191999"/>
              <a:gd name="connsiteY2500" fmla="*/ 2027976 h 4534608"/>
              <a:gd name="connsiteX2501" fmla="*/ 6506974 w 12191999"/>
              <a:gd name="connsiteY2501" fmla="*/ 2090081 h 4534608"/>
              <a:gd name="connsiteX2502" fmla="*/ 6630841 w 12191999"/>
              <a:gd name="connsiteY2502" fmla="*/ 2027976 h 4534608"/>
              <a:gd name="connsiteX2503" fmla="*/ 6646144 w 12191999"/>
              <a:gd name="connsiteY2503" fmla="*/ 2084197 h 4534608"/>
              <a:gd name="connsiteX2504" fmla="*/ 6774064 w 12191999"/>
              <a:gd name="connsiteY2504" fmla="*/ 2027976 h 4534608"/>
              <a:gd name="connsiteX2505" fmla="*/ 6786097 w 12191999"/>
              <a:gd name="connsiteY2505" fmla="*/ 2078445 h 4534608"/>
              <a:gd name="connsiteX2506" fmla="*/ 6916896 w 12191999"/>
              <a:gd name="connsiteY2506" fmla="*/ 2027976 h 4534608"/>
              <a:gd name="connsiteX2507" fmla="*/ 6926183 w 12191999"/>
              <a:gd name="connsiteY2507" fmla="*/ 2072822 h 4534608"/>
              <a:gd name="connsiteX2508" fmla="*/ 7060383 w 12191999"/>
              <a:gd name="connsiteY2508" fmla="*/ 2028239 h 4534608"/>
              <a:gd name="connsiteX2509" fmla="*/ 7067445 w 12191999"/>
              <a:gd name="connsiteY2509" fmla="*/ 2067461 h 4534608"/>
              <a:gd name="connsiteX2510" fmla="*/ 7203476 w 12191999"/>
              <a:gd name="connsiteY2510" fmla="*/ 2028239 h 4534608"/>
              <a:gd name="connsiteX2511" fmla="*/ 7208969 w 12191999"/>
              <a:gd name="connsiteY2511" fmla="*/ 2062493 h 4534608"/>
              <a:gd name="connsiteX2512" fmla="*/ 5198336 w 12191999"/>
              <a:gd name="connsiteY2512" fmla="*/ 2027715 h 4534608"/>
              <a:gd name="connsiteX2513" fmla="*/ 5250655 w 12191999"/>
              <a:gd name="connsiteY2513" fmla="*/ 2073344 h 4534608"/>
              <a:gd name="connsiteX2514" fmla="*/ 5175576 w 12191999"/>
              <a:gd name="connsiteY2514" fmla="*/ 2230237 h 4534608"/>
              <a:gd name="connsiteX2515" fmla="*/ 5123257 w 12191999"/>
              <a:gd name="connsiteY2515" fmla="*/ 2184606 h 4534608"/>
              <a:gd name="connsiteX2516" fmla="*/ 4118075 w 12191999"/>
              <a:gd name="connsiteY2516" fmla="*/ 2027590 h 4534608"/>
              <a:gd name="connsiteX2517" fmla="*/ 4128801 w 12191999"/>
              <a:gd name="connsiteY2517" fmla="*/ 2223698 h 4534608"/>
              <a:gd name="connsiteX2518" fmla="*/ 4064053 w 12191999"/>
              <a:gd name="connsiteY2518" fmla="*/ 2230235 h 4534608"/>
              <a:gd name="connsiteX2519" fmla="*/ 4053330 w 12191999"/>
              <a:gd name="connsiteY2519" fmla="*/ 2034128 h 4534608"/>
              <a:gd name="connsiteX2520" fmla="*/ 3258860 w 12191999"/>
              <a:gd name="connsiteY2520" fmla="*/ 2027590 h 4534608"/>
              <a:gd name="connsiteX2521" fmla="*/ 3333939 w 12191999"/>
              <a:gd name="connsiteY2521" fmla="*/ 2184474 h 4534608"/>
              <a:gd name="connsiteX2522" fmla="*/ 3281619 w 12191999"/>
              <a:gd name="connsiteY2522" fmla="*/ 2230105 h 4534608"/>
              <a:gd name="connsiteX2523" fmla="*/ 3206538 w 12191999"/>
              <a:gd name="connsiteY2523" fmla="*/ 2073219 h 4534608"/>
              <a:gd name="connsiteX2524" fmla="*/ 2686354 w 12191999"/>
              <a:gd name="connsiteY2524" fmla="*/ 2027460 h 4534608"/>
              <a:gd name="connsiteX2525" fmla="*/ 2804073 w 12191999"/>
              <a:gd name="connsiteY2525" fmla="*/ 2158194 h 4534608"/>
              <a:gd name="connsiteX2526" fmla="*/ 2760911 w 12191999"/>
              <a:gd name="connsiteY2526" fmla="*/ 2229973 h 4534608"/>
              <a:gd name="connsiteX2527" fmla="*/ 2643192 w 12191999"/>
              <a:gd name="connsiteY2527" fmla="*/ 2099229 h 4534608"/>
              <a:gd name="connsiteX2528" fmla="*/ 4337943 w 12191999"/>
              <a:gd name="connsiteY2528" fmla="*/ 2027454 h 4534608"/>
              <a:gd name="connsiteX2529" fmla="*/ 4403342 w 12191999"/>
              <a:gd name="connsiteY2529" fmla="*/ 2033991 h 4534608"/>
              <a:gd name="connsiteX2530" fmla="*/ 4392617 w 12191999"/>
              <a:gd name="connsiteY2530" fmla="*/ 2230106 h 4534608"/>
              <a:gd name="connsiteX2531" fmla="*/ 4327218 w 12191999"/>
              <a:gd name="connsiteY2531" fmla="*/ 2223569 h 4534608"/>
              <a:gd name="connsiteX2532" fmla="*/ 3831758 w 12191999"/>
              <a:gd name="connsiteY2532" fmla="*/ 2027329 h 4534608"/>
              <a:gd name="connsiteX2533" fmla="*/ 3863934 w 12191999"/>
              <a:gd name="connsiteY2533" fmla="*/ 2210362 h 4534608"/>
              <a:gd name="connsiteX2534" fmla="*/ 3803375 w 12191999"/>
              <a:gd name="connsiteY2534" fmla="*/ 2229973 h 4534608"/>
              <a:gd name="connsiteX2535" fmla="*/ 3771198 w 12191999"/>
              <a:gd name="connsiteY2535" fmla="*/ 2046940 h 4534608"/>
              <a:gd name="connsiteX2536" fmla="*/ 3545310 w 12191999"/>
              <a:gd name="connsiteY2536" fmla="*/ 2027329 h 4534608"/>
              <a:gd name="connsiteX2537" fmla="*/ 3598934 w 12191999"/>
              <a:gd name="connsiteY2537" fmla="*/ 2197288 h 4534608"/>
              <a:gd name="connsiteX2538" fmla="*/ 3542691 w 12191999"/>
              <a:gd name="connsiteY2538" fmla="*/ 2229973 h 4534608"/>
              <a:gd name="connsiteX2539" fmla="*/ 3489065 w 12191999"/>
              <a:gd name="connsiteY2539" fmla="*/ 2060015 h 4534608"/>
              <a:gd name="connsiteX2540" fmla="*/ 3688533 w 12191999"/>
              <a:gd name="connsiteY2540" fmla="*/ 1772116 h 4534608"/>
              <a:gd name="connsiteX2541" fmla="*/ 3731435 w 12191999"/>
              <a:gd name="connsiteY2541" fmla="*/ 1948229 h 4534608"/>
              <a:gd name="connsiteX2542" fmla="*/ 3673098 w 12191999"/>
              <a:gd name="connsiteY2542" fmla="*/ 1974377 h 4534608"/>
              <a:gd name="connsiteX2543" fmla="*/ 3630198 w 12191999"/>
              <a:gd name="connsiteY2543" fmla="*/ 1798265 h 4534608"/>
              <a:gd name="connsiteX2544" fmla="*/ 2541954 w 12191999"/>
              <a:gd name="connsiteY2544" fmla="*/ 1772116 h 4534608"/>
              <a:gd name="connsiteX2545" fmla="*/ 2670659 w 12191999"/>
              <a:gd name="connsiteY2545" fmla="*/ 1896062 h 4534608"/>
              <a:gd name="connsiteX2546" fmla="*/ 2629587 w 12191999"/>
              <a:gd name="connsiteY2546" fmla="*/ 1974509 h 4534608"/>
              <a:gd name="connsiteX2547" fmla="*/ 2501015 w 12191999"/>
              <a:gd name="connsiteY2547" fmla="*/ 1850562 h 4534608"/>
              <a:gd name="connsiteX2548" fmla="*/ 2971628 w 12191999"/>
              <a:gd name="connsiteY2548" fmla="*/ 1771985 h 4534608"/>
              <a:gd name="connsiteX2549" fmla="*/ 3068157 w 12191999"/>
              <a:gd name="connsiteY2549" fmla="*/ 1915804 h 4534608"/>
              <a:gd name="connsiteX2550" fmla="*/ 3020543 w 12191999"/>
              <a:gd name="connsiteY2550" fmla="*/ 1974509 h 4534608"/>
              <a:gd name="connsiteX2551" fmla="*/ 2924017 w 12191999"/>
              <a:gd name="connsiteY2551" fmla="*/ 1830689 h 4534608"/>
              <a:gd name="connsiteX2552" fmla="*/ 5628402 w 12191999"/>
              <a:gd name="connsiteY2552" fmla="*/ 1771979 h 4534608"/>
              <a:gd name="connsiteX2553" fmla="*/ 5673788 w 12191999"/>
              <a:gd name="connsiteY2553" fmla="*/ 1837351 h 4534608"/>
              <a:gd name="connsiteX2554" fmla="*/ 5566534 w 12191999"/>
              <a:gd name="connsiteY2554" fmla="*/ 1974371 h 4534608"/>
              <a:gd name="connsiteX2555" fmla="*/ 5521146 w 12191999"/>
              <a:gd name="connsiteY2555" fmla="*/ 1908999 h 4534608"/>
              <a:gd name="connsiteX2556" fmla="*/ 5771494 w 12191999"/>
              <a:gd name="connsiteY2556" fmla="*/ 1771848 h 4534608"/>
              <a:gd name="connsiteX2557" fmla="*/ 5814789 w 12191999"/>
              <a:gd name="connsiteY2557" fmla="*/ 1843627 h 4534608"/>
              <a:gd name="connsiteX2558" fmla="*/ 5697070 w 12191999"/>
              <a:gd name="connsiteY2558" fmla="*/ 1974371 h 4534608"/>
              <a:gd name="connsiteX2559" fmla="*/ 5653775 w 12191999"/>
              <a:gd name="connsiteY2559" fmla="*/ 1902594 h 4534608"/>
              <a:gd name="connsiteX2560" fmla="*/ 4769578 w 12191999"/>
              <a:gd name="connsiteY2560" fmla="*/ 1771848 h 4534608"/>
              <a:gd name="connsiteX2561" fmla="*/ 4827914 w 12191999"/>
              <a:gd name="connsiteY2561" fmla="*/ 1797998 h 4534608"/>
              <a:gd name="connsiteX2562" fmla="*/ 4785012 w 12191999"/>
              <a:gd name="connsiteY2562" fmla="*/ 1974110 h 4534608"/>
              <a:gd name="connsiteX2563" fmla="*/ 4726676 w 12191999"/>
              <a:gd name="connsiteY2563" fmla="*/ 1947962 h 4534608"/>
              <a:gd name="connsiteX2564" fmla="*/ 3258860 w 12191999"/>
              <a:gd name="connsiteY2564" fmla="*/ 1771724 h 4534608"/>
              <a:gd name="connsiteX2565" fmla="*/ 3333939 w 12191999"/>
              <a:gd name="connsiteY2565" fmla="*/ 1928617 h 4534608"/>
              <a:gd name="connsiteX2566" fmla="*/ 3281619 w 12191999"/>
              <a:gd name="connsiteY2566" fmla="*/ 1974377 h 4534608"/>
              <a:gd name="connsiteX2567" fmla="*/ 3206538 w 12191999"/>
              <a:gd name="connsiteY2567" fmla="*/ 1817484 h 4534608"/>
              <a:gd name="connsiteX2568" fmla="*/ 2828664 w 12191999"/>
              <a:gd name="connsiteY2568" fmla="*/ 1771724 h 4534608"/>
              <a:gd name="connsiteX2569" fmla="*/ 2935916 w 12191999"/>
              <a:gd name="connsiteY2569" fmla="*/ 1908744 h 4534608"/>
              <a:gd name="connsiteX2570" fmla="*/ 2890532 w 12191999"/>
              <a:gd name="connsiteY2570" fmla="*/ 1974116 h 4534608"/>
              <a:gd name="connsiteX2571" fmla="*/ 2783277 w 12191999"/>
              <a:gd name="connsiteY2571" fmla="*/ 1837097 h 4534608"/>
              <a:gd name="connsiteX2572" fmla="*/ 2685179 w 12191999"/>
              <a:gd name="connsiteY2572" fmla="*/ 1771724 h 4534608"/>
              <a:gd name="connsiteX2573" fmla="*/ 2802897 w 12191999"/>
              <a:gd name="connsiteY2573" fmla="*/ 1902468 h 4534608"/>
              <a:gd name="connsiteX2574" fmla="*/ 2759733 w 12191999"/>
              <a:gd name="connsiteY2574" fmla="*/ 1974246 h 4534608"/>
              <a:gd name="connsiteX2575" fmla="*/ 2642014 w 12191999"/>
              <a:gd name="connsiteY2575" fmla="*/ 1843502 h 4534608"/>
              <a:gd name="connsiteX2576" fmla="*/ 5914718 w 12191999"/>
              <a:gd name="connsiteY2576" fmla="*/ 1771718 h 4534608"/>
              <a:gd name="connsiteX2577" fmla="*/ 5955789 w 12191999"/>
              <a:gd name="connsiteY2577" fmla="*/ 1850164 h 4534608"/>
              <a:gd name="connsiteX2578" fmla="*/ 5827084 w 12191999"/>
              <a:gd name="connsiteY2578" fmla="*/ 1974110 h 4534608"/>
              <a:gd name="connsiteX2579" fmla="*/ 5786014 w 12191999"/>
              <a:gd name="connsiteY2579" fmla="*/ 1895663 h 4534608"/>
              <a:gd name="connsiteX2580" fmla="*/ 5484784 w 12191999"/>
              <a:gd name="connsiteY2580" fmla="*/ 1771588 h 4534608"/>
              <a:gd name="connsiteX2581" fmla="*/ 5532264 w 12191999"/>
              <a:gd name="connsiteY2581" fmla="*/ 1830292 h 4534608"/>
              <a:gd name="connsiteX2582" fmla="*/ 5435735 w 12191999"/>
              <a:gd name="connsiteY2582" fmla="*/ 1974110 h 4534608"/>
              <a:gd name="connsiteX2583" fmla="*/ 5388255 w 12191999"/>
              <a:gd name="connsiteY2583" fmla="*/ 1915406 h 4534608"/>
              <a:gd name="connsiteX2584" fmla="*/ 3974849 w 12191999"/>
              <a:gd name="connsiteY2584" fmla="*/ 1771463 h 4534608"/>
              <a:gd name="connsiteX2585" fmla="*/ 3996303 w 12191999"/>
              <a:gd name="connsiteY2585" fmla="*/ 1960650 h 4534608"/>
              <a:gd name="connsiteX2586" fmla="*/ 3933650 w 12191999"/>
              <a:gd name="connsiteY2586" fmla="*/ 1973724 h 4534608"/>
              <a:gd name="connsiteX2587" fmla="*/ 3912199 w 12191999"/>
              <a:gd name="connsiteY2587" fmla="*/ 1784537 h 4534608"/>
              <a:gd name="connsiteX2588" fmla="*/ 3402084 w 12191999"/>
              <a:gd name="connsiteY2588" fmla="*/ 1771463 h 4534608"/>
              <a:gd name="connsiteX2589" fmla="*/ 3466438 w 12191999"/>
              <a:gd name="connsiteY2589" fmla="*/ 1934500 h 4534608"/>
              <a:gd name="connsiteX2590" fmla="*/ 3412419 w 12191999"/>
              <a:gd name="connsiteY2590" fmla="*/ 1973724 h 4534608"/>
              <a:gd name="connsiteX2591" fmla="*/ 3348062 w 12191999"/>
              <a:gd name="connsiteY2591" fmla="*/ 1810686 h 4534608"/>
              <a:gd name="connsiteX2592" fmla="*/ 3115768 w 12191999"/>
              <a:gd name="connsiteY2592" fmla="*/ 1771463 h 4534608"/>
              <a:gd name="connsiteX2593" fmla="*/ 3201571 w 12191999"/>
              <a:gd name="connsiteY2593" fmla="*/ 1921556 h 4534608"/>
              <a:gd name="connsiteX2594" fmla="*/ 3151736 w 12191999"/>
              <a:gd name="connsiteY2594" fmla="*/ 1973855 h 4534608"/>
              <a:gd name="connsiteX2595" fmla="*/ 3066064 w 12191999"/>
              <a:gd name="connsiteY2595" fmla="*/ 1823761 h 4534608"/>
              <a:gd name="connsiteX2596" fmla="*/ 5341952 w 12191999"/>
              <a:gd name="connsiteY2596" fmla="*/ 1771457 h 4534608"/>
              <a:gd name="connsiteX2597" fmla="*/ 5391656 w 12191999"/>
              <a:gd name="connsiteY2597" fmla="*/ 1823754 h 4534608"/>
              <a:gd name="connsiteX2598" fmla="*/ 5305852 w 12191999"/>
              <a:gd name="connsiteY2598" fmla="*/ 1973849 h 4534608"/>
              <a:gd name="connsiteX2599" fmla="*/ 5256148 w 12191999"/>
              <a:gd name="connsiteY2599" fmla="*/ 1921550 h 4534608"/>
              <a:gd name="connsiteX2600" fmla="*/ 5055503 w 12191999"/>
              <a:gd name="connsiteY2600" fmla="*/ 1771457 h 4534608"/>
              <a:gd name="connsiteX2601" fmla="*/ 5109523 w 12191999"/>
              <a:gd name="connsiteY2601" fmla="*/ 1810680 h 4534608"/>
              <a:gd name="connsiteX2602" fmla="*/ 5045301 w 12191999"/>
              <a:gd name="connsiteY2602" fmla="*/ 1973718 h 4534608"/>
              <a:gd name="connsiteX2603" fmla="*/ 4991151 w 12191999"/>
              <a:gd name="connsiteY2603" fmla="*/ 1934494 h 4534608"/>
              <a:gd name="connsiteX2604" fmla="*/ 4912149 w 12191999"/>
              <a:gd name="connsiteY2604" fmla="*/ 1771457 h 4534608"/>
              <a:gd name="connsiteX2605" fmla="*/ 4968392 w 12191999"/>
              <a:gd name="connsiteY2605" fmla="*/ 1804142 h 4534608"/>
              <a:gd name="connsiteX2606" fmla="*/ 4914764 w 12191999"/>
              <a:gd name="connsiteY2606" fmla="*/ 1974110 h 4534608"/>
              <a:gd name="connsiteX2607" fmla="*/ 4858652 w 12191999"/>
              <a:gd name="connsiteY2607" fmla="*/ 1941425 h 4534608"/>
              <a:gd name="connsiteX2608" fmla="*/ 4625831 w 12191999"/>
              <a:gd name="connsiteY2608" fmla="*/ 1771457 h 4534608"/>
              <a:gd name="connsiteX2609" fmla="*/ 4686390 w 12191999"/>
              <a:gd name="connsiteY2609" fmla="*/ 1791068 h 4534608"/>
              <a:gd name="connsiteX2610" fmla="*/ 4654213 w 12191999"/>
              <a:gd name="connsiteY2610" fmla="*/ 1974110 h 4534608"/>
              <a:gd name="connsiteX2611" fmla="*/ 4593654 w 12191999"/>
              <a:gd name="connsiteY2611" fmla="*/ 1954498 h 4534608"/>
              <a:gd name="connsiteX2612" fmla="*/ 4482999 w 12191999"/>
              <a:gd name="connsiteY2612" fmla="*/ 1771457 h 4534608"/>
              <a:gd name="connsiteX2613" fmla="*/ 4545651 w 12191999"/>
              <a:gd name="connsiteY2613" fmla="*/ 1784530 h 4534608"/>
              <a:gd name="connsiteX2614" fmla="*/ 4523416 w 12191999"/>
              <a:gd name="connsiteY2614" fmla="*/ 1973718 h 4534608"/>
              <a:gd name="connsiteX2615" fmla="*/ 4461548 w 12191999"/>
              <a:gd name="connsiteY2615" fmla="*/ 1960644 h 4534608"/>
              <a:gd name="connsiteX2616" fmla="*/ 4196426 w 12191999"/>
              <a:gd name="connsiteY2616" fmla="*/ 1771457 h 4534608"/>
              <a:gd name="connsiteX2617" fmla="*/ 4263388 w 12191999"/>
              <a:gd name="connsiteY2617" fmla="*/ 1771457 h 4534608"/>
              <a:gd name="connsiteX2618" fmla="*/ 4263388 w 12191999"/>
              <a:gd name="connsiteY2618" fmla="*/ 1973718 h 4534608"/>
              <a:gd name="connsiteX2619" fmla="*/ 4261294 w 12191999"/>
              <a:gd name="connsiteY2619" fmla="*/ 1973718 h 4534608"/>
              <a:gd name="connsiteX2620" fmla="*/ 4261294 w 12191999"/>
              <a:gd name="connsiteY2620" fmla="*/ 1973724 h 4534608"/>
              <a:gd name="connsiteX2621" fmla="*/ 4194332 w 12191999"/>
              <a:gd name="connsiteY2621" fmla="*/ 1973724 h 4534608"/>
              <a:gd name="connsiteX2622" fmla="*/ 4194332 w 12191999"/>
              <a:gd name="connsiteY2622" fmla="*/ 1771463 h 4534608"/>
              <a:gd name="connsiteX2623" fmla="*/ 4196426 w 12191999"/>
              <a:gd name="connsiteY2623" fmla="*/ 1771463 h 4534608"/>
              <a:gd name="connsiteX2624" fmla="*/ 7920121 w 12191999"/>
              <a:gd name="connsiteY2624" fmla="*/ 1771195 h 4534608"/>
              <a:gd name="connsiteX2625" fmla="*/ 7921036 w 12191999"/>
              <a:gd name="connsiteY2625" fmla="*/ 1784269 h 4534608"/>
              <a:gd name="connsiteX2626" fmla="*/ 8063346 w 12191999"/>
              <a:gd name="connsiteY2626" fmla="*/ 1771195 h 4534608"/>
              <a:gd name="connsiteX2627" fmla="*/ 8063346 w 12191999"/>
              <a:gd name="connsiteY2627" fmla="*/ 1780477 h 4534608"/>
              <a:gd name="connsiteX2628" fmla="*/ 8206046 w 12191999"/>
              <a:gd name="connsiteY2628" fmla="*/ 1771195 h 4534608"/>
              <a:gd name="connsiteX2629" fmla="*/ 8206046 w 12191999"/>
              <a:gd name="connsiteY2629" fmla="*/ 1777078 h 4534608"/>
              <a:gd name="connsiteX2630" fmla="*/ 8215202 w 12191999"/>
              <a:gd name="connsiteY2630" fmla="*/ 1777078 h 4534608"/>
              <a:gd name="connsiteX2631" fmla="*/ 8303100 w 12191999"/>
              <a:gd name="connsiteY2631" fmla="*/ 1773418 h 4534608"/>
              <a:gd name="connsiteX2632" fmla="*/ 8303100 w 12191999"/>
              <a:gd name="connsiteY2632" fmla="*/ 1771457 h 4534608"/>
              <a:gd name="connsiteX2633" fmla="*/ 12191477 w 12191999"/>
              <a:gd name="connsiteY2633" fmla="*/ 1771457 h 4534608"/>
              <a:gd name="connsiteX2634" fmla="*/ 12191477 w 12191999"/>
              <a:gd name="connsiteY2634" fmla="*/ 1974110 h 4534608"/>
              <a:gd name="connsiteX2635" fmla="*/ 8302968 w 12191999"/>
              <a:gd name="connsiteY2635" fmla="*/ 1974110 h 4534608"/>
              <a:gd name="connsiteX2636" fmla="*/ 8304538 w 12191999"/>
              <a:gd name="connsiteY2636" fmla="*/ 1971234 h 4534608"/>
              <a:gd name="connsiteX2637" fmla="*/ 8173740 w 12191999"/>
              <a:gd name="connsiteY2637" fmla="*/ 1973979 h 4534608"/>
              <a:gd name="connsiteX2638" fmla="*/ 8173740 w 12191999"/>
              <a:gd name="connsiteY2638" fmla="*/ 1968488 h 4534608"/>
              <a:gd name="connsiteX2639" fmla="*/ 8042941 w 12191999"/>
              <a:gd name="connsiteY2639" fmla="*/ 1973979 h 4534608"/>
              <a:gd name="connsiteX2640" fmla="*/ 8042941 w 12191999"/>
              <a:gd name="connsiteY2640" fmla="*/ 1965481 h 4534608"/>
              <a:gd name="connsiteX2641" fmla="*/ 7912142 w 12191999"/>
              <a:gd name="connsiteY2641" fmla="*/ 1973979 h 4534608"/>
              <a:gd name="connsiteX2642" fmla="*/ 7912142 w 12191999"/>
              <a:gd name="connsiteY2642" fmla="*/ 1962213 h 4534608"/>
              <a:gd name="connsiteX2643" fmla="*/ 7782260 w 12191999"/>
              <a:gd name="connsiteY2643" fmla="*/ 1973979 h 4534608"/>
              <a:gd name="connsiteX2644" fmla="*/ 7781476 w 12191999"/>
              <a:gd name="connsiteY2644" fmla="*/ 1958814 h 4534608"/>
              <a:gd name="connsiteX2645" fmla="*/ 7651853 w 12191999"/>
              <a:gd name="connsiteY2645" fmla="*/ 1973979 h 4534608"/>
              <a:gd name="connsiteX2646" fmla="*/ 7650677 w 12191999"/>
              <a:gd name="connsiteY2646" fmla="*/ 1955021 h 4534608"/>
              <a:gd name="connsiteX2647" fmla="*/ 7521578 w 12191999"/>
              <a:gd name="connsiteY2647" fmla="*/ 1973979 h 4534608"/>
              <a:gd name="connsiteX2648" fmla="*/ 7519746 w 12191999"/>
              <a:gd name="connsiteY2648" fmla="*/ 1951099 h 4534608"/>
              <a:gd name="connsiteX2649" fmla="*/ 7391303 w 12191999"/>
              <a:gd name="connsiteY2649" fmla="*/ 1973979 h 4534608"/>
              <a:gd name="connsiteX2650" fmla="*/ 7388687 w 12191999"/>
              <a:gd name="connsiteY2650" fmla="*/ 1946915 h 4534608"/>
              <a:gd name="connsiteX2651" fmla="*/ 7260897 w 12191999"/>
              <a:gd name="connsiteY2651" fmla="*/ 1973979 h 4534608"/>
              <a:gd name="connsiteX2652" fmla="*/ 7257366 w 12191999"/>
              <a:gd name="connsiteY2652" fmla="*/ 1942470 h 4534608"/>
              <a:gd name="connsiteX2653" fmla="*/ 7130622 w 12191999"/>
              <a:gd name="connsiteY2653" fmla="*/ 1973979 h 4534608"/>
              <a:gd name="connsiteX2654" fmla="*/ 7125783 w 12191999"/>
              <a:gd name="connsiteY2654" fmla="*/ 1937633 h 4534608"/>
              <a:gd name="connsiteX2655" fmla="*/ 7000345 w 12191999"/>
              <a:gd name="connsiteY2655" fmla="*/ 1973979 h 4534608"/>
              <a:gd name="connsiteX2656" fmla="*/ 6993807 w 12191999"/>
              <a:gd name="connsiteY2656" fmla="*/ 1932534 h 4534608"/>
              <a:gd name="connsiteX2657" fmla="*/ 6870071 w 12191999"/>
              <a:gd name="connsiteY2657" fmla="*/ 1973979 h 4534608"/>
              <a:gd name="connsiteX2658" fmla="*/ 6861437 w 12191999"/>
              <a:gd name="connsiteY2658" fmla="*/ 1927173 h 4534608"/>
              <a:gd name="connsiteX2659" fmla="*/ 6739664 w 12191999"/>
              <a:gd name="connsiteY2659" fmla="*/ 1973979 h 4534608"/>
              <a:gd name="connsiteX2660" fmla="*/ 6728678 w 12191999"/>
              <a:gd name="connsiteY2660" fmla="*/ 1921682 h 4534608"/>
              <a:gd name="connsiteX2661" fmla="*/ 6609391 w 12191999"/>
              <a:gd name="connsiteY2661" fmla="*/ 1973979 h 4534608"/>
              <a:gd name="connsiteX2662" fmla="*/ 6595394 w 12191999"/>
              <a:gd name="connsiteY2662" fmla="*/ 1915667 h 4534608"/>
              <a:gd name="connsiteX2663" fmla="*/ 6479114 w 12191999"/>
              <a:gd name="connsiteY2663" fmla="*/ 1973979 h 4534608"/>
              <a:gd name="connsiteX2664" fmla="*/ 6461586 w 12191999"/>
              <a:gd name="connsiteY2664" fmla="*/ 1909653 h 4534608"/>
              <a:gd name="connsiteX2665" fmla="*/ 6348708 w 12191999"/>
              <a:gd name="connsiteY2665" fmla="*/ 1973979 h 4534608"/>
              <a:gd name="connsiteX2666" fmla="*/ 6326865 w 12191999"/>
              <a:gd name="connsiteY2666" fmla="*/ 1903639 h 4534608"/>
              <a:gd name="connsiteX2667" fmla="*/ 6218433 w 12191999"/>
              <a:gd name="connsiteY2667" fmla="*/ 1973979 h 4534608"/>
              <a:gd name="connsiteX2668" fmla="*/ 6191488 w 12191999"/>
              <a:gd name="connsiteY2668" fmla="*/ 1897624 h 4534608"/>
              <a:gd name="connsiteX2669" fmla="*/ 6088158 w 12191999"/>
              <a:gd name="connsiteY2669" fmla="*/ 1973979 h 4534608"/>
              <a:gd name="connsiteX2670" fmla="*/ 6055197 w 12191999"/>
              <a:gd name="connsiteY2670" fmla="*/ 1892003 h 4534608"/>
              <a:gd name="connsiteX2671" fmla="*/ 5957881 w 12191999"/>
              <a:gd name="connsiteY2671" fmla="*/ 1973979 h 4534608"/>
              <a:gd name="connsiteX2672" fmla="*/ 5918642 w 12191999"/>
              <a:gd name="connsiteY2672" fmla="*/ 1889126 h 4534608"/>
              <a:gd name="connsiteX2673" fmla="*/ 6058074 w 12191999"/>
              <a:gd name="connsiteY2673" fmla="*/ 1771457 h 4534608"/>
              <a:gd name="connsiteX2674" fmla="*/ 6094305 w 12191999"/>
              <a:gd name="connsiteY2674" fmla="*/ 1849904 h 4534608"/>
              <a:gd name="connsiteX2675" fmla="*/ 6201298 w 12191999"/>
              <a:gd name="connsiteY2675" fmla="*/ 1771457 h 4534608"/>
              <a:gd name="connsiteX2676" fmla="*/ 6230859 w 12191999"/>
              <a:gd name="connsiteY2676" fmla="*/ 1845196 h 4534608"/>
              <a:gd name="connsiteX2677" fmla="*/ 6344393 w 12191999"/>
              <a:gd name="connsiteY2677" fmla="*/ 1771457 h 4534608"/>
              <a:gd name="connsiteX2678" fmla="*/ 6368459 w 12191999"/>
              <a:gd name="connsiteY2678" fmla="*/ 1839444 h 4534608"/>
              <a:gd name="connsiteX2679" fmla="*/ 6487616 w 12191999"/>
              <a:gd name="connsiteY2679" fmla="*/ 1771457 h 4534608"/>
              <a:gd name="connsiteX2680" fmla="*/ 6506974 w 12191999"/>
              <a:gd name="connsiteY2680" fmla="*/ 1833560 h 4534608"/>
              <a:gd name="connsiteX2681" fmla="*/ 6630841 w 12191999"/>
              <a:gd name="connsiteY2681" fmla="*/ 1771457 h 4534608"/>
              <a:gd name="connsiteX2682" fmla="*/ 6646144 w 12191999"/>
              <a:gd name="connsiteY2682" fmla="*/ 1827677 h 4534608"/>
              <a:gd name="connsiteX2683" fmla="*/ 6774064 w 12191999"/>
              <a:gd name="connsiteY2683" fmla="*/ 1771457 h 4534608"/>
              <a:gd name="connsiteX2684" fmla="*/ 6786097 w 12191999"/>
              <a:gd name="connsiteY2684" fmla="*/ 1821924 h 4534608"/>
              <a:gd name="connsiteX2685" fmla="*/ 6916896 w 12191999"/>
              <a:gd name="connsiteY2685" fmla="*/ 1771457 h 4534608"/>
              <a:gd name="connsiteX2686" fmla="*/ 6926183 w 12191999"/>
              <a:gd name="connsiteY2686" fmla="*/ 1816302 h 4534608"/>
              <a:gd name="connsiteX2687" fmla="*/ 7060383 w 12191999"/>
              <a:gd name="connsiteY2687" fmla="*/ 1771457 h 4534608"/>
              <a:gd name="connsiteX2688" fmla="*/ 7067445 w 12191999"/>
              <a:gd name="connsiteY2688" fmla="*/ 1810680 h 4534608"/>
              <a:gd name="connsiteX2689" fmla="*/ 7203476 w 12191999"/>
              <a:gd name="connsiteY2689" fmla="*/ 1771457 h 4534608"/>
              <a:gd name="connsiteX2690" fmla="*/ 7208969 w 12191999"/>
              <a:gd name="connsiteY2690" fmla="*/ 1805842 h 4534608"/>
              <a:gd name="connsiteX2691" fmla="*/ 7346701 w 12191999"/>
              <a:gd name="connsiteY2691" fmla="*/ 1771457 h 4534608"/>
              <a:gd name="connsiteX2692" fmla="*/ 7350756 w 12191999"/>
              <a:gd name="connsiteY2692" fmla="*/ 1801004 h 4534608"/>
              <a:gd name="connsiteX2693" fmla="*/ 7489924 w 12191999"/>
              <a:gd name="connsiteY2693" fmla="*/ 1771325 h 4534608"/>
              <a:gd name="connsiteX2694" fmla="*/ 7492803 w 12191999"/>
              <a:gd name="connsiteY2694" fmla="*/ 1796298 h 4534608"/>
              <a:gd name="connsiteX2695" fmla="*/ 7633149 w 12191999"/>
              <a:gd name="connsiteY2695" fmla="*/ 1771325 h 4534608"/>
              <a:gd name="connsiteX2696" fmla="*/ 7635111 w 12191999"/>
              <a:gd name="connsiteY2696" fmla="*/ 1791983 h 4534608"/>
              <a:gd name="connsiteX2697" fmla="*/ 7776242 w 12191999"/>
              <a:gd name="connsiteY2697" fmla="*/ 1771325 h 4534608"/>
              <a:gd name="connsiteX2698" fmla="*/ 7777681 w 12191999"/>
              <a:gd name="connsiteY2698" fmla="*/ 1787930 h 4534608"/>
              <a:gd name="connsiteX2699" fmla="*/ 4118075 w 12191999"/>
              <a:gd name="connsiteY2699" fmla="*/ 1771070 h 4534608"/>
              <a:gd name="connsiteX2700" fmla="*/ 4128801 w 12191999"/>
              <a:gd name="connsiteY2700" fmla="*/ 1967187 h 4534608"/>
              <a:gd name="connsiteX2701" fmla="*/ 4064053 w 12191999"/>
              <a:gd name="connsiteY2701" fmla="*/ 1973724 h 4534608"/>
              <a:gd name="connsiteX2702" fmla="*/ 4053330 w 12191999"/>
              <a:gd name="connsiteY2702" fmla="*/ 1777608 h 4534608"/>
              <a:gd name="connsiteX2703" fmla="*/ 5198336 w 12191999"/>
              <a:gd name="connsiteY2703" fmla="*/ 1771064 h 4534608"/>
              <a:gd name="connsiteX2704" fmla="*/ 5250655 w 12191999"/>
              <a:gd name="connsiteY2704" fmla="*/ 1816825 h 4534608"/>
              <a:gd name="connsiteX2705" fmla="*/ 5175576 w 12191999"/>
              <a:gd name="connsiteY2705" fmla="*/ 1973718 h 4534608"/>
              <a:gd name="connsiteX2706" fmla="*/ 5123257 w 12191999"/>
              <a:gd name="connsiteY2706" fmla="*/ 1927957 h 4534608"/>
              <a:gd name="connsiteX2707" fmla="*/ 252992 w 12191999"/>
              <a:gd name="connsiteY2707" fmla="*/ 1770939 h 4534608"/>
              <a:gd name="connsiteX2708" fmla="*/ 395689 w 12191999"/>
              <a:gd name="connsiteY2708" fmla="*/ 1780223 h 4534608"/>
              <a:gd name="connsiteX2709" fmla="*/ 395689 w 12191999"/>
              <a:gd name="connsiteY2709" fmla="*/ 1770939 h 4534608"/>
              <a:gd name="connsiteX2710" fmla="*/ 538128 w 12191999"/>
              <a:gd name="connsiteY2710" fmla="*/ 1784015 h 4534608"/>
              <a:gd name="connsiteX2711" fmla="*/ 538914 w 12191999"/>
              <a:gd name="connsiteY2711" fmla="*/ 1770939 h 4534608"/>
              <a:gd name="connsiteX2712" fmla="*/ 680829 w 12191999"/>
              <a:gd name="connsiteY2712" fmla="*/ 1787544 h 4534608"/>
              <a:gd name="connsiteX2713" fmla="*/ 682137 w 12191999"/>
              <a:gd name="connsiteY2713" fmla="*/ 1770939 h 4534608"/>
              <a:gd name="connsiteX2714" fmla="*/ 823400 w 12191999"/>
              <a:gd name="connsiteY2714" fmla="*/ 1791597 h 4534608"/>
              <a:gd name="connsiteX2715" fmla="*/ 825362 w 12191999"/>
              <a:gd name="connsiteY2715" fmla="*/ 1770939 h 4534608"/>
              <a:gd name="connsiteX2716" fmla="*/ 965706 w 12191999"/>
              <a:gd name="connsiteY2716" fmla="*/ 1795912 h 4534608"/>
              <a:gd name="connsiteX2717" fmla="*/ 968584 w 12191999"/>
              <a:gd name="connsiteY2717" fmla="*/ 1770939 h 4534608"/>
              <a:gd name="connsiteX2718" fmla="*/ 1107752 w 12191999"/>
              <a:gd name="connsiteY2718" fmla="*/ 1800488 h 4534608"/>
              <a:gd name="connsiteX2719" fmla="*/ 1111672 w 12191999"/>
              <a:gd name="connsiteY2719" fmla="*/ 1770939 h 4534608"/>
              <a:gd name="connsiteX2720" fmla="*/ 1249535 w 12191999"/>
              <a:gd name="connsiteY2720" fmla="*/ 1805326 h 4534608"/>
              <a:gd name="connsiteX2721" fmla="*/ 1254897 w 12191999"/>
              <a:gd name="connsiteY2721" fmla="*/ 1770939 h 4534608"/>
              <a:gd name="connsiteX2722" fmla="*/ 1390928 w 12191999"/>
              <a:gd name="connsiteY2722" fmla="*/ 1810162 h 4534608"/>
              <a:gd name="connsiteX2723" fmla="*/ 1398120 w 12191999"/>
              <a:gd name="connsiteY2723" fmla="*/ 1770939 h 4534608"/>
              <a:gd name="connsiteX2724" fmla="*/ 1531928 w 12191999"/>
              <a:gd name="connsiteY2724" fmla="*/ 1815784 h 4534608"/>
              <a:gd name="connsiteX2725" fmla="*/ 1541345 w 12191999"/>
              <a:gd name="connsiteY2725" fmla="*/ 1770939 h 4534608"/>
              <a:gd name="connsiteX2726" fmla="*/ 1672144 w 12191999"/>
              <a:gd name="connsiteY2726" fmla="*/ 1821406 h 4534608"/>
              <a:gd name="connsiteX2727" fmla="*/ 1684177 w 12191999"/>
              <a:gd name="connsiteY2727" fmla="*/ 1770939 h 4534608"/>
              <a:gd name="connsiteX2728" fmla="*/ 1811966 w 12191999"/>
              <a:gd name="connsiteY2728" fmla="*/ 1827159 h 4534608"/>
              <a:gd name="connsiteX2729" fmla="*/ 1826355 w 12191999"/>
              <a:gd name="connsiteY2729" fmla="*/ 1771463 h 4534608"/>
              <a:gd name="connsiteX2730" fmla="*/ 1950352 w 12191999"/>
              <a:gd name="connsiteY2730" fmla="*/ 1833566 h 4534608"/>
              <a:gd name="connsiteX2731" fmla="*/ 1969579 w 12191999"/>
              <a:gd name="connsiteY2731" fmla="*/ 1771463 h 4534608"/>
              <a:gd name="connsiteX2732" fmla="*/ 2088736 w 12191999"/>
              <a:gd name="connsiteY2732" fmla="*/ 1839450 h 4534608"/>
              <a:gd name="connsiteX2733" fmla="*/ 2112805 w 12191999"/>
              <a:gd name="connsiteY2733" fmla="*/ 1771463 h 4534608"/>
              <a:gd name="connsiteX2734" fmla="*/ 2226992 w 12191999"/>
              <a:gd name="connsiteY2734" fmla="*/ 1844940 h 4534608"/>
              <a:gd name="connsiteX2735" fmla="*/ 2256680 w 12191999"/>
              <a:gd name="connsiteY2735" fmla="*/ 1771200 h 4534608"/>
              <a:gd name="connsiteX2736" fmla="*/ 2363676 w 12191999"/>
              <a:gd name="connsiteY2736" fmla="*/ 1849647 h 4534608"/>
              <a:gd name="connsiteX2737" fmla="*/ 2399907 w 12191999"/>
              <a:gd name="connsiteY2737" fmla="*/ 1771200 h 4534608"/>
              <a:gd name="connsiteX2738" fmla="*/ 2539208 w 12191999"/>
              <a:gd name="connsiteY2738" fmla="*/ 1888871 h 4534608"/>
              <a:gd name="connsiteX2739" fmla="*/ 2499966 w 12191999"/>
              <a:gd name="connsiteY2739" fmla="*/ 1973724 h 4534608"/>
              <a:gd name="connsiteX2740" fmla="*/ 2402653 w 12191999"/>
              <a:gd name="connsiteY2740" fmla="*/ 1891746 h 4534608"/>
              <a:gd name="connsiteX2741" fmla="*/ 2369692 w 12191999"/>
              <a:gd name="connsiteY2741" fmla="*/ 1973724 h 4534608"/>
              <a:gd name="connsiteX2742" fmla="*/ 2266362 w 12191999"/>
              <a:gd name="connsiteY2742" fmla="*/ 1897369 h 4534608"/>
              <a:gd name="connsiteX2743" fmla="*/ 2239287 w 12191999"/>
              <a:gd name="connsiteY2743" fmla="*/ 1973724 h 4534608"/>
              <a:gd name="connsiteX2744" fmla="*/ 2130855 w 12191999"/>
              <a:gd name="connsiteY2744" fmla="*/ 1903383 h 4534608"/>
              <a:gd name="connsiteX2745" fmla="*/ 2109011 w 12191999"/>
              <a:gd name="connsiteY2745" fmla="*/ 1973724 h 4534608"/>
              <a:gd name="connsiteX2746" fmla="*/ 1996262 w 12191999"/>
              <a:gd name="connsiteY2746" fmla="*/ 1909398 h 4534608"/>
              <a:gd name="connsiteX2747" fmla="*/ 1978736 w 12191999"/>
              <a:gd name="connsiteY2747" fmla="*/ 1973724 h 4534608"/>
              <a:gd name="connsiteX2748" fmla="*/ 1862325 w 12191999"/>
              <a:gd name="connsiteY2748" fmla="*/ 1915412 h 4534608"/>
              <a:gd name="connsiteX2749" fmla="*/ 1848460 w 12191999"/>
              <a:gd name="connsiteY2749" fmla="*/ 1973724 h 4534608"/>
              <a:gd name="connsiteX2750" fmla="*/ 1729041 w 12191999"/>
              <a:gd name="connsiteY2750" fmla="*/ 1921426 h 4534608"/>
              <a:gd name="connsiteX2751" fmla="*/ 1718054 w 12191999"/>
              <a:gd name="connsiteY2751" fmla="*/ 1973724 h 4534608"/>
              <a:gd name="connsiteX2752" fmla="*/ 1596281 w 12191999"/>
              <a:gd name="connsiteY2752" fmla="*/ 1926918 h 4534608"/>
              <a:gd name="connsiteX2753" fmla="*/ 1587779 w 12191999"/>
              <a:gd name="connsiteY2753" fmla="*/ 1973724 h 4534608"/>
              <a:gd name="connsiteX2754" fmla="*/ 1464043 w 12191999"/>
              <a:gd name="connsiteY2754" fmla="*/ 1932277 h 4534608"/>
              <a:gd name="connsiteX2755" fmla="*/ 1457503 w 12191999"/>
              <a:gd name="connsiteY2755" fmla="*/ 1973724 h 4534608"/>
              <a:gd name="connsiteX2756" fmla="*/ 1332067 w 12191999"/>
              <a:gd name="connsiteY2756" fmla="*/ 1937378 h 4534608"/>
              <a:gd name="connsiteX2757" fmla="*/ 1327098 w 12191999"/>
              <a:gd name="connsiteY2757" fmla="*/ 1973724 h 4534608"/>
              <a:gd name="connsiteX2758" fmla="*/ 1200484 w 12191999"/>
              <a:gd name="connsiteY2758" fmla="*/ 1942215 h 4534608"/>
              <a:gd name="connsiteX2759" fmla="*/ 1196822 w 12191999"/>
              <a:gd name="connsiteY2759" fmla="*/ 1973724 h 4534608"/>
              <a:gd name="connsiteX2760" fmla="*/ 1069168 w 12191999"/>
              <a:gd name="connsiteY2760" fmla="*/ 1946660 h 4534608"/>
              <a:gd name="connsiteX2761" fmla="*/ 1066552 w 12191999"/>
              <a:gd name="connsiteY2761" fmla="*/ 1973724 h 4534608"/>
              <a:gd name="connsiteX2762" fmla="*/ 937977 w 12191999"/>
              <a:gd name="connsiteY2762" fmla="*/ 1950844 h 4534608"/>
              <a:gd name="connsiteX2763" fmla="*/ 936278 w 12191999"/>
              <a:gd name="connsiteY2763" fmla="*/ 1973724 h 4534608"/>
              <a:gd name="connsiteX2764" fmla="*/ 807050 w 12191999"/>
              <a:gd name="connsiteY2764" fmla="*/ 1954766 h 4534608"/>
              <a:gd name="connsiteX2765" fmla="*/ 805873 w 12191999"/>
              <a:gd name="connsiteY2765" fmla="*/ 1973724 h 4534608"/>
              <a:gd name="connsiteX2766" fmla="*/ 676383 w 12191999"/>
              <a:gd name="connsiteY2766" fmla="*/ 1958557 h 4534608"/>
              <a:gd name="connsiteX2767" fmla="*/ 675597 w 12191999"/>
              <a:gd name="connsiteY2767" fmla="*/ 1973724 h 4534608"/>
              <a:gd name="connsiteX2768" fmla="*/ 545715 w 12191999"/>
              <a:gd name="connsiteY2768" fmla="*/ 1961956 h 4534608"/>
              <a:gd name="connsiteX2769" fmla="*/ 545715 w 12191999"/>
              <a:gd name="connsiteY2769" fmla="*/ 1973724 h 4534608"/>
              <a:gd name="connsiteX2770" fmla="*/ 415570 w 12191999"/>
              <a:gd name="connsiteY2770" fmla="*/ 1965225 h 4534608"/>
              <a:gd name="connsiteX2771" fmla="*/ 415570 w 12191999"/>
              <a:gd name="connsiteY2771" fmla="*/ 1973724 h 4534608"/>
              <a:gd name="connsiteX2772" fmla="*/ 285426 w 12191999"/>
              <a:gd name="connsiteY2772" fmla="*/ 1968233 h 4534608"/>
              <a:gd name="connsiteX2773" fmla="*/ 285426 w 12191999"/>
              <a:gd name="connsiteY2773" fmla="*/ 1973724 h 4534608"/>
              <a:gd name="connsiteX2774" fmla="*/ 154631 w 12191999"/>
              <a:gd name="connsiteY2774" fmla="*/ 1970978 h 4534608"/>
              <a:gd name="connsiteX2775" fmla="*/ 154631 w 12191999"/>
              <a:gd name="connsiteY2775" fmla="*/ 1973462 h 4534608"/>
              <a:gd name="connsiteX2776" fmla="*/ 0 w 12191999"/>
              <a:gd name="connsiteY2776" fmla="*/ 1973462 h 4534608"/>
              <a:gd name="connsiteX2777" fmla="*/ 0 w 12191999"/>
              <a:gd name="connsiteY2777" fmla="*/ 1771200 h 4534608"/>
              <a:gd name="connsiteX2778" fmla="*/ 156070 w 12191999"/>
              <a:gd name="connsiteY2778" fmla="*/ 1771200 h 4534608"/>
              <a:gd name="connsiteX2779" fmla="*/ 156070 w 12191999"/>
              <a:gd name="connsiteY2779" fmla="*/ 1773162 h 4534608"/>
              <a:gd name="connsiteX2780" fmla="*/ 243966 w 12191999"/>
              <a:gd name="connsiteY2780" fmla="*/ 1776823 h 4534608"/>
              <a:gd name="connsiteX2781" fmla="*/ 252992 w 12191999"/>
              <a:gd name="connsiteY2781" fmla="*/ 1776823 h 4534608"/>
              <a:gd name="connsiteX2782" fmla="*/ 4337943 w 12191999"/>
              <a:gd name="connsiteY2782" fmla="*/ 1770934 h 4534608"/>
              <a:gd name="connsiteX2783" fmla="*/ 4403342 w 12191999"/>
              <a:gd name="connsiteY2783" fmla="*/ 1777471 h 4534608"/>
              <a:gd name="connsiteX2784" fmla="*/ 4392617 w 12191999"/>
              <a:gd name="connsiteY2784" fmla="*/ 1973588 h 4534608"/>
              <a:gd name="connsiteX2785" fmla="*/ 4327218 w 12191999"/>
              <a:gd name="connsiteY2785" fmla="*/ 1967050 h 4534608"/>
              <a:gd name="connsiteX2786" fmla="*/ 3831758 w 12191999"/>
              <a:gd name="connsiteY2786" fmla="*/ 1770809 h 4534608"/>
              <a:gd name="connsiteX2787" fmla="*/ 3863934 w 12191999"/>
              <a:gd name="connsiteY2787" fmla="*/ 1953851 h 4534608"/>
              <a:gd name="connsiteX2788" fmla="*/ 3803375 w 12191999"/>
              <a:gd name="connsiteY2788" fmla="*/ 1973462 h 4534608"/>
              <a:gd name="connsiteX2789" fmla="*/ 3771198 w 12191999"/>
              <a:gd name="connsiteY2789" fmla="*/ 1790420 h 4534608"/>
              <a:gd name="connsiteX2790" fmla="*/ 3545310 w 12191999"/>
              <a:gd name="connsiteY2790" fmla="*/ 1770809 h 4534608"/>
              <a:gd name="connsiteX2791" fmla="*/ 3598934 w 12191999"/>
              <a:gd name="connsiteY2791" fmla="*/ 1940777 h 4534608"/>
              <a:gd name="connsiteX2792" fmla="*/ 3542691 w 12191999"/>
              <a:gd name="connsiteY2792" fmla="*/ 1973462 h 4534608"/>
              <a:gd name="connsiteX2793" fmla="*/ 3489065 w 12191999"/>
              <a:gd name="connsiteY2793" fmla="*/ 1803494 h 4534608"/>
              <a:gd name="connsiteX2794" fmla="*/ 2971628 w 12191999"/>
              <a:gd name="connsiteY2794" fmla="*/ 1515725 h 4534608"/>
              <a:gd name="connsiteX2795" fmla="*/ 3068157 w 12191999"/>
              <a:gd name="connsiteY2795" fmla="*/ 1659546 h 4534608"/>
              <a:gd name="connsiteX2796" fmla="*/ 3020543 w 12191999"/>
              <a:gd name="connsiteY2796" fmla="*/ 1718249 h 4534608"/>
              <a:gd name="connsiteX2797" fmla="*/ 2924017 w 12191999"/>
              <a:gd name="connsiteY2797" fmla="*/ 1574431 h 4534608"/>
              <a:gd name="connsiteX2798" fmla="*/ 2828402 w 12191999"/>
              <a:gd name="connsiteY2798" fmla="*/ 1515725 h 4534608"/>
              <a:gd name="connsiteX2799" fmla="*/ 2935657 w 12191999"/>
              <a:gd name="connsiteY2799" fmla="*/ 1652748 h 4534608"/>
              <a:gd name="connsiteX2800" fmla="*/ 2890271 w 12191999"/>
              <a:gd name="connsiteY2800" fmla="*/ 1718118 h 4534608"/>
              <a:gd name="connsiteX2801" fmla="*/ 2783015 w 12191999"/>
              <a:gd name="connsiteY2801" fmla="*/ 1581099 h 4534608"/>
              <a:gd name="connsiteX2802" fmla="*/ 2685179 w 12191999"/>
              <a:gd name="connsiteY2802" fmla="*/ 1515725 h 4534608"/>
              <a:gd name="connsiteX2803" fmla="*/ 2802897 w 12191999"/>
              <a:gd name="connsiteY2803" fmla="*/ 1646472 h 4534608"/>
              <a:gd name="connsiteX2804" fmla="*/ 2759733 w 12191999"/>
              <a:gd name="connsiteY2804" fmla="*/ 1718249 h 4534608"/>
              <a:gd name="connsiteX2805" fmla="*/ 2642014 w 12191999"/>
              <a:gd name="connsiteY2805" fmla="*/ 1587504 h 4534608"/>
              <a:gd name="connsiteX2806" fmla="*/ 3688533 w 12191999"/>
              <a:gd name="connsiteY2806" fmla="*/ 1515594 h 4534608"/>
              <a:gd name="connsiteX2807" fmla="*/ 3731435 w 12191999"/>
              <a:gd name="connsiteY2807" fmla="*/ 1691707 h 4534608"/>
              <a:gd name="connsiteX2808" fmla="*/ 3673098 w 12191999"/>
              <a:gd name="connsiteY2808" fmla="*/ 1717856 h 4534608"/>
              <a:gd name="connsiteX2809" fmla="*/ 3630198 w 12191999"/>
              <a:gd name="connsiteY2809" fmla="*/ 1541744 h 4534608"/>
              <a:gd name="connsiteX2810" fmla="*/ 3402084 w 12191999"/>
              <a:gd name="connsiteY2810" fmla="*/ 1515594 h 4534608"/>
              <a:gd name="connsiteX2811" fmla="*/ 3466438 w 12191999"/>
              <a:gd name="connsiteY2811" fmla="*/ 1678634 h 4534608"/>
              <a:gd name="connsiteX2812" fmla="*/ 3412419 w 12191999"/>
              <a:gd name="connsiteY2812" fmla="*/ 1717856 h 4534608"/>
              <a:gd name="connsiteX2813" fmla="*/ 3348062 w 12191999"/>
              <a:gd name="connsiteY2813" fmla="*/ 1554819 h 4534608"/>
              <a:gd name="connsiteX2814" fmla="*/ 2541954 w 12191999"/>
              <a:gd name="connsiteY2814" fmla="*/ 1515594 h 4534608"/>
              <a:gd name="connsiteX2815" fmla="*/ 2670659 w 12191999"/>
              <a:gd name="connsiteY2815" fmla="*/ 1639543 h 4534608"/>
              <a:gd name="connsiteX2816" fmla="*/ 2629587 w 12191999"/>
              <a:gd name="connsiteY2816" fmla="*/ 1717987 h 4534608"/>
              <a:gd name="connsiteX2817" fmla="*/ 2501015 w 12191999"/>
              <a:gd name="connsiteY2817" fmla="*/ 1594042 h 4534608"/>
              <a:gd name="connsiteX2818" fmla="*/ 3258860 w 12191999"/>
              <a:gd name="connsiteY2818" fmla="*/ 1515334 h 4534608"/>
              <a:gd name="connsiteX2819" fmla="*/ 3333939 w 12191999"/>
              <a:gd name="connsiteY2819" fmla="*/ 1672227 h 4534608"/>
              <a:gd name="connsiteX2820" fmla="*/ 3281619 w 12191999"/>
              <a:gd name="connsiteY2820" fmla="*/ 1717987 h 4534608"/>
              <a:gd name="connsiteX2821" fmla="*/ 3206538 w 12191999"/>
              <a:gd name="connsiteY2821" fmla="*/ 1561094 h 4534608"/>
              <a:gd name="connsiteX2822" fmla="*/ 5914718 w 12191999"/>
              <a:gd name="connsiteY2822" fmla="*/ 1515328 h 4534608"/>
              <a:gd name="connsiteX2823" fmla="*/ 5955789 w 12191999"/>
              <a:gd name="connsiteY2823" fmla="*/ 1593775 h 4534608"/>
              <a:gd name="connsiteX2824" fmla="*/ 5827084 w 12191999"/>
              <a:gd name="connsiteY2824" fmla="*/ 1717720 h 4534608"/>
              <a:gd name="connsiteX2825" fmla="*/ 5786014 w 12191999"/>
              <a:gd name="connsiteY2825" fmla="*/ 1639274 h 4534608"/>
              <a:gd name="connsiteX2826" fmla="*/ 5771494 w 12191999"/>
              <a:gd name="connsiteY2826" fmla="*/ 1515328 h 4534608"/>
              <a:gd name="connsiteX2827" fmla="*/ 5814789 w 12191999"/>
              <a:gd name="connsiteY2827" fmla="*/ 1587107 h 4534608"/>
              <a:gd name="connsiteX2828" fmla="*/ 5697070 w 12191999"/>
              <a:gd name="connsiteY2828" fmla="*/ 1717850 h 4534608"/>
              <a:gd name="connsiteX2829" fmla="*/ 5653775 w 12191999"/>
              <a:gd name="connsiteY2829" fmla="*/ 1646072 h 4534608"/>
              <a:gd name="connsiteX2830" fmla="*/ 5628402 w 12191999"/>
              <a:gd name="connsiteY2830" fmla="*/ 1515328 h 4534608"/>
              <a:gd name="connsiteX2831" fmla="*/ 5673788 w 12191999"/>
              <a:gd name="connsiteY2831" fmla="*/ 1580700 h 4534608"/>
              <a:gd name="connsiteX2832" fmla="*/ 5566534 w 12191999"/>
              <a:gd name="connsiteY2832" fmla="*/ 1717720 h 4534608"/>
              <a:gd name="connsiteX2833" fmla="*/ 5521146 w 12191999"/>
              <a:gd name="connsiteY2833" fmla="*/ 1652348 h 4534608"/>
              <a:gd name="connsiteX2834" fmla="*/ 5485177 w 12191999"/>
              <a:gd name="connsiteY2834" fmla="*/ 1515328 h 4534608"/>
              <a:gd name="connsiteX2835" fmla="*/ 5532657 w 12191999"/>
              <a:gd name="connsiteY2835" fmla="*/ 1574032 h 4534608"/>
              <a:gd name="connsiteX2836" fmla="*/ 5436128 w 12191999"/>
              <a:gd name="connsiteY2836" fmla="*/ 1717850 h 4534608"/>
              <a:gd name="connsiteX2837" fmla="*/ 5388648 w 12191999"/>
              <a:gd name="connsiteY2837" fmla="*/ 1659147 h 4534608"/>
              <a:gd name="connsiteX2838" fmla="*/ 5054588 w 12191999"/>
              <a:gd name="connsiteY2838" fmla="*/ 1515328 h 4534608"/>
              <a:gd name="connsiteX2839" fmla="*/ 5108608 w 12191999"/>
              <a:gd name="connsiteY2839" fmla="*/ 1554552 h 4534608"/>
              <a:gd name="connsiteX2840" fmla="*/ 5044386 w 12191999"/>
              <a:gd name="connsiteY2840" fmla="*/ 1717589 h 4534608"/>
              <a:gd name="connsiteX2841" fmla="*/ 4990235 w 12191999"/>
              <a:gd name="connsiteY2841" fmla="*/ 1678367 h 4534608"/>
              <a:gd name="connsiteX2842" fmla="*/ 4769578 w 12191999"/>
              <a:gd name="connsiteY2842" fmla="*/ 1515328 h 4534608"/>
              <a:gd name="connsiteX2843" fmla="*/ 4827914 w 12191999"/>
              <a:gd name="connsiteY2843" fmla="*/ 1541477 h 4534608"/>
              <a:gd name="connsiteX2844" fmla="*/ 4785012 w 12191999"/>
              <a:gd name="connsiteY2844" fmla="*/ 1717589 h 4534608"/>
              <a:gd name="connsiteX2845" fmla="*/ 4726676 w 12191999"/>
              <a:gd name="connsiteY2845" fmla="*/ 1691440 h 4534608"/>
              <a:gd name="connsiteX2846" fmla="*/ 3974849 w 12191999"/>
              <a:gd name="connsiteY2846" fmla="*/ 1514942 h 4534608"/>
              <a:gd name="connsiteX2847" fmla="*/ 3996303 w 12191999"/>
              <a:gd name="connsiteY2847" fmla="*/ 1704127 h 4534608"/>
              <a:gd name="connsiteX2848" fmla="*/ 3933650 w 12191999"/>
              <a:gd name="connsiteY2848" fmla="*/ 1717203 h 4534608"/>
              <a:gd name="connsiteX2849" fmla="*/ 3912199 w 12191999"/>
              <a:gd name="connsiteY2849" fmla="*/ 1528015 h 4534608"/>
              <a:gd name="connsiteX2850" fmla="*/ 3545310 w 12191999"/>
              <a:gd name="connsiteY2850" fmla="*/ 1514942 h 4534608"/>
              <a:gd name="connsiteX2851" fmla="*/ 3598934 w 12191999"/>
              <a:gd name="connsiteY2851" fmla="*/ 1684909 h 4534608"/>
              <a:gd name="connsiteX2852" fmla="*/ 3542691 w 12191999"/>
              <a:gd name="connsiteY2852" fmla="*/ 1717595 h 4534608"/>
              <a:gd name="connsiteX2853" fmla="*/ 3489065 w 12191999"/>
              <a:gd name="connsiteY2853" fmla="*/ 1547627 h 4534608"/>
              <a:gd name="connsiteX2854" fmla="*/ 5341952 w 12191999"/>
              <a:gd name="connsiteY2854" fmla="*/ 1514936 h 4534608"/>
              <a:gd name="connsiteX2855" fmla="*/ 5391656 w 12191999"/>
              <a:gd name="connsiteY2855" fmla="*/ 1567234 h 4534608"/>
              <a:gd name="connsiteX2856" fmla="*/ 5305852 w 12191999"/>
              <a:gd name="connsiteY2856" fmla="*/ 1717328 h 4534608"/>
              <a:gd name="connsiteX2857" fmla="*/ 5256148 w 12191999"/>
              <a:gd name="connsiteY2857" fmla="*/ 1665031 h 4534608"/>
              <a:gd name="connsiteX2858" fmla="*/ 4911887 w 12191999"/>
              <a:gd name="connsiteY2858" fmla="*/ 1514936 h 4534608"/>
              <a:gd name="connsiteX2859" fmla="*/ 4968130 w 12191999"/>
              <a:gd name="connsiteY2859" fmla="*/ 1547622 h 4534608"/>
              <a:gd name="connsiteX2860" fmla="*/ 4914503 w 12191999"/>
              <a:gd name="connsiteY2860" fmla="*/ 1717589 h 4534608"/>
              <a:gd name="connsiteX2861" fmla="*/ 4858390 w 12191999"/>
              <a:gd name="connsiteY2861" fmla="*/ 1684904 h 4534608"/>
              <a:gd name="connsiteX2862" fmla="*/ 4625831 w 12191999"/>
              <a:gd name="connsiteY2862" fmla="*/ 1514936 h 4534608"/>
              <a:gd name="connsiteX2863" fmla="*/ 4686390 w 12191999"/>
              <a:gd name="connsiteY2863" fmla="*/ 1534547 h 4534608"/>
              <a:gd name="connsiteX2864" fmla="*/ 4654213 w 12191999"/>
              <a:gd name="connsiteY2864" fmla="*/ 1717589 h 4534608"/>
              <a:gd name="connsiteX2865" fmla="*/ 4593654 w 12191999"/>
              <a:gd name="connsiteY2865" fmla="*/ 1697977 h 4534608"/>
              <a:gd name="connsiteX2866" fmla="*/ 4482999 w 12191999"/>
              <a:gd name="connsiteY2866" fmla="*/ 1514936 h 4534608"/>
              <a:gd name="connsiteX2867" fmla="*/ 4545651 w 12191999"/>
              <a:gd name="connsiteY2867" fmla="*/ 1528010 h 4534608"/>
              <a:gd name="connsiteX2868" fmla="*/ 4523416 w 12191999"/>
              <a:gd name="connsiteY2868" fmla="*/ 1717067 h 4534608"/>
              <a:gd name="connsiteX2869" fmla="*/ 4461548 w 12191999"/>
              <a:gd name="connsiteY2869" fmla="*/ 1704123 h 4534608"/>
              <a:gd name="connsiteX2870" fmla="*/ 4196426 w 12191999"/>
              <a:gd name="connsiteY2870" fmla="*/ 1514936 h 4534608"/>
              <a:gd name="connsiteX2871" fmla="*/ 4263388 w 12191999"/>
              <a:gd name="connsiteY2871" fmla="*/ 1514936 h 4534608"/>
              <a:gd name="connsiteX2872" fmla="*/ 4263388 w 12191999"/>
              <a:gd name="connsiteY2872" fmla="*/ 1717198 h 4534608"/>
              <a:gd name="connsiteX2873" fmla="*/ 4261294 w 12191999"/>
              <a:gd name="connsiteY2873" fmla="*/ 1717198 h 4534608"/>
              <a:gd name="connsiteX2874" fmla="*/ 4261294 w 12191999"/>
              <a:gd name="connsiteY2874" fmla="*/ 1717203 h 4534608"/>
              <a:gd name="connsiteX2875" fmla="*/ 4194332 w 12191999"/>
              <a:gd name="connsiteY2875" fmla="*/ 1717203 h 4534608"/>
              <a:gd name="connsiteX2876" fmla="*/ 4194332 w 12191999"/>
              <a:gd name="connsiteY2876" fmla="*/ 1514942 h 4534608"/>
              <a:gd name="connsiteX2877" fmla="*/ 4196426 w 12191999"/>
              <a:gd name="connsiteY2877" fmla="*/ 1514942 h 4534608"/>
              <a:gd name="connsiteX2878" fmla="*/ 3115768 w 12191999"/>
              <a:gd name="connsiteY2878" fmla="*/ 1514810 h 4534608"/>
              <a:gd name="connsiteX2879" fmla="*/ 3201571 w 12191999"/>
              <a:gd name="connsiteY2879" fmla="*/ 1664905 h 4534608"/>
              <a:gd name="connsiteX2880" fmla="*/ 3151736 w 12191999"/>
              <a:gd name="connsiteY2880" fmla="*/ 1717203 h 4534608"/>
              <a:gd name="connsiteX2881" fmla="*/ 3066064 w 12191999"/>
              <a:gd name="connsiteY2881" fmla="*/ 1567109 h 4534608"/>
              <a:gd name="connsiteX2882" fmla="*/ 2256680 w 12191999"/>
              <a:gd name="connsiteY2882" fmla="*/ 1514679 h 4534608"/>
              <a:gd name="connsiteX2883" fmla="*/ 2363676 w 12191999"/>
              <a:gd name="connsiteY2883" fmla="*/ 1593127 h 4534608"/>
              <a:gd name="connsiteX2884" fmla="*/ 2399907 w 12191999"/>
              <a:gd name="connsiteY2884" fmla="*/ 1514679 h 4534608"/>
              <a:gd name="connsiteX2885" fmla="*/ 2539208 w 12191999"/>
              <a:gd name="connsiteY2885" fmla="*/ 1632351 h 4534608"/>
              <a:gd name="connsiteX2886" fmla="*/ 2499966 w 12191999"/>
              <a:gd name="connsiteY2886" fmla="*/ 1717203 h 4534608"/>
              <a:gd name="connsiteX2887" fmla="*/ 2402653 w 12191999"/>
              <a:gd name="connsiteY2887" fmla="*/ 1635227 h 4534608"/>
              <a:gd name="connsiteX2888" fmla="*/ 2369692 w 12191999"/>
              <a:gd name="connsiteY2888" fmla="*/ 1717203 h 4534608"/>
              <a:gd name="connsiteX2889" fmla="*/ 2266362 w 12191999"/>
              <a:gd name="connsiteY2889" fmla="*/ 1640850 h 4534608"/>
              <a:gd name="connsiteX2890" fmla="*/ 2239287 w 12191999"/>
              <a:gd name="connsiteY2890" fmla="*/ 1717203 h 4534608"/>
              <a:gd name="connsiteX2891" fmla="*/ 2130855 w 12191999"/>
              <a:gd name="connsiteY2891" fmla="*/ 1646863 h 4534608"/>
              <a:gd name="connsiteX2892" fmla="*/ 2109011 w 12191999"/>
              <a:gd name="connsiteY2892" fmla="*/ 1717203 h 4534608"/>
              <a:gd name="connsiteX2893" fmla="*/ 1996262 w 12191999"/>
              <a:gd name="connsiteY2893" fmla="*/ 1652878 h 4534608"/>
              <a:gd name="connsiteX2894" fmla="*/ 1978736 w 12191999"/>
              <a:gd name="connsiteY2894" fmla="*/ 1717203 h 4534608"/>
              <a:gd name="connsiteX2895" fmla="*/ 1862325 w 12191999"/>
              <a:gd name="connsiteY2895" fmla="*/ 1658892 h 4534608"/>
              <a:gd name="connsiteX2896" fmla="*/ 1848460 w 12191999"/>
              <a:gd name="connsiteY2896" fmla="*/ 1717203 h 4534608"/>
              <a:gd name="connsiteX2897" fmla="*/ 1729041 w 12191999"/>
              <a:gd name="connsiteY2897" fmla="*/ 1664905 h 4534608"/>
              <a:gd name="connsiteX2898" fmla="*/ 1718054 w 12191999"/>
              <a:gd name="connsiteY2898" fmla="*/ 1717203 h 4534608"/>
              <a:gd name="connsiteX2899" fmla="*/ 1596281 w 12191999"/>
              <a:gd name="connsiteY2899" fmla="*/ 1670397 h 4534608"/>
              <a:gd name="connsiteX2900" fmla="*/ 1587779 w 12191999"/>
              <a:gd name="connsiteY2900" fmla="*/ 1717203 h 4534608"/>
              <a:gd name="connsiteX2901" fmla="*/ 1464043 w 12191999"/>
              <a:gd name="connsiteY2901" fmla="*/ 1675756 h 4534608"/>
              <a:gd name="connsiteX2902" fmla="*/ 1457503 w 12191999"/>
              <a:gd name="connsiteY2902" fmla="*/ 1717203 h 4534608"/>
              <a:gd name="connsiteX2903" fmla="*/ 1332067 w 12191999"/>
              <a:gd name="connsiteY2903" fmla="*/ 1680856 h 4534608"/>
              <a:gd name="connsiteX2904" fmla="*/ 1327098 w 12191999"/>
              <a:gd name="connsiteY2904" fmla="*/ 1717203 h 4534608"/>
              <a:gd name="connsiteX2905" fmla="*/ 1200484 w 12191999"/>
              <a:gd name="connsiteY2905" fmla="*/ 1685692 h 4534608"/>
              <a:gd name="connsiteX2906" fmla="*/ 1196822 w 12191999"/>
              <a:gd name="connsiteY2906" fmla="*/ 1717203 h 4534608"/>
              <a:gd name="connsiteX2907" fmla="*/ 1069168 w 12191999"/>
              <a:gd name="connsiteY2907" fmla="*/ 1690138 h 4534608"/>
              <a:gd name="connsiteX2908" fmla="*/ 1066552 w 12191999"/>
              <a:gd name="connsiteY2908" fmla="*/ 1717203 h 4534608"/>
              <a:gd name="connsiteX2909" fmla="*/ 937977 w 12191999"/>
              <a:gd name="connsiteY2909" fmla="*/ 1694321 h 4534608"/>
              <a:gd name="connsiteX2910" fmla="*/ 936278 w 12191999"/>
              <a:gd name="connsiteY2910" fmla="*/ 1717203 h 4534608"/>
              <a:gd name="connsiteX2911" fmla="*/ 807050 w 12191999"/>
              <a:gd name="connsiteY2911" fmla="*/ 1698375 h 4534608"/>
              <a:gd name="connsiteX2912" fmla="*/ 805873 w 12191999"/>
              <a:gd name="connsiteY2912" fmla="*/ 1717203 h 4534608"/>
              <a:gd name="connsiteX2913" fmla="*/ 676383 w 12191999"/>
              <a:gd name="connsiteY2913" fmla="*/ 1702035 h 4534608"/>
              <a:gd name="connsiteX2914" fmla="*/ 675597 w 12191999"/>
              <a:gd name="connsiteY2914" fmla="*/ 1717203 h 4534608"/>
              <a:gd name="connsiteX2915" fmla="*/ 545715 w 12191999"/>
              <a:gd name="connsiteY2915" fmla="*/ 1705434 h 4534608"/>
              <a:gd name="connsiteX2916" fmla="*/ 545715 w 12191999"/>
              <a:gd name="connsiteY2916" fmla="*/ 1717203 h 4534608"/>
              <a:gd name="connsiteX2917" fmla="*/ 415570 w 12191999"/>
              <a:gd name="connsiteY2917" fmla="*/ 1708703 h 4534608"/>
              <a:gd name="connsiteX2918" fmla="*/ 415570 w 12191999"/>
              <a:gd name="connsiteY2918" fmla="*/ 1717203 h 4534608"/>
              <a:gd name="connsiteX2919" fmla="*/ 285426 w 12191999"/>
              <a:gd name="connsiteY2919" fmla="*/ 1711711 h 4534608"/>
              <a:gd name="connsiteX2920" fmla="*/ 285426 w 12191999"/>
              <a:gd name="connsiteY2920" fmla="*/ 1717203 h 4534608"/>
              <a:gd name="connsiteX2921" fmla="*/ 154631 w 12191999"/>
              <a:gd name="connsiteY2921" fmla="*/ 1714457 h 4534608"/>
              <a:gd name="connsiteX2922" fmla="*/ 154631 w 12191999"/>
              <a:gd name="connsiteY2922" fmla="*/ 1717464 h 4534608"/>
              <a:gd name="connsiteX2923" fmla="*/ 0 w 12191999"/>
              <a:gd name="connsiteY2923" fmla="*/ 1717464 h 4534608"/>
              <a:gd name="connsiteX2924" fmla="*/ 0 w 12191999"/>
              <a:gd name="connsiteY2924" fmla="*/ 1515203 h 4534608"/>
              <a:gd name="connsiteX2925" fmla="*/ 155155 w 12191999"/>
              <a:gd name="connsiteY2925" fmla="*/ 1515203 h 4534608"/>
              <a:gd name="connsiteX2926" fmla="*/ 155155 w 12191999"/>
              <a:gd name="connsiteY2926" fmla="*/ 1517165 h 4534608"/>
              <a:gd name="connsiteX2927" fmla="*/ 243051 w 12191999"/>
              <a:gd name="connsiteY2927" fmla="*/ 1520825 h 4534608"/>
              <a:gd name="connsiteX2928" fmla="*/ 252077 w 12191999"/>
              <a:gd name="connsiteY2928" fmla="*/ 1520825 h 4534608"/>
              <a:gd name="connsiteX2929" fmla="*/ 252077 w 12191999"/>
              <a:gd name="connsiteY2929" fmla="*/ 1514942 h 4534608"/>
              <a:gd name="connsiteX2930" fmla="*/ 394774 w 12191999"/>
              <a:gd name="connsiteY2930" fmla="*/ 1524355 h 4534608"/>
              <a:gd name="connsiteX2931" fmla="*/ 394774 w 12191999"/>
              <a:gd name="connsiteY2931" fmla="*/ 1514942 h 4534608"/>
              <a:gd name="connsiteX2932" fmla="*/ 537213 w 12191999"/>
              <a:gd name="connsiteY2932" fmla="*/ 1528015 h 4534608"/>
              <a:gd name="connsiteX2933" fmla="*/ 537998 w 12191999"/>
              <a:gd name="connsiteY2933" fmla="*/ 1514942 h 4534608"/>
              <a:gd name="connsiteX2934" fmla="*/ 679914 w 12191999"/>
              <a:gd name="connsiteY2934" fmla="*/ 1531546 h 4534608"/>
              <a:gd name="connsiteX2935" fmla="*/ 681222 w 12191999"/>
              <a:gd name="connsiteY2935" fmla="*/ 1514942 h 4534608"/>
              <a:gd name="connsiteX2936" fmla="*/ 822485 w 12191999"/>
              <a:gd name="connsiteY2936" fmla="*/ 1535601 h 4534608"/>
              <a:gd name="connsiteX2937" fmla="*/ 824447 w 12191999"/>
              <a:gd name="connsiteY2937" fmla="*/ 1514942 h 4534608"/>
              <a:gd name="connsiteX2938" fmla="*/ 964791 w 12191999"/>
              <a:gd name="connsiteY2938" fmla="*/ 1539914 h 4534608"/>
              <a:gd name="connsiteX2939" fmla="*/ 967668 w 12191999"/>
              <a:gd name="connsiteY2939" fmla="*/ 1514942 h 4534608"/>
              <a:gd name="connsiteX2940" fmla="*/ 1106837 w 12191999"/>
              <a:gd name="connsiteY2940" fmla="*/ 1544489 h 4534608"/>
              <a:gd name="connsiteX2941" fmla="*/ 1110757 w 12191999"/>
              <a:gd name="connsiteY2941" fmla="*/ 1514942 h 4534608"/>
              <a:gd name="connsiteX2942" fmla="*/ 1248618 w 12191999"/>
              <a:gd name="connsiteY2942" fmla="*/ 1549327 h 4534608"/>
              <a:gd name="connsiteX2943" fmla="*/ 1253980 w 12191999"/>
              <a:gd name="connsiteY2943" fmla="*/ 1514942 h 4534608"/>
              <a:gd name="connsiteX2944" fmla="*/ 1390011 w 12191999"/>
              <a:gd name="connsiteY2944" fmla="*/ 1554165 h 4534608"/>
              <a:gd name="connsiteX2945" fmla="*/ 1397206 w 12191999"/>
              <a:gd name="connsiteY2945" fmla="*/ 1514942 h 4534608"/>
              <a:gd name="connsiteX2946" fmla="*/ 1531011 w 12191999"/>
              <a:gd name="connsiteY2946" fmla="*/ 1559787 h 4534608"/>
              <a:gd name="connsiteX2947" fmla="*/ 1540430 w 12191999"/>
              <a:gd name="connsiteY2947" fmla="*/ 1514942 h 4534608"/>
              <a:gd name="connsiteX2948" fmla="*/ 1671228 w 12191999"/>
              <a:gd name="connsiteY2948" fmla="*/ 1565410 h 4534608"/>
              <a:gd name="connsiteX2949" fmla="*/ 1683262 w 12191999"/>
              <a:gd name="connsiteY2949" fmla="*/ 1514942 h 4534608"/>
              <a:gd name="connsiteX2950" fmla="*/ 1811051 w 12191999"/>
              <a:gd name="connsiteY2950" fmla="*/ 1571162 h 4534608"/>
              <a:gd name="connsiteX2951" fmla="*/ 1826355 w 12191999"/>
              <a:gd name="connsiteY2951" fmla="*/ 1514942 h 4534608"/>
              <a:gd name="connsiteX2952" fmla="*/ 1950352 w 12191999"/>
              <a:gd name="connsiteY2952" fmla="*/ 1577046 h 4534608"/>
              <a:gd name="connsiteX2953" fmla="*/ 1969579 w 12191999"/>
              <a:gd name="connsiteY2953" fmla="*/ 1514942 h 4534608"/>
              <a:gd name="connsiteX2954" fmla="*/ 2088736 w 12191999"/>
              <a:gd name="connsiteY2954" fmla="*/ 1582929 h 4534608"/>
              <a:gd name="connsiteX2955" fmla="*/ 2112805 w 12191999"/>
              <a:gd name="connsiteY2955" fmla="*/ 1514942 h 4534608"/>
              <a:gd name="connsiteX2956" fmla="*/ 2226992 w 12191999"/>
              <a:gd name="connsiteY2956" fmla="*/ 1588421 h 4534608"/>
              <a:gd name="connsiteX2957" fmla="*/ 4118075 w 12191999"/>
              <a:gd name="connsiteY2957" fmla="*/ 1514549 h 4534608"/>
              <a:gd name="connsiteX2958" fmla="*/ 4128801 w 12191999"/>
              <a:gd name="connsiteY2958" fmla="*/ 1710666 h 4534608"/>
              <a:gd name="connsiteX2959" fmla="*/ 4064053 w 12191999"/>
              <a:gd name="connsiteY2959" fmla="*/ 1717203 h 4534608"/>
              <a:gd name="connsiteX2960" fmla="*/ 4053330 w 12191999"/>
              <a:gd name="connsiteY2960" fmla="*/ 1521087 h 4534608"/>
              <a:gd name="connsiteX2961" fmla="*/ 7060383 w 12191999"/>
              <a:gd name="connsiteY2961" fmla="*/ 1514543 h 4534608"/>
              <a:gd name="connsiteX2962" fmla="*/ 7067445 w 12191999"/>
              <a:gd name="connsiteY2962" fmla="*/ 1553767 h 4534608"/>
              <a:gd name="connsiteX2963" fmla="*/ 7203476 w 12191999"/>
              <a:gd name="connsiteY2963" fmla="*/ 1514543 h 4534608"/>
              <a:gd name="connsiteX2964" fmla="*/ 7208969 w 12191999"/>
              <a:gd name="connsiteY2964" fmla="*/ 1548930 h 4534608"/>
              <a:gd name="connsiteX2965" fmla="*/ 7346701 w 12191999"/>
              <a:gd name="connsiteY2965" fmla="*/ 1514543 h 4534608"/>
              <a:gd name="connsiteX2966" fmla="*/ 7350756 w 12191999"/>
              <a:gd name="connsiteY2966" fmla="*/ 1544092 h 4534608"/>
              <a:gd name="connsiteX2967" fmla="*/ 7489924 w 12191999"/>
              <a:gd name="connsiteY2967" fmla="*/ 1514543 h 4534608"/>
              <a:gd name="connsiteX2968" fmla="*/ 7492803 w 12191999"/>
              <a:gd name="connsiteY2968" fmla="*/ 1539515 h 4534608"/>
              <a:gd name="connsiteX2969" fmla="*/ 7633149 w 12191999"/>
              <a:gd name="connsiteY2969" fmla="*/ 1514936 h 4534608"/>
              <a:gd name="connsiteX2970" fmla="*/ 7635111 w 12191999"/>
              <a:gd name="connsiteY2970" fmla="*/ 1535594 h 4534608"/>
              <a:gd name="connsiteX2971" fmla="*/ 7776896 w 12191999"/>
              <a:gd name="connsiteY2971" fmla="*/ 1514674 h 4534608"/>
              <a:gd name="connsiteX2972" fmla="*/ 7778336 w 12191999"/>
              <a:gd name="connsiteY2972" fmla="*/ 1531278 h 4534608"/>
              <a:gd name="connsiteX2973" fmla="*/ 7920121 w 12191999"/>
              <a:gd name="connsiteY2973" fmla="*/ 1514674 h 4534608"/>
              <a:gd name="connsiteX2974" fmla="*/ 7921036 w 12191999"/>
              <a:gd name="connsiteY2974" fmla="*/ 1527749 h 4534608"/>
              <a:gd name="connsiteX2975" fmla="*/ 8063346 w 12191999"/>
              <a:gd name="connsiteY2975" fmla="*/ 1514674 h 4534608"/>
              <a:gd name="connsiteX2976" fmla="*/ 8063346 w 12191999"/>
              <a:gd name="connsiteY2976" fmla="*/ 1524088 h 4534608"/>
              <a:gd name="connsiteX2977" fmla="*/ 8206046 w 12191999"/>
              <a:gd name="connsiteY2977" fmla="*/ 1514674 h 4534608"/>
              <a:gd name="connsiteX2978" fmla="*/ 8206046 w 12191999"/>
              <a:gd name="connsiteY2978" fmla="*/ 1520557 h 4534608"/>
              <a:gd name="connsiteX2979" fmla="*/ 8215202 w 12191999"/>
              <a:gd name="connsiteY2979" fmla="*/ 1520557 h 4534608"/>
              <a:gd name="connsiteX2980" fmla="*/ 8303100 w 12191999"/>
              <a:gd name="connsiteY2980" fmla="*/ 1516897 h 4534608"/>
              <a:gd name="connsiteX2981" fmla="*/ 8303100 w 12191999"/>
              <a:gd name="connsiteY2981" fmla="*/ 1514936 h 4534608"/>
              <a:gd name="connsiteX2982" fmla="*/ 12191607 w 12191999"/>
              <a:gd name="connsiteY2982" fmla="*/ 1514936 h 4534608"/>
              <a:gd name="connsiteX2983" fmla="*/ 12191607 w 12191999"/>
              <a:gd name="connsiteY2983" fmla="*/ 1717198 h 4534608"/>
              <a:gd name="connsiteX2984" fmla="*/ 8303100 w 12191999"/>
              <a:gd name="connsiteY2984" fmla="*/ 1717198 h 4534608"/>
              <a:gd name="connsiteX2985" fmla="*/ 8303884 w 12191999"/>
              <a:gd name="connsiteY2985" fmla="*/ 1714321 h 4534608"/>
              <a:gd name="connsiteX2986" fmla="*/ 8173086 w 12191999"/>
              <a:gd name="connsiteY2986" fmla="*/ 1717067 h 4534608"/>
              <a:gd name="connsiteX2987" fmla="*/ 8173086 w 12191999"/>
              <a:gd name="connsiteY2987" fmla="*/ 1711575 h 4534608"/>
              <a:gd name="connsiteX2988" fmla="*/ 8042287 w 12191999"/>
              <a:gd name="connsiteY2988" fmla="*/ 1717067 h 4534608"/>
              <a:gd name="connsiteX2989" fmla="*/ 8042287 w 12191999"/>
              <a:gd name="connsiteY2989" fmla="*/ 1708568 h 4534608"/>
              <a:gd name="connsiteX2990" fmla="*/ 7911488 w 12191999"/>
              <a:gd name="connsiteY2990" fmla="*/ 1717067 h 4534608"/>
              <a:gd name="connsiteX2991" fmla="*/ 7911488 w 12191999"/>
              <a:gd name="connsiteY2991" fmla="*/ 1705299 h 4534608"/>
              <a:gd name="connsiteX2992" fmla="*/ 7781606 w 12191999"/>
              <a:gd name="connsiteY2992" fmla="*/ 1717067 h 4534608"/>
              <a:gd name="connsiteX2993" fmla="*/ 7780822 w 12191999"/>
              <a:gd name="connsiteY2993" fmla="*/ 1701900 h 4534608"/>
              <a:gd name="connsiteX2994" fmla="*/ 7651199 w 12191999"/>
              <a:gd name="connsiteY2994" fmla="*/ 1717067 h 4534608"/>
              <a:gd name="connsiteX2995" fmla="*/ 7650023 w 12191999"/>
              <a:gd name="connsiteY2995" fmla="*/ 1698240 h 4534608"/>
              <a:gd name="connsiteX2996" fmla="*/ 7520924 w 12191999"/>
              <a:gd name="connsiteY2996" fmla="*/ 1717067 h 4534608"/>
              <a:gd name="connsiteX2997" fmla="*/ 7519094 w 12191999"/>
              <a:gd name="connsiteY2997" fmla="*/ 1694186 h 4534608"/>
              <a:gd name="connsiteX2998" fmla="*/ 7390649 w 12191999"/>
              <a:gd name="connsiteY2998" fmla="*/ 1717067 h 4534608"/>
              <a:gd name="connsiteX2999" fmla="*/ 7388033 w 12191999"/>
              <a:gd name="connsiteY2999" fmla="*/ 1690002 h 4534608"/>
              <a:gd name="connsiteX3000" fmla="*/ 7260243 w 12191999"/>
              <a:gd name="connsiteY3000" fmla="*/ 1717067 h 4534608"/>
              <a:gd name="connsiteX3001" fmla="*/ 7256712 w 12191999"/>
              <a:gd name="connsiteY3001" fmla="*/ 1685556 h 4534608"/>
              <a:gd name="connsiteX3002" fmla="*/ 7129968 w 12191999"/>
              <a:gd name="connsiteY3002" fmla="*/ 1717067 h 4534608"/>
              <a:gd name="connsiteX3003" fmla="*/ 7125129 w 12191999"/>
              <a:gd name="connsiteY3003" fmla="*/ 1680720 h 4534608"/>
              <a:gd name="connsiteX3004" fmla="*/ 6999693 w 12191999"/>
              <a:gd name="connsiteY3004" fmla="*/ 1717067 h 4534608"/>
              <a:gd name="connsiteX3005" fmla="*/ 6993152 w 12191999"/>
              <a:gd name="connsiteY3005" fmla="*/ 1675620 h 4534608"/>
              <a:gd name="connsiteX3006" fmla="*/ 6869416 w 12191999"/>
              <a:gd name="connsiteY3006" fmla="*/ 1717067 h 4534608"/>
              <a:gd name="connsiteX3007" fmla="*/ 6860785 w 12191999"/>
              <a:gd name="connsiteY3007" fmla="*/ 1670261 h 4534608"/>
              <a:gd name="connsiteX3008" fmla="*/ 6739664 w 12191999"/>
              <a:gd name="connsiteY3008" fmla="*/ 1717459 h 4534608"/>
              <a:gd name="connsiteX3009" fmla="*/ 6728678 w 12191999"/>
              <a:gd name="connsiteY3009" fmla="*/ 1665162 h 4534608"/>
              <a:gd name="connsiteX3010" fmla="*/ 6609391 w 12191999"/>
              <a:gd name="connsiteY3010" fmla="*/ 1717459 h 4534608"/>
              <a:gd name="connsiteX3011" fmla="*/ 6595394 w 12191999"/>
              <a:gd name="connsiteY3011" fmla="*/ 1659147 h 4534608"/>
              <a:gd name="connsiteX3012" fmla="*/ 6479114 w 12191999"/>
              <a:gd name="connsiteY3012" fmla="*/ 1717459 h 4534608"/>
              <a:gd name="connsiteX3013" fmla="*/ 6461586 w 12191999"/>
              <a:gd name="connsiteY3013" fmla="*/ 1653133 h 4534608"/>
              <a:gd name="connsiteX3014" fmla="*/ 6348708 w 12191999"/>
              <a:gd name="connsiteY3014" fmla="*/ 1717459 h 4534608"/>
              <a:gd name="connsiteX3015" fmla="*/ 6326865 w 12191999"/>
              <a:gd name="connsiteY3015" fmla="*/ 1647119 h 4534608"/>
              <a:gd name="connsiteX3016" fmla="*/ 6218433 w 12191999"/>
              <a:gd name="connsiteY3016" fmla="*/ 1717459 h 4534608"/>
              <a:gd name="connsiteX3017" fmla="*/ 6191488 w 12191999"/>
              <a:gd name="connsiteY3017" fmla="*/ 1641104 h 4534608"/>
              <a:gd name="connsiteX3018" fmla="*/ 6088158 w 12191999"/>
              <a:gd name="connsiteY3018" fmla="*/ 1717459 h 4534608"/>
              <a:gd name="connsiteX3019" fmla="*/ 6055197 w 12191999"/>
              <a:gd name="connsiteY3019" fmla="*/ 1635483 h 4534608"/>
              <a:gd name="connsiteX3020" fmla="*/ 5957881 w 12191999"/>
              <a:gd name="connsiteY3020" fmla="*/ 1717459 h 4534608"/>
              <a:gd name="connsiteX3021" fmla="*/ 5918642 w 12191999"/>
              <a:gd name="connsiteY3021" fmla="*/ 1632606 h 4534608"/>
              <a:gd name="connsiteX3022" fmla="*/ 6058074 w 12191999"/>
              <a:gd name="connsiteY3022" fmla="*/ 1514936 h 4534608"/>
              <a:gd name="connsiteX3023" fmla="*/ 6094305 w 12191999"/>
              <a:gd name="connsiteY3023" fmla="*/ 1593383 h 4534608"/>
              <a:gd name="connsiteX3024" fmla="*/ 6201298 w 12191999"/>
              <a:gd name="connsiteY3024" fmla="*/ 1514936 h 4534608"/>
              <a:gd name="connsiteX3025" fmla="*/ 6230859 w 12191999"/>
              <a:gd name="connsiteY3025" fmla="*/ 1588676 h 4534608"/>
              <a:gd name="connsiteX3026" fmla="*/ 6344393 w 12191999"/>
              <a:gd name="connsiteY3026" fmla="*/ 1514936 h 4534608"/>
              <a:gd name="connsiteX3027" fmla="*/ 6368459 w 12191999"/>
              <a:gd name="connsiteY3027" fmla="*/ 1582923 h 4534608"/>
              <a:gd name="connsiteX3028" fmla="*/ 6487616 w 12191999"/>
              <a:gd name="connsiteY3028" fmla="*/ 1514936 h 4534608"/>
              <a:gd name="connsiteX3029" fmla="*/ 6506974 w 12191999"/>
              <a:gd name="connsiteY3029" fmla="*/ 1577039 h 4534608"/>
              <a:gd name="connsiteX3030" fmla="*/ 6630841 w 12191999"/>
              <a:gd name="connsiteY3030" fmla="*/ 1514936 h 4534608"/>
              <a:gd name="connsiteX3031" fmla="*/ 6646144 w 12191999"/>
              <a:gd name="connsiteY3031" fmla="*/ 1571156 h 4534608"/>
              <a:gd name="connsiteX3032" fmla="*/ 6774064 w 12191999"/>
              <a:gd name="connsiteY3032" fmla="*/ 1514936 h 4534608"/>
              <a:gd name="connsiteX3033" fmla="*/ 6786097 w 12191999"/>
              <a:gd name="connsiteY3033" fmla="*/ 1565403 h 4534608"/>
              <a:gd name="connsiteX3034" fmla="*/ 6916896 w 12191999"/>
              <a:gd name="connsiteY3034" fmla="*/ 1514936 h 4534608"/>
              <a:gd name="connsiteX3035" fmla="*/ 6926183 w 12191999"/>
              <a:gd name="connsiteY3035" fmla="*/ 1559781 h 4534608"/>
              <a:gd name="connsiteX3036" fmla="*/ 5198336 w 12191999"/>
              <a:gd name="connsiteY3036" fmla="*/ 1514543 h 4534608"/>
              <a:gd name="connsiteX3037" fmla="*/ 5250655 w 12191999"/>
              <a:gd name="connsiteY3037" fmla="*/ 1560303 h 4534608"/>
              <a:gd name="connsiteX3038" fmla="*/ 5175576 w 12191999"/>
              <a:gd name="connsiteY3038" fmla="*/ 1717198 h 4534608"/>
              <a:gd name="connsiteX3039" fmla="*/ 5123257 w 12191999"/>
              <a:gd name="connsiteY3039" fmla="*/ 1671436 h 4534608"/>
              <a:gd name="connsiteX3040" fmla="*/ 4337943 w 12191999"/>
              <a:gd name="connsiteY3040" fmla="*/ 1514413 h 4534608"/>
              <a:gd name="connsiteX3041" fmla="*/ 4403342 w 12191999"/>
              <a:gd name="connsiteY3041" fmla="*/ 1520950 h 4534608"/>
              <a:gd name="connsiteX3042" fmla="*/ 4392617 w 12191999"/>
              <a:gd name="connsiteY3042" fmla="*/ 1717067 h 4534608"/>
              <a:gd name="connsiteX3043" fmla="*/ 4327218 w 12191999"/>
              <a:gd name="connsiteY3043" fmla="*/ 1710530 h 4534608"/>
              <a:gd name="connsiteX3044" fmla="*/ 3831758 w 12191999"/>
              <a:gd name="connsiteY3044" fmla="*/ 1514288 h 4534608"/>
              <a:gd name="connsiteX3045" fmla="*/ 3863934 w 12191999"/>
              <a:gd name="connsiteY3045" fmla="*/ 1697329 h 4534608"/>
              <a:gd name="connsiteX3046" fmla="*/ 3803375 w 12191999"/>
              <a:gd name="connsiteY3046" fmla="*/ 1716941 h 4534608"/>
              <a:gd name="connsiteX3047" fmla="*/ 3771198 w 12191999"/>
              <a:gd name="connsiteY3047" fmla="*/ 1533899 h 4534608"/>
              <a:gd name="connsiteX3048" fmla="*/ 3258860 w 12191999"/>
              <a:gd name="connsiteY3048" fmla="*/ 1258813 h 4534608"/>
              <a:gd name="connsiteX3049" fmla="*/ 3333939 w 12191999"/>
              <a:gd name="connsiteY3049" fmla="*/ 1415706 h 4534608"/>
              <a:gd name="connsiteX3050" fmla="*/ 3281619 w 12191999"/>
              <a:gd name="connsiteY3050" fmla="*/ 1461468 h 4534608"/>
              <a:gd name="connsiteX3051" fmla="*/ 3206538 w 12191999"/>
              <a:gd name="connsiteY3051" fmla="*/ 1304573 h 4534608"/>
              <a:gd name="connsiteX3052" fmla="*/ 2686354 w 12191999"/>
              <a:gd name="connsiteY3052" fmla="*/ 1258813 h 4534608"/>
              <a:gd name="connsiteX3053" fmla="*/ 2804073 w 12191999"/>
              <a:gd name="connsiteY3053" fmla="*/ 1389557 h 4534608"/>
              <a:gd name="connsiteX3054" fmla="*/ 2760911 w 12191999"/>
              <a:gd name="connsiteY3054" fmla="*/ 1461337 h 4534608"/>
              <a:gd name="connsiteX3055" fmla="*/ 2643192 w 12191999"/>
              <a:gd name="connsiteY3055" fmla="*/ 1330592 h 4534608"/>
              <a:gd name="connsiteX3056" fmla="*/ 5055503 w 12191999"/>
              <a:gd name="connsiteY3056" fmla="*/ 1258807 h 4534608"/>
              <a:gd name="connsiteX3057" fmla="*/ 5109523 w 12191999"/>
              <a:gd name="connsiteY3057" fmla="*/ 1298031 h 4534608"/>
              <a:gd name="connsiteX3058" fmla="*/ 5045301 w 12191999"/>
              <a:gd name="connsiteY3058" fmla="*/ 1461069 h 4534608"/>
              <a:gd name="connsiteX3059" fmla="*/ 4991151 w 12191999"/>
              <a:gd name="connsiteY3059" fmla="*/ 1421846 h 4534608"/>
              <a:gd name="connsiteX3060" fmla="*/ 4769578 w 12191999"/>
              <a:gd name="connsiteY3060" fmla="*/ 1258807 h 4534608"/>
              <a:gd name="connsiteX3061" fmla="*/ 4827914 w 12191999"/>
              <a:gd name="connsiteY3061" fmla="*/ 1284957 h 4534608"/>
              <a:gd name="connsiteX3062" fmla="*/ 4785012 w 12191999"/>
              <a:gd name="connsiteY3062" fmla="*/ 1461069 h 4534608"/>
              <a:gd name="connsiteX3063" fmla="*/ 4726285 w 12191999"/>
              <a:gd name="connsiteY3063" fmla="*/ 1434921 h 4534608"/>
              <a:gd name="connsiteX3064" fmla="*/ 3831758 w 12191999"/>
              <a:gd name="connsiteY3064" fmla="*/ 1258683 h 4534608"/>
              <a:gd name="connsiteX3065" fmla="*/ 3863934 w 12191999"/>
              <a:gd name="connsiteY3065" fmla="*/ 1441726 h 4534608"/>
              <a:gd name="connsiteX3066" fmla="*/ 3803375 w 12191999"/>
              <a:gd name="connsiteY3066" fmla="*/ 1461075 h 4534608"/>
              <a:gd name="connsiteX3067" fmla="*/ 3771198 w 12191999"/>
              <a:gd name="connsiteY3067" fmla="*/ 1278032 h 4534608"/>
              <a:gd name="connsiteX3068" fmla="*/ 2829580 w 12191999"/>
              <a:gd name="connsiteY3068" fmla="*/ 1258683 h 4534608"/>
              <a:gd name="connsiteX3069" fmla="*/ 2936835 w 12191999"/>
              <a:gd name="connsiteY3069" fmla="*/ 1395703 h 4534608"/>
              <a:gd name="connsiteX3070" fmla="*/ 2891449 w 12191999"/>
              <a:gd name="connsiteY3070" fmla="*/ 1461075 h 4534608"/>
              <a:gd name="connsiteX3071" fmla="*/ 2784192 w 12191999"/>
              <a:gd name="connsiteY3071" fmla="*/ 1324055 h 4534608"/>
              <a:gd name="connsiteX3072" fmla="*/ 2542869 w 12191999"/>
              <a:gd name="connsiteY3072" fmla="*/ 1258683 h 4534608"/>
              <a:gd name="connsiteX3073" fmla="*/ 2671576 w 12191999"/>
              <a:gd name="connsiteY3073" fmla="*/ 1382629 h 4534608"/>
              <a:gd name="connsiteX3074" fmla="*/ 2630504 w 12191999"/>
              <a:gd name="connsiteY3074" fmla="*/ 1461075 h 4534608"/>
              <a:gd name="connsiteX3075" fmla="*/ 2501930 w 12191999"/>
              <a:gd name="connsiteY3075" fmla="*/ 1337129 h 4534608"/>
              <a:gd name="connsiteX3076" fmla="*/ 5915111 w 12191999"/>
              <a:gd name="connsiteY3076" fmla="*/ 1258677 h 4534608"/>
              <a:gd name="connsiteX3077" fmla="*/ 5956182 w 12191999"/>
              <a:gd name="connsiteY3077" fmla="*/ 1337123 h 4534608"/>
              <a:gd name="connsiteX3078" fmla="*/ 5827476 w 12191999"/>
              <a:gd name="connsiteY3078" fmla="*/ 1461069 h 4534608"/>
              <a:gd name="connsiteX3079" fmla="*/ 5786014 w 12191999"/>
              <a:gd name="connsiteY3079" fmla="*/ 1382622 h 4534608"/>
              <a:gd name="connsiteX3080" fmla="*/ 5628794 w 12191999"/>
              <a:gd name="connsiteY3080" fmla="*/ 1258677 h 4534608"/>
              <a:gd name="connsiteX3081" fmla="*/ 5674181 w 12191999"/>
              <a:gd name="connsiteY3081" fmla="*/ 1324049 h 4534608"/>
              <a:gd name="connsiteX3082" fmla="*/ 5566925 w 12191999"/>
              <a:gd name="connsiteY3082" fmla="*/ 1461069 h 4534608"/>
              <a:gd name="connsiteX3083" fmla="*/ 5521146 w 12191999"/>
              <a:gd name="connsiteY3083" fmla="*/ 1395697 h 4534608"/>
              <a:gd name="connsiteX3084" fmla="*/ 5771102 w 12191999"/>
              <a:gd name="connsiteY3084" fmla="*/ 1258546 h 4534608"/>
              <a:gd name="connsiteX3085" fmla="*/ 5814397 w 12191999"/>
              <a:gd name="connsiteY3085" fmla="*/ 1330325 h 4534608"/>
              <a:gd name="connsiteX3086" fmla="*/ 5696678 w 12191999"/>
              <a:gd name="connsiteY3086" fmla="*/ 1461069 h 4534608"/>
              <a:gd name="connsiteX3087" fmla="*/ 5653383 w 12191999"/>
              <a:gd name="connsiteY3087" fmla="*/ 1389290 h 4534608"/>
              <a:gd name="connsiteX3088" fmla="*/ 5485177 w 12191999"/>
              <a:gd name="connsiteY3088" fmla="*/ 1258546 h 4534608"/>
              <a:gd name="connsiteX3089" fmla="*/ 5532657 w 12191999"/>
              <a:gd name="connsiteY3089" fmla="*/ 1317250 h 4534608"/>
              <a:gd name="connsiteX3090" fmla="*/ 5436128 w 12191999"/>
              <a:gd name="connsiteY3090" fmla="*/ 1461069 h 4534608"/>
              <a:gd name="connsiteX3091" fmla="*/ 5388648 w 12191999"/>
              <a:gd name="connsiteY3091" fmla="*/ 1402365 h 4534608"/>
              <a:gd name="connsiteX3092" fmla="*/ 3974849 w 12191999"/>
              <a:gd name="connsiteY3092" fmla="*/ 1258420 h 4534608"/>
              <a:gd name="connsiteX3093" fmla="*/ 3996303 w 12191999"/>
              <a:gd name="connsiteY3093" fmla="*/ 1448002 h 4534608"/>
              <a:gd name="connsiteX3094" fmla="*/ 3933650 w 12191999"/>
              <a:gd name="connsiteY3094" fmla="*/ 1461075 h 4534608"/>
              <a:gd name="connsiteX3095" fmla="*/ 3912199 w 12191999"/>
              <a:gd name="connsiteY3095" fmla="*/ 1271495 h 4534608"/>
              <a:gd name="connsiteX3096" fmla="*/ 3688533 w 12191999"/>
              <a:gd name="connsiteY3096" fmla="*/ 1258420 h 4534608"/>
              <a:gd name="connsiteX3097" fmla="*/ 3731698 w 12191999"/>
              <a:gd name="connsiteY3097" fmla="*/ 1434927 h 4534608"/>
              <a:gd name="connsiteX3098" fmla="*/ 3673098 w 12191999"/>
              <a:gd name="connsiteY3098" fmla="*/ 1461075 h 4534608"/>
              <a:gd name="connsiteX3099" fmla="*/ 3630198 w 12191999"/>
              <a:gd name="connsiteY3099" fmla="*/ 1284570 h 4534608"/>
              <a:gd name="connsiteX3100" fmla="*/ 3545310 w 12191999"/>
              <a:gd name="connsiteY3100" fmla="*/ 1258420 h 4534608"/>
              <a:gd name="connsiteX3101" fmla="*/ 3598934 w 12191999"/>
              <a:gd name="connsiteY3101" fmla="*/ 1428390 h 4534608"/>
              <a:gd name="connsiteX3102" fmla="*/ 3542691 w 12191999"/>
              <a:gd name="connsiteY3102" fmla="*/ 1461075 h 4534608"/>
              <a:gd name="connsiteX3103" fmla="*/ 3489065 w 12191999"/>
              <a:gd name="connsiteY3103" fmla="*/ 1291107 h 4534608"/>
              <a:gd name="connsiteX3104" fmla="*/ 3402084 w 12191999"/>
              <a:gd name="connsiteY3104" fmla="*/ 1258420 h 4534608"/>
              <a:gd name="connsiteX3105" fmla="*/ 3466438 w 12191999"/>
              <a:gd name="connsiteY3105" fmla="*/ 1421852 h 4534608"/>
              <a:gd name="connsiteX3106" fmla="*/ 3412419 w 12191999"/>
              <a:gd name="connsiteY3106" fmla="*/ 1461075 h 4534608"/>
              <a:gd name="connsiteX3107" fmla="*/ 3348062 w 12191999"/>
              <a:gd name="connsiteY3107" fmla="*/ 1297644 h 4534608"/>
              <a:gd name="connsiteX3108" fmla="*/ 3115768 w 12191999"/>
              <a:gd name="connsiteY3108" fmla="*/ 1258420 h 4534608"/>
              <a:gd name="connsiteX3109" fmla="*/ 3201571 w 12191999"/>
              <a:gd name="connsiteY3109" fmla="*/ 1408777 h 4534608"/>
              <a:gd name="connsiteX3110" fmla="*/ 3151736 w 12191999"/>
              <a:gd name="connsiteY3110" fmla="*/ 1461075 h 4534608"/>
              <a:gd name="connsiteX3111" fmla="*/ 3066064 w 12191999"/>
              <a:gd name="connsiteY3111" fmla="*/ 1310719 h 4534608"/>
              <a:gd name="connsiteX3112" fmla="*/ 0 w 12191999"/>
              <a:gd name="connsiteY3112" fmla="*/ 1258420 h 4534608"/>
              <a:gd name="connsiteX3113" fmla="*/ 155285 w 12191999"/>
              <a:gd name="connsiteY3113" fmla="*/ 1258420 h 4534608"/>
              <a:gd name="connsiteX3114" fmla="*/ 155285 w 12191999"/>
              <a:gd name="connsiteY3114" fmla="*/ 1260643 h 4534608"/>
              <a:gd name="connsiteX3115" fmla="*/ 243182 w 12191999"/>
              <a:gd name="connsiteY3115" fmla="*/ 1264305 h 4534608"/>
              <a:gd name="connsiteX3116" fmla="*/ 252207 w 12191999"/>
              <a:gd name="connsiteY3116" fmla="*/ 1264305 h 4534608"/>
              <a:gd name="connsiteX3117" fmla="*/ 252207 w 12191999"/>
              <a:gd name="connsiteY3117" fmla="*/ 1258420 h 4534608"/>
              <a:gd name="connsiteX3118" fmla="*/ 394905 w 12191999"/>
              <a:gd name="connsiteY3118" fmla="*/ 1267835 h 4534608"/>
              <a:gd name="connsiteX3119" fmla="*/ 394905 w 12191999"/>
              <a:gd name="connsiteY3119" fmla="*/ 1258420 h 4534608"/>
              <a:gd name="connsiteX3120" fmla="*/ 537344 w 12191999"/>
              <a:gd name="connsiteY3120" fmla="*/ 1271495 h 4534608"/>
              <a:gd name="connsiteX3121" fmla="*/ 538128 w 12191999"/>
              <a:gd name="connsiteY3121" fmla="*/ 1258420 h 4534608"/>
              <a:gd name="connsiteX3122" fmla="*/ 680045 w 12191999"/>
              <a:gd name="connsiteY3122" fmla="*/ 1275026 h 4534608"/>
              <a:gd name="connsiteX3123" fmla="*/ 681353 w 12191999"/>
              <a:gd name="connsiteY3123" fmla="*/ 1258420 h 4534608"/>
              <a:gd name="connsiteX3124" fmla="*/ 822616 w 12191999"/>
              <a:gd name="connsiteY3124" fmla="*/ 1279079 h 4534608"/>
              <a:gd name="connsiteX3125" fmla="*/ 824578 w 12191999"/>
              <a:gd name="connsiteY3125" fmla="*/ 1258420 h 4534608"/>
              <a:gd name="connsiteX3126" fmla="*/ 964922 w 12191999"/>
              <a:gd name="connsiteY3126" fmla="*/ 1283393 h 4534608"/>
              <a:gd name="connsiteX3127" fmla="*/ 967799 w 12191999"/>
              <a:gd name="connsiteY3127" fmla="*/ 1258420 h 4534608"/>
              <a:gd name="connsiteX3128" fmla="*/ 1106968 w 12191999"/>
              <a:gd name="connsiteY3128" fmla="*/ 1287969 h 4534608"/>
              <a:gd name="connsiteX3129" fmla="*/ 1110888 w 12191999"/>
              <a:gd name="connsiteY3129" fmla="*/ 1258420 h 4534608"/>
              <a:gd name="connsiteX3130" fmla="*/ 1248748 w 12191999"/>
              <a:gd name="connsiteY3130" fmla="*/ 1292806 h 4534608"/>
              <a:gd name="connsiteX3131" fmla="*/ 1254113 w 12191999"/>
              <a:gd name="connsiteY3131" fmla="*/ 1258420 h 4534608"/>
              <a:gd name="connsiteX3132" fmla="*/ 1390141 w 12191999"/>
              <a:gd name="connsiteY3132" fmla="*/ 1297644 h 4534608"/>
              <a:gd name="connsiteX3133" fmla="*/ 1397336 w 12191999"/>
              <a:gd name="connsiteY3133" fmla="*/ 1258420 h 4534608"/>
              <a:gd name="connsiteX3134" fmla="*/ 1531928 w 12191999"/>
              <a:gd name="connsiteY3134" fmla="*/ 1303266 h 4534608"/>
              <a:gd name="connsiteX3135" fmla="*/ 1541345 w 12191999"/>
              <a:gd name="connsiteY3135" fmla="*/ 1258420 h 4534608"/>
              <a:gd name="connsiteX3136" fmla="*/ 1672144 w 12191999"/>
              <a:gd name="connsiteY3136" fmla="*/ 1308889 h 4534608"/>
              <a:gd name="connsiteX3137" fmla="*/ 1684177 w 12191999"/>
              <a:gd name="connsiteY3137" fmla="*/ 1258420 h 4534608"/>
              <a:gd name="connsiteX3138" fmla="*/ 1811966 w 12191999"/>
              <a:gd name="connsiteY3138" fmla="*/ 1314641 h 4534608"/>
              <a:gd name="connsiteX3139" fmla="*/ 1826355 w 12191999"/>
              <a:gd name="connsiteY3139" fmla="*/ 1258420 h 4534608"/>
              <a:gd name="connsiteX3140" fmla="*/ 1950352 w 12191999"/>
              <a:gd name="connsiteY3140" fmla="*/ 1320526 h 4534608"/>
              <a:gd name="connsiteX3141" fmla="*/ 1969579 w 12191999"/>
              <a:gd name="connsiteY3141" fmla="*/ 1258420 h 4534608"/>
              <a:gd name="connsiteX3142" fmla="*/ 2088736 w 12191999"/>
              <a:gd name="connsiteY3142" fmla="*/ 1326408 h 4534608"/>
              <a:gd name="connsiteX3143" fmla="*/ 2112805 w 12191999"/>
              <a:gd name="connsiteY3143" fmla="*/ 1258420 h 4534608"/>
              <a:gd name="connsiteX3144" fmla="*/ 2227908 w 12191999"/>
              <a:gd name="connsiteY3144" fmla="*/ 1332291 h 4534608"/>
              <a:gd name="connsiteX3145" fmla="*/ 2257599 w 12191999"/>
              <a:gd name="connsiteY3145" fmla="*/ 1258552 h 4534608"/>
              <a:gd name="connsiteX3146" fmla="*/ 2364592 w 12191999"/>
              <a:gd name="connsiteY3146" fmla="*/ 1336999 h 4534608"/>
              <a:gd name="connsiteX3147" fmla="*/ 2400822 w 12191999"/>
              <a:gd name="connsiteY3147" fmla="*/ 1258552 h 4534608"/>
              <a:gd name="connsiteX3148" fmla="*/ 2540121 w 12191999"/>
              <a:gd name="connsiteY3148" fmla="*/ 1376221 h 4534608"/>
              <a:gd name="connsiteX3149" fmla="*/ 2500884 w 12191999"/>
              <a:gd name="connsiteY3149" fmla="*/ 1461075 h 4534608"/>
              <a:gd name="connsiteX3150" fmla="*/ 2403568 w 12191999"/>
              <a:gd name="connsiteY3150" fmla="*/ 1379098 h 4534608"/>
              <a:gd name="connsiteX3151" fmla="*/ 2370606 w 12191999"/>
              <a:gd name="connsiteY3151" fmla="*/ 1461075 h 4534608"/>
              <a:gd name="connsiteX3152" fmla="*/ 2267277 w 12191999"/>
              <a:gd name="connsiteY3152" fmla="*/ 1384721 h 4534608"/>
              <a:gd name="connsiteX3153" fmla="*/ 2240199 w 12191999"/>
              <a:gd name="connsiteY3153" fmla="*/ 1461075 h 4534608"/>
              <a:gd name="connsiteX3154" fmla="*/ 2131770 w 12191999"/>
              <a:gd name="connsiteY3154" fmla="*/ 1390734 h 4534608"/>
              <a:gd name="connsiteX3155" fmla="*/ 2109927 w 12191999"/>
              <a:gd name="connsiteY3155" fmla="*/ 1461075 h 4534608"/>
              <a:gd name="connsiteX3156" fmla="*/ 1997178 w 12191999"/>
              <a:gd name="connsiteY3156" fmla="*/ 1396748 h 4534608"/>
              <a:gd name="connsiteX3157" fmla="*/ 1979651 w 12191999"/>
              <a:gd name="connsiteY3157" fmla="*/ 1461075 h 4534608"/>
              <a:gd name="connsiteX3158" fmla="*/ 1863240 w 12191999"/>
              <a:gd name="connsiteY3158" fmla="*/ 1402762 h 4534608"/>
              <a:gd name="connsiteX3159" fmla="*/ 1849376 w 12191999"/>
              <a:gd name="connsiteY3159" fmla="*/ 1461075 h 4534608"/>
              <a:gd name="connsiteX3160" fmla="*/ 1729956 w 12191999"/>
              <a:gd name="connsiteY3160" fmla="*/ 1408777 h 4534608"/>
              <a:gd name="connsiteX3161" fmla="*/ 1718970 w 12191999"/>
              <a:gd name="connsiteY3161" fmla="*/ 1461075 h 4534608"/>
              <a:gd name="connsiteX3162" fmla="*/ 1597195 w 12191999"/>
              <a:gd name="connsiteY3162" fmla="*/ 1414268 h 4534608"/>
              <a:gd name="connsiteX3163" fmla="*/ 1588694 w 12191999"/>
              <a:gd name="connsiteY3163" fmla="*/ 1461075 h 4534608"/>
              <a:gd name="connsiteX3164" fmla="*/ 1464959 w 12191999"/>
              <a:gd name="connsiteY3164" fmla="*/ 1419630 h 4534608"/>
              <a:gd name="connsiteX3165" fmla="*/ 1458420 w 12191999"/>
              <a:gd name="connsiteY3165" fmla="*/ 1461075 h 4534608"/>
              <a:gd name="connsiteX3166" fmla="*/ 1332983 w 12191999"/>
              <a:gd name="connsiteY3166" fmla="*/ 1424728 h 4534608"/>
              <a:gd name="connsiteX3167" fmla="*/ 1328013 w 12191999"/>
              <a:gd name="connsiteY3167" fmla="*/ 1461075 h 4534608"/>
              <a:gd name="connsiteX3168" fmla="*/ 1200877 w 12191999"/>
              <a:gd name="connsiteY3168" fmla="*/ 1429566 h 4534608"/>
              <a:gd name="connsiteX3169" fmla="*/ 1197214 w 12191999"/>
              <a:gd name="connsiteY3169" fmla="*/ 1461075 h 4534608"/>
              <a:gd name="connsiteX3170" fmla="*/ 1069037 w 12191999"/>
              <a:gd name="connsiteY3170" fmla="*/ 1434011 h 4534608"/>
              <a:gd name="connsiteX3171" fmla="*/ 1066421 w 12191999"/>
              <a:gd name="connsiteY3171" fmla="*/ 1461075 h 4534608"/>
              <a:gd name="connsiteX3172" fmla="*/ 937977 w 12191999"/>
              <a:gd name="connsiteY3172" fmla="*/ 1438064 h 4534608"/>
              <a:gd name="connsiteX3173" fmla="*/ 936278 w 12191999"/>
              <a:gd name="connsiteY3173" fmla="*/ 1460945 h 4534608"/>
              <a:gd name="connsiteX3174" fmla="*/ 807050 w 12191999"/>
              <a:gd name="connsiteY3174" fmla="*/ 1442118 h 4534608"/>
              <a:gd name="connsiteX3175" fmla="*/ 805873 w 12191999"/>
              <a:gd name="connsiteY3175" fmla="*/ 1460945 h 4534608"/>
              <a:gd name="connsiteX3176" fmla="*/ 676383 w 12191999"/>
              <a:gd name="connsiteY3176" fmla="*/ 1445779 h 4534608"/>
              <a:gd name="connsiteX3177" fmla="*/ 675597 w 12191999"/>
              <a:gd name="connsiteY3177" fmla="*/ 1460945 h 4534608"/>
              <a:gd name="connsiteX3178" fmla="*/ 545715 w 12191999"/>
              <a:gd name="connsiteY3178" fmla="*/ 1449179 h 4534608"/>
              <a:gd name="connsiteX3179" fmla="*/ 545715 w 12191999"/>
              <a:gd name="connsiteY3179" fmla="*/ 1460945 h 4534608"/>
              <a:gd name="connsiteX3180" fmla="*/ 415570 w 12191999"/>
              <a:gd name="connsiteY3180" fmla="*/ 1452448 h 4534608"/>
              <a:gd name="connsiteX3181" fmla="*/ 415570 w 12191999"/>
              <a:gd name="connsiteY3181" fmla="*/ 1460945 h 4534608"/>
              <a:gd name="connsiteX3182" fmla="*/ 285426 w 12191999"/>
              <a:gd name="connsiteY3182" fmla="*/ 1455453 h 4534608"/>
              <a:gd name="connsiteX3183" fmla="*/ 285426 w 12191999"/>
              <a:gd name="connsiteY3183" fmla="*/ 1460945 h 4534608"/>
              <a:gd name="connsiteX3184" fmla="*/ 154631 w 12191999"/>
              <a:gd name="connsiteY3184" fmla="*/ 1458199 h 4534608"/>
              <a:gd name="connsiteX3185" fmla="*/ 154631 w 12191999"/>
              <a:gd name="connsiteY3185" fmla="*/ 1461075 h 4534608"/>
              <a:gd name="connsiteX3186" fmla="*/ 0 w 12191999"/>
              <a:gd name="connsiteY3186" fmla="*/ 1461075 h 4534608"/>
              <a:gd name="connsiteX3187" fmla="*/ 6058074 w 12191999"/>
              <a:gd name="connsiteY3187" fmla="*/ 1258414 h 4534608"/>
              <a:gd name="connsiteX3188" fmla="*/ 6094305 w 12191999"/>
              <a:gd name="connsiteY3188" fmla="*/ 1336862 h 4534608"/>
              <a:gd name="connsiteX3189" fmla="*/ 6201298 w 12191999"/>
              <a:gd name="connsiteY3189" fmla="*/ 1258414 h 4534608"/>
              <a:gd name="connsiteX3190" fmla="*/ 6230859 w 12191999"/>
              <a:gd name="connsiteY3190" fmla="*/ 1332155 h 4534608"/>
              <a:gd name="connsiteX3191" fmla="*/ 6344393 w 12191999"/>
              <a:gd name="connsiteY3191" fmla="*/ 1258414 h 4534608"/>
              <a:gd name="connsiteX3192" fmla="*/ 6368459 w 12191999"/>
              <a:gd name="connsiteY3192" fmla="*/ 1326402 h 4534608"/>
              <a:gd name="connsiteX3193" fmla="*/ 6487616 w 12191999"/>
              <a:gd name="connsiteY3193" fmla="*/ 1258414 h 4534608"/>
              <a:gd name="connsiteX3194" fmla="*/ 6506974 w 12191999"/>
              <a:gd name="connsiteY3194" fmla="*/ 1320519 h 4534608"/>
              <a:gd name="connsiteX3195" fmla="*/ 6630841 w 12191999"/>
              <a:gd name="connsiteY3195" fmla="*/ 1258414 h 4534608"/>
              <a:gd name="connsiteX3196" fmla="*/ 6646144 w 12191999"/>
              <a:gd name="connsiteY3196" fmla="*/ 1314635 h 4534608"/>
              <a:gd name="connsiteX3197" fmla="*/ 6774064 w 12191999"/>
              <a:gd name="connsiteY3197" fmla="*/ 1258414 h 4534608"/>
              <a:gd name="connsiteX3198" fmla="*/ 6786097 w 12191999"/>
              <a:gd name="connsiteY3198" fmla="*/ 1308883 h 4534608"/>
              <a:gd name="connsiteX3199" fmla="*/ 6916896 w 12191999"/>
              <a:gd name="connsiteY3199" fmla="*/ 1258414 h 4534608"/>
              <a:gd name="connsiteX3200" fmla="*/ 6926183 w 12191999"/>
              <a:gd name="connsiteY3200" fmla="*/ 1303261 h 4534608"/>
              <a:gd name="connsiteX3201" fmla="*/ 7060383 w 12191999"/>
              <a:gd name="connsiteY3201" fmla="*/ 1258414 h 4534608"/>
              <a:gd name="connsiteX3202" fmla="*/ 7067445 w 12191999"/>
              <a:gd name="connsiteY3202" fmla="*/ 1297638 h 4534608"/>
              <a:gd name="connsiteX3203" fmla="*/ 7203476 w 12191999"/>
              <a:gd name="connsiteY3203" fmla="*/ 1258414 h 4534608"/>
              <a:gd name="connsiteX3204" fmla="*/ 7208969 w 12191999"/>
              <a:gd name="connsiteY3204" fmla="*/ 1292800 h 4534608"/>
              <a:gd name="connsiteX3205" fmla="*/ 7346701 w 12191999"/>
              <a:gd name="connsiteY3205" fmla="*/ 1258414 h 4534608"/>
              <a:gd name="connsiteX3206" fmla="*/ 7350756 w 12191999"/>
              <a:gd name="connsiteY3206" fmla="*/ 1287963 h 4534608"/>
              <a:gd name="connsiteX3207" fmla="*/ 7489924 w 12191999"/>
              <a:gd name="connsiteY3207" fmla="*/ 1258414 h 4534608"/>
              <a:gd name="connsiteX3208" fmla="*/ 7492803 w 12191999"/>
              <a:gd name="connsiteY3208" fmla="*/ 1283388 h 4534608"/>
              <a:gd name="connsiteX3209" fmla="*/ 7633149 w 12191999"/>
              <a:gd name="connsiteY3209" fmla="*/ 1258414 h 4534608"/>
              <a:gd name="connsiteX3210" fmla="*/ 7635111 w 12191999"/>
              <a:gd name="connsiteY3210" fmla="*/ 1279073 h 4534608"/>
              <a:gd name="connsiteX3211" fmla="*/ 7776374 w 12191999"/>
              <a:gd name="connsiteY3211" fmla="*/ 1258414 h 4534608"/>
              <a:gd name="connsiteX3212" fmla="*/ 7777681 w 12191999"/>
              <a:gd name="connsiteY3212" fmla="*/ 1275020 h 4534608"/>
              <a:gd name="connsiteX3213" fmla="*/ 7920121 w 12191999"/>
              <a:gd name="connsiteY3213" fmla="*/ 1258414 h 4534608"/>
              <a:gd name="connsiteX3214" fmla="*/ 7921036 w 12191999"/>
              <a:gd name="connsiteY3214" fmla="*/ 1271489 h 4534608"/>
              <a:gd name="connsiteX3215" fmla="*/ 8063346 w 12191999"/>
              <a:gd name="connsiteY3215" fmla="*/ 1258414 h 4534608"/>
              <a:gd name="connsiteX3216" fmla="*/ 8063346 w 12191999"/>
              <a:gd name="connsiteY3216" fmla="*/ 1267829 h 4534608"/>
              <a:gd name="connsiteX3217" fmla="*/ 8206046 w 12191999"/>
              <a:gd name="connsiteY3217" fmla="*/ 1258414 h 4534608"/>
              <a:gd name="connsiteX3218" fmla="*/ 8206046 w 12191999"/>
              <a:gd name="connsiteY3218" fmla="*/ 1264037 h 4534608"/>
              <a:gd name="connsiteX3219" fmla="*/ 8215202 w 12191999"/>
              <a:gd name="connsiteY3219" fmla="*/ 1264037 h 4534608"/>
              <a:gd name="connsiteX3220" fmla="*/ 8303100 w 12191999"/>
              <a:gd name="connsiteY3220" fmla="*/ 1260376 h 4534608"/>
              <a:gd name="connsiteX3221" fmla="*/ 8303100 w 12191999"/>
              <a:gd name="connsiteY3221" fmla="*/ 1258414 h 4534608"/>
              <a:gd name="connsiteX3222" fmla="*/ 12191999 w 12191999"/>
              <a:gd name="connsiteY3222" fmla="*/ 1258414 h 4534608"/>
              <a:gd name="connsiteX3223" fmla="*/ 12191999 w 12191999"/>
              <a:gd name="connsiteY3223" fmla="*/ 1461069 h 4534608"/>
              <a:gd name="connsiteX3224" fmla="*/ 8303491 w 12191999"/>
              <a:gd name="connsiteY3224" fmla="*/ 1461069 h 4534608"/>
              <a:gd name="connsiteX3225" fmla="*/ 8304145 w 12191999"/>
              <a:gd name="connsiteY3225" fmla="*/ 1458324 h 4534608"/>
              <a:gd name="connsiteX3226" fmla="*/ 8173347 w 12191999"/>
              <a:gd name="connsiteY3226" fmla="*/ 1461069 h 4534608"/>
              <a:gd name="connsiteX3227" fmla="*/ 8173347 w 12191999"/>
              <a:gd name="connsiteY3227" fmla="*/ 1455579 h 4534608"/>
              <a:gd name="connsiteX3228" fmla="*/ 8042548 w 12191999"/>
              <a:gd name="connsiteY3228" fmla="*/ 1461069 h 4534608"/>
              <a:gd name="connsiteX3229" fmla="*/ 8042548 w 12191999"/>
              <a:gd name="connsiteY3229" fmla="*/ 1452571 h 4534608"/>
              <a:gd name="connsiteX3230" fmla="*/ 7911749 w 12191999"/>
              <a:gd name="connsiteY3230" fmla="*/ 1461069 h 4534608"/>
              <a:gd name="connsiteX3231" fmla="*/ 7911749 w 12191999"/>
              <a:gd name="connsiteY3231" fmla="*/ 1449303 h 4534608"/>
              <a:gd name="connsiteX3232" fmla="*/ 7781867 w 12191999"/>
              <a:gd name="connsiteY3232" fmla="*/ 1461069 h 4534608"/>
              <a:gd name="connsiteX3233" fmla="*/ 7781083 w 12191999"/>
              <a:gd name="connsiteY3233" fmla="*/ 1445903 h 4534608"/>
              <a:gd name="connsiteX3234" fmla="*/ 7651461 w 12191999"/>
              <a:gd name="connsiteY3234" fmla="*/ 1461069 h 4534608"/>
              <a:gd name="connsiteX3235" fmla="*/ 7650284 w 12191999"/>
              <a:gd name="connsiteY3235" fmla="*/ 1442241 h 4534608"/>
              <a:gd name="connsiteX3236" fmla="*/ 7521186 w 12191999"/>
              <a:gd name="connsiteY3236" fmla="*/ 1461069 h 4534608"/>
              <a:gd name="connsiteX3237" fmla="*/ 7519355 w 12191999"/>
              <a:gd name="connsiteY3237" fmla="*/ 1438188 h 4534608"/>
              <a:gd name="connsiteX3238" fmla="*/ 7390911 w 12191999"/>
              <a:gd name="connsiteY3238" fmla="*/ 1461069 h 4534608"/>
              <a:gd name="connsiteX3239" fmla="*/ 7388295 w 12191999"/>
              <a:gd name="connsiteY3239" fmla="*/ 1434004 h 4534608"/>
              <a:gd name="connsiteX3240" fmla="*/ 7260504 w 12191999"/>
              <a:gd name="connsiteY3240" fmla="*/ 1461069 h 4534608"/>
              <a:gd name="connsiteX3241" fmla="*/ 7256973 w 12191999"/>
              <a:gd name="connsiteY3241" fmla="*/ 1429560 h 4534608"/>
              <a:gd name="connsiteX3242" fmla="*/ 7130229 w 12191999"/>
              <a:gd name="connsiteY3242" fmla="*/ 1461069 h 4534608"/>
              <a:gd name="connsiteX3243" fmla="*/ 7125390 w 12191999"/>
              <a:gd name="connsiteY3243" fmla="*/ 1424722 h 4534608"/>
              <a:gd name="connsiteX3244" fmla="*/ 6999954 w 12191999"/>
              <a:gd name="connsiteY3244" fmla="*/ 1461069 h 4534608"/>
              <a:gd name="connsiteX3245" fmla="*/ 6993414 w 12191999"/>
              <a:gd name="connsiteY3245" fmla="*/ 1419623 h 4534608"/>
              <a:gd name="connsiteX3246" fmla="*/ 6869678 w 12191999"/>
              <a:gd name="connsiteY3246" fmla="*/ 1461069 h 4534608"/>
              <a:gd name="connsiteX3247" fmla="*/ 6861046 w 12191999"/>
              <a:gd name="connsiteY3247" fmla="*/ 1414262 h 4534608"/>
              <a:gd name="connsiteX3248" fmla="*/ 6739273 w 12191999"/>
              <a:gd name="connsiteY3248" fmla="*/ 1461069 h 4534608"/>
              <a:gd name="connsiteX3249" fmla="*/ 6728285 w 12191999"/>
              <a:gd name="connsiteY3249" fmla="*/ 1408771 h 4534608"/>
              <a:gd name="connsiteX3250" fmla="*/ 6608998 w 12191999"/>
              <a:gd name="connsiteY3250" fmla="*/ 1461069 h 4534608"/>
              <a:gd name="connsiteX3251" fmla="*/ 6595001 w 12191999"/>
              <a:gd name="connsiteY3251" fmla="*/ 1402756 h 4534608"/>
              <a:gd name="connsiteX3252" fmla="*/ 6478721 w 12191999"/>
              <a:gd name="connsiteY3252" fmla="*/ 1461069 h 4534608"/>
              <a:gd name="connsiteX3253" fmla="*/ 6461195 w 12191999"/>
              <a:gd name="connsiteY3253" fmla="*/ 1396742 h 4534608"/>
              <a:gd name="connsiteX3254" fmla="*/ 6348315 w 12191999"/>
              <a:gd name="connsiteY3254" fmla="*/ 1461069 h 4534608"/>
              <a:gd name="connsiteX3255" fmla="*/ 6326472 w 12191999"/>
              <a:gd name="connsiteY3255" fmla="*/ 1390728 h 4534608"/>
              <a:gd name="connsiteX3256" fmla="*/ 6218040 w 12191999"/>
              <a:gd name="connsiteY3256" fmla="*/ 1461069 h 4534608"/>
              <a:gd name="connsiteX3257" fmla="*/ 6191095 w 12191999"/>
              <a:gd name="connsiteY3257" fmla="*/ 1384715 h 4534608"/>
              <a:gd name="connsiteX3258" fmla="*/ 6087765 w 12191999"/>
              <a:gd name="connsiteY3258" fmla="*/ 1461069 h 4534608"/>
              <a:gd name="connsiteX3259" fmla="*/ 6055197 w 12191999"/>
              <a:gd name="connsiteY3259" fmla="*/ 1378962 h 4534608"/>
              <a:gd name="connsiteX3260" fmla="*/ 5957881 w 12191999"/>
              <a:gd name="connsiteY3260" fmla="*/ 1460938 h 4534608"/>
              <a:gd name="connsiteX3261" fmla="*/ 5918642 w 12191999"/>
              <a:gd name="connsiteY3261" fmla="*/ 1376085 h 4534608"/>
              <a:gd name="connsiteX3262" fmla="*/ 4911887 w 12191999"/>
              <a:gd name="connsiteY3262" fmla="*/ 1258414 h 4534608"/>
              <a:gd name="connsiteX3263" fmla="*/ 4968130 w 12191999"/>
              <a:gd name="connsiteY3263" fmla="*/ 1291101 h 4534608"/>
              <a:gd name="connsiteX3264" fmla="*/ 4914503 w 12191999"/>
              <a:gd name="connsiteY3264" fmla="*/ 1461069 h 4534608"/>
              <a:gd name="connsiteX3265" fmla="*/ 4858390 w 12191999"/>
              <a:gd name="connsiteY3265" fmla="*/ 1428383 h 4534608"/>
              <a:gd name="connsiteX3266" fmla="*/ 4625831 w 12191999"/>
              <a:gd name="connsiteY3266" fmla="*/ 1258414 h 4534608"/>
              <a:gd name="connsiteX3267" fmla="*/ 4686390 w 12191999"/>
              <a:gd name="connsiteY3267" fmla="*/ 1278026 h 4534608"/>
              <a:gd name="connsiteX3268" fmla="*/ 4654213 w 12191999"/>
              <a:gd name="connsiteY3268" fmla="*/ 1461069 h 4534608"/>
              <a:gd name="connsiteX3269" fmla="*/ 4593654 w 12191999"/>
              <a:gd name="connsiteY3269" fmla="*/ 1441457 h 4534608"/>
              <a:gd name="connsiteX3270" fmla="*/ 4482999 w 12191999"/>
              <a:gd name="connsiteY3270" fmla="*/ 1258414 h 4534608"/>
              <a:gd name="connsiteX3271" fmla="*/ 4545651 w 12191999"/>
              <a:gd name="connsiteY3271" fmla="*/ 1271489 h 4534608"/>
              <a:gd name="connsiteX3272" fmla="*/ 4523416 w 12191999"/>
              <a:gd name="connsiteY3272" fmla="*/ 1460677 h 4534608"/>
              <a:gd name="connsiteX3273" fmla="*/ 4461287 w 12191999"/>
              <a:gd name="connsiteY3273" fmla="*/ 1447994 h 4534608"/>
              <a:gd name="connsiteX3274" fmla="*/ 4196426 w 12191999"/>
              <a:gd name="connsiteY3274" fmla="*/ 1258414 h 4534608"/>
              <a:gd name="connsiteX3275" fmla="*/ 4263388 w 12191999"/>
              <a:gd name="connsiteY3275" fmla="*/ 1258414 h 4534608"/>
              <a:gd name="connsiteX3276" fmla="*/ 4263388 w 12191999"/>
              <a:gd name="connsiteY3276" fmla="*/ 1460677 h 4534608"/>
              <a:gd name="connsiteX3277" fmla="*/ 4261294 w 12191999"/>
              <a:gd name="connsiteY3277" fmla="*/ 1460677 h 4534608"/>
              <a:gd name="connsiteX3278" fmla="*/ 4261294 w 12191999"/>
              <a:gd name="connsiteY3278" fmla="*/ 1461075 h 4534608"/>
              <a:gd name="connsiteX3279" fmla="*/ 4194332 w 12191999"/>
              <a:gd name="connsiteY3279" fmla="*/ 1461075 h 4534608"/>
              <a:gd name="connsiteX3280" fmla="*/ 4194332 w 12191999"/>
              <a:gd name="connsiteY3280" fmla="*/ 1258420 h 4534608"/>
              <a:gd name="connsiteX3281" fmla="*/ 4196426 w 12191999"/>
              <a:gd name="connsiteY3281" fmla="*/ 1258420 h 4534608"/>
              <a:gd name="connsiteX3282" fmla="*/ 5342476 w 12191999"/>
              <a:gd name="connsiteY3282" fmla="*/ 1258284 h 4534608"/>
              <a:gd name="connsiteX3283" fmla="*/ 5392179 w 12191999"/>
              <a:gd name="connsiteY3283" fmla="*/ 1310582 h 4534608"/>
              <a:gd name="connsiteX3284" fmla="*/ 5306375 w 12191999"/>
              <a:gd name="connsiteY3284" fmla="*/ 1460677 h 4534608"/>
              <a:gd name="connsiteX3285" fmla="*/ 5256148 w 12191999"/>
              <a:gd name="connsiteY3285" fmla="*/ 1408771 h 4534608"/>
              <a:gd name="connsiteX3286" fmla="*/ 2972543 w 12191999"/>
              <a:gd name="connsiteY3286" fmla="*/ 1258160 h 4534608"/>
              <a:gd name="connsiteX3287" fmla="*/ 3069069 w 12191999"/>
              <a:gd name="connsiteY3287" fmla="*/ 1401979 h 4534608"/>
              <a:gd name="connsiteX3288" fmla="*/ 3021459 w 12191999"/>
              <a:gd name="connsiteY3288" fmla="*/ 1461075 h 4534608"/>
              <a:gd name="connsiteX3289" fmla="*/ 2924931 w 12191999"/>
              <a:gd name="connsiteY3289" fmla="*/ 1317256 h 4534608"/>
              <a:gd name="connsiteX3290" fmla="*/ 4118075 w 12191999"/>
              <a:gd name="connsiteY3290" fmla="*/ 1258029 h 4534608"/>
              <a:gd name="connsiteX3291" fmla="*/ 4128801 w 12191999"/>
              <a:gd name="connsiteY3291" fmla="*/ 1454147 h 4534608"/>
              <a:gd name="connsiteX3292" fmla="*/ 4064053 w 12191999"/>
              <a:gd name="connsiteY3292" fmla="*/ 1460683 h 4534608"/>
              <a:gd name="connsiteX3293" fmla="*/ 4053330 w 12191999"/>
              <a:gd name="connsiteY3293" fmla="*/ 1264566 h 4534608"/>
              <a:gd name="connsiteX3294" fmla="*/ 5198336 w 12191999"/>
              <a:gd name="connsiteY3294" fmla="*/ 1258023 h 4534608"/>
              <a:gd name="connsiteX3295" fmla="*/ 5250655 w 12191999"/>
              <a:gd name="connsiteY3295" fmla="*/ 1303784 h 4534608"/>
              <a:gd name="connsiteX3296" fmla="*/ 5175576 w 12191999"/>
              <a:gd name="connsiteY3296" fmla="*/ 1460677 h 4534608"/>
              <a:gd name="connsiteX3297" fmla="*/ 5123257 w 12191999"/>
              <a:gd name="connsiteY3297" fmla="*/ 1414916 h 4534608"/>
              <a:gd name="connsiteX3298" fmla="*/ 4337943 w 12191999"/>
              <a:gd name="connsiteY3298" fmla="*/ 1257892 h 4534608"/>
              <a:gd name="connsiteX3299" fmla="*/ 4403342 w 12191999"/>
              <a:gd name="connsiteY3299" fmla="*/ 1264430 h 4534608"/>
              <a:gd name="connsiteX3300" fmla="*/ 4392617 w 12191999"/>
              <a:gd name="connsiteY3300" fmla="*/ 1460546 h 4534608"/>
              <a:gd name="connsiteX3301" fmla="*/ 4327218 w 12191999"/>
              <a:gd name="connsiteY3301" fmla="*/ 1454010 h 4534608"/>
              <a:gd name="connsiteX3302" fmla="*/ 3688795 w 12191999"/>
              <a:gd name="connsiteY3302" fmla="*/ 1011575 h 4534608"/>
              <a:gd name="connsiteX3303" fmla="*/ 3731698 w 12191999"/>
              <a:gd name="connsiteY3303" fmla="*/ 1187559 h 4534608"/>
              <a:gd name="connsiteX3304" fmla="*/ 3673360 w 12191999"/>
              <a:gd name="connsiteY3304" fmla="*/ 1213837 h 4534608"/>
              <a:gd name="connsiteX3305" fmla="*/ 3630460 w 12191999"/>
              <a:gd name="connsiteY3305" fmla="*/ 1037724 h 4534608"/>
              <a:gd name="connsiteX3306" fmla="*/ 3402348 w 12191999"/>
              <a:gd name="connsiteY3306" fmla="*/ 1011575 h 4534608"/>
              <a:gd name="connsiteX3307" fmla="*/ 3466699 w 12191999"/>
              <a:gd name="connsiteY3307" fmla="*/ 1174484 h 4534608"/>
              <a:gd name="connsiteX3308" fmla="*/ 3412680 w 12191999"/>
              <a:gd name="connsiteY3308" fmla="*/ 1213837 h 4534608"/>
              <a:gd name="connsiteX3309" fmla="*/ 3348327 w 12191999"/>
              <a:gd name="connsiteY3309" fmla="*/ 1050801 h 4534608"/>
              <a:gd name="connsiteX3310" fmla="*/ 3974849 w 12191999"/>
              <a:gd name="connsiteY3310" fmla="*/ 1011444 h 4534608"/>
              <a:gd name="connsiteX3311" fmla="*/ 3996303 w 12191999"/>
              <a:gd name="connsiteY3311" fmla="*/ 1200502 h 4534608"/>
              <a:gd name="connsiteX3312" fmla="*/ 3933650 w 12191999"/>
              <a:gd name="connsiteY3312" fmla="*/ 1213706 h 4534608"/>
              <a:gd name="connsiteX3313" fmla="*/ 3912199 w 12191999"/>
              <a:gd name="connsiteY3313" fmla="*/ 1024519 h 4534608"/>
              <a:gd name="connsiteX3314" fmla="*/ 3115768 w 12191999"/>
              <a:gd name="connsiteY3314" fmla="*/ 1011444 h 4534608"/>
              <a:gd name="connsiteX3315" fmla="*/ 3201571 w 12191999"/>
              <a:gd name="connsiteY3315" fmla="*/ 1161410 h 4534608"/>
              <a:gd name="connsiteX3316" fmla="*/ 3151736 w 12191999"/>
              <a:gd name="connsiteY3316" fmla="*/ 1213706 h 4534608"/>
              <a:gd name="connsiteX3317" fmla="*/ 3066064 w 12191999"/>
              <a:gd name="connsiteY3317" fmla="*/ 1063744 h 4534608"/>
              <a:gd name="connsiteX3318" fmla="*/ 2829580 w 12191999"/>
              <a:gd name="connsiteY3318" fmla="*/ 1011444 h 4534608"/>
              <a:gd name="connsiteX3319" fmla="*/ 2936835 w 12191999"/>
              <a:gd name="connsiteY3319" fmla="*/ 1148335 h 4534608"/>
              <a:gd name="connsiteX3320" fmla="*/ 2891449 w 12191999"/>
              <a:gd name="connsiteY3320" fmla="*/ 1213837 h 4534608"/>
              <a:gd name="connsiteX3321" fmla="*/ 2784192 w 12191999"/>
              <a:gd name="connsiteY3321" fmla="*/ 1076818 h 4534608"/>
              <a:gd name="connsiteX3322" fmla="*/ 2542869 w 12191999"/>
              <a:gd name="connsiteY3322" fmla="*/ 1011444 h 4534608"/>
              <a:gd name="connsiteX3323" fmla="*/ 2671576 w 12191999"/>
              <a:gd name="connsiteY3323" fmla="*/ 1135261 h 4534608"/>
              <a:gd name="connsiteX3324" fmla="*/ 2630504 w 12191999"/>
              <a:gd name="connsiteY3324" fmla="*/ 1213837 h 4534608"/>
              <a:gd name="connsiteX3325" fmla="*/ 2501930 w 12191999"/>
              <a:gd name="connsiteY3325" fmla="*/ 1089893 h 4534608"/>
              <a:gd name="connsiteX3326" fmla="*/ 4911887 w 12191999"/>
              <a:gd name="connsiteY3326" fmla="*/ 1011439 h 4534608"/>
              <a:gd name="connsiteX3327" fmla="*/ 4966037 w 12191999"/>
              <a:gd name="connsiteY3327" fmla="*/ 1043602 h 4534608"/>
              <a:gd name="connsiteX3328" fmla="*/ 4912410 w 12191999"/>
              <a:gd name="connsiteY3328" fmla="*/ 1213570 h 4534608"/>
              <a:gd name="connsiteX3329" fmla="*/ 4858390 w 12191999"/>
              <a:gd name="connsiteY3329" fmla="*/ 1181406 h 4534608"/>
              <a:gd name="connsiteX3330" fmla="*/ 4196426 w 12191999"/>
              <a:gd name="connsiteY3330" fmla="*/ 1011439 h 4534608"/>
              <a:gd name="connsiteX3331" fmla="*/ 4263388 w 12191999"/>
              <a:gd name="connsiteY3331" fmla="*/ 1011439 h 4534608"/>
              <a:gd name="connsiteX3332" fmla="*/ 4263388 w 12191999"/>
              <a:gd name="connsiteY3332" fmla="*/ 1213570 h 4534608"/>
              <a:gd name="connsiteX3333" fmla="*/ 4261294 w 12191999"/>
              <a:gd name="connsiteY3333" fmla="*/ 1213570 h 4534608"/>
              <a:gd name="connsiteX3334" fmla="*/ 4261294 w 12191999"/>
              <a:gd name="connsiteY3334" fmla="*/ 1213576 h 4534608"/>
              <a:gd name="connsiteX3335" fmla="*/ 4194332 w 12191999"/>
              <a:gd name="connsiteY3335" fmla="*/ 1213576 h 4534608"/>
              <a:gd name="connsiteX3336" fmla="*/ 4194332 w 12191999"/>
              <a:gd name="connsiteY3336" fmla="*/ 1011837 h 4534608"/>
              <a:gd name="connsiteX3337" fmla="*/ 4196426 w 12191999"/>
              <a:gd name="connsiteY3337" fmla="*/ 1011837 h 4534608"/>
              <a:gd name="connsiteX3338" fmla="*/ 5340905 w 12191999"/>
              <a:gd name="connsiteY3338" fmla="*/ 1011308 h 4534608"/>
              <a:gd name="connsiteX3339" fmla="*/ 5390609 w 12191999"/>
              <a:gd name="connsiteY3339" fmla="*/ 1063606 h 4534608"/>
              <a:gd name="connsiteX3340" fmla="*/ 5304805 w 12191999"/>
              <a:gd name="connsiteY3340" fmla="*/ 1213570 h 4534608"/>
              <a:gd name="connsiteX3341" fmla="*/ 5255101 w 12191999"/>
              <a:gd name="connsiteY3341" fmla="*/ 1161273 h 4534608"/>
              <a:gd name="connsiteX3342" fmla="*/ 5053410 w 12191999"/>
              <a:gd name="connsiteY3342" fmla="*/ 1011308 h 4534608"/>
              <a:gd name="connsiteX3343" fmla="*/ 5107431 w 12191999"/>
              <a:gd name="connsiteY3343" fmla="*/ 1050531 h 4534608"/>
              <a:gd name="connsiteX3344" fmla="*/ 5043209 w 12191999"/>
              <a:gd name="connsiteY3344" fmla="*/ 1213570 h 4534608"/>
              <a:gd name="connsiteX3345" fmla="*/ 4989058 w 12191999"/>
              <a:gd name="connsiteY3345" fmla="*/ 1174215 h 4534608"/>
              <a:gd name="connsiteX3346" fmla="*/ 4767616 w 12191999"/>
              <a:gd name="connsiteY3346" fmla="*/ 1011308 h 4534608"/>
              <a:gd name="connsiteX3347" fmla="*/ 4825952 w 12191999"/>
              <a:gd name="connsiteY3347" fmla="*/ 1037457 h 4534608"/>
              <a:gd name="connsiteX3348" fmla="*/ 4783051 w 12191999"/>
              <a:gd name="connsiteY3348" fmla="*/ 1213570 h 4534608"/>
              <a:gd name="connsiteX3349" fmla="*/ 4724714 w 12191999"/>
              <a:gd name="connsiteY3349" fmla="*/ 1187290 h 4534608"/>
              <a:gd name="connsiteX3350" fmla="*/ 4482999 w 12191999"/>
              <a:gd name="connsiteY3350" fmla="*/ 1011308 h 4534608"/>
              <a:gd name="connsiteX3351" fmla="*/ 4545651 w 12191999"/>
              <a:gd name="connsiteY3351" fmla="*/ 1024383 h 4534608"/>
              <a:gd name="connsiteX3352" fmla="*/ 4523416 w 12191999"/>
              <a:gd name="connsiteY3352" fmla="*/ 1213570 h 4534608"/>
              <a:gd name="connsiteX3353" fmla="*/ 4461548 w 12191999"/>
              <a:gd name="connsiteY3353" fmla="*/ 1200365 h 4534608"/>
              <a:gd name="connsiteX3354" fmla="*/ 5913149 w 12191999"/>
              <a:gd name="connsiteY3354" fmla="*/ 1011178 h 4534608"/>
              <a:gd name="connsiteX3355" fmla="*/ 5954220 w 12191999"/>
              <a:gd name="connsiteY3355" fmla="*/ 1089625 h 4534608"/>
              <a:gd name="connsiteX3356" fmla="*/ 5825514 w 12191999"/>
              <a:gd name="connsiteY3356" fmla="*/ 1213570 h 4534608"/>
              <a:gd name="connsiteX3357" fmla="*/ 5784445 w 12191999"/>
              <a:gd name="connsiteY3357" fmla="*/ 1134993 h 4534608"/>
              <a:gd name="connsiteX3358" fmla="*/ 5769663 w 12191999"/>
              <a:gd name="connsiteY3358" fmla="*/ 1011178 h 4534608"/>
              <a:gd name="connsiteX3359" fmla="*/ 5812958 w 12191999"/>
              <a:gd name="connsiteY3359" fmla="*/ 1082826 h 4534608"/>
              <a:gd name="connsiteX3360" fmla="*/ 5695239 w 12191999"/>
              <a:gd name="connsiteY3360" fmla="*/ 1213570 h 4534608"/>
              <a:gd name="connsiteX3361" fmla="*/ 5651945 w 12191999"/>
              <a:gd name="connsiteY3361" fmla="*/ 1141922 h 4534608"/>
              <a:gd name="connsiteX3362" fmla="*/ 5626832 w 12191999"/>
              <a:gd name="connsiteY3362" fmla="*/ 1011178 h 4534608"/>
              <a:gd name="connsiteX3363" fmla="*/ 5672219 w 12191999"/>
              <a:gd name="connsiteY3363" fmla="*/ 1076550 h 4534608"/>
              <a:gd name="connsiteX3364" fmla="*/ 5564963 w 12191999"/>
              <a:gd name="connsiteY3364" fmla="*/ 1213570 h 4534608"/>
              <a:gd name="connsiteX3365" fmla="*/ 5519577 w 12191999"/>
              <a:gd name="connsiteY3365" fmla="*/ 1148067 h 4534608"/>
              <a:gd name="connsiteX3366" fmla="*/ 5483607 w 12191999"/>
              <a:gd name="connsiteY3366" fmla="*/ 1011178 h 4534608"/>
              <a:gd name="connsiteX3367" fmla="*/ 5531087 w 12191999"/>
              <a:gd name="connsiteY3367" fmla="*/ 1069751 h 4534608"/>
              <a:gd name="connsiteX3368" fmla="*/ 5434558 w 12191999"/>
              <a:gd name="connsiteY3368" fmla="*/ 1213570 h 4534608"/>
              <a:gd name="connsiteX3369" fmla="*/ 5387078 w 12191999"/>
              <a:gd name="connsiteY3369" fmla="*/ 1154996 h 4534608"/>
              <a:gd name="connsiteX3370" fmla="*/ 3832019 w 12191999"/>
              <a:gd name="connsiteY3370" fmla="*/ 1011053 h 4534608"/>
              <a:gd name="connsiteX3371" fmla="*/ 3864196 w 12191999"/>
              <a:gd name="connsiteY3371" fmla="*/ 1194096 h 4534608"/>
              <a:gd name="connsiteX3372" fmla="*/ 3803636 w 12191999"/>
              <a:gd name="connsiteY3372" fmla="*/ 1213576 h 4534608"/>
              <a:gd name="connsiteX3373" fmla="*/ 3771460 w 12191999"/>
              <a:gd name="connsiteY3373" fmla="*/ 1030533 h 4534608"/>
              <a:gd name="connsiteX3374" fmla="*/ 3545571 w 12191999"/>
              <a:gd name="connsiteY3374" fmla="*/ 1011053 h 4534608"/>
              <a:gd name="connsiteX3375" fmla="*/ 3599198 w 12191999"/>
              <a:gd name="connsiteY3375" fmla="*/ 1181021 h 4534608"/>
              <a:gd name="connsiteX3376" fmla="*/ 3542955 w 12191999"/>
              <a:gd name="connsiteY3376" fmla="*/ 1213576 h 4534608"/>
              <a:gd name="connsiteX3377" fmla="*/ 3489328 w 12191999"/>
              <a:gd name="connsiteY3377" fmla="*/ 1043607 h 4534608"/>
              <a:gd name="connsiteX3378" fmla="*/ 3258860 w 12191999"/>
              <a:gd name="connsiteY3378" fmla="*/ 1011053 h 4534608"/>
              <a:gd name="connsiteX3379" fmla="*/ 3333939 w 12191999"/>
              <a:gd name="connsiteY3379" fmla="*/ 1167947 h 4534608"/>
              <a:gd name="connsiteX3380" fmla="*/ 3281619 w 12191999"/>
              <a:gd name="connsiteY3380" fmla="*/ 1213576 h 4534608"/>
              <a:gd name="connsiteX3381" fmla="*/ 3206538 w 12191999"/>
              <a:gd name="connsiteY3381" fmla="*/ 1056684 h 4534608"/>
              <a:gd name="connsiteX3382" fmla="*/ 2972543 w 12191999"/>
              <a:gd name="connsiteY3382" fmla="*/ 1011053 h 4534608"/>
              <a:gd name="connsiteX3383" fmla="*/ 3069069 w 12191999"/>
              <a:gd name="connsiteY3383" fmla="*/ 1154873 h 4534608"/>
              <a:gd name="connsiteX3384" fmla="*/ 3021459 w 12191999"/>
              <a:gd name="connsiteY3384" fmla="*/ 1213446 h 4534608"/>
              <a:gd name="connsiteX3385" fmla="*/ 2924931 w 12191999"/>
              <a:gd name="connsiteY3385" fmla="*/ 1069628 h 4534608"/>
              <a:gd name="connsiteX3386" fmla="*/ 2686354 w 12191999"/>
              <a:gd name="connsiteY3386" fmla="*/ 1011053 h 4534608"/>
              <a:gd name="connsiteX3387" fmla="*/ 2804073 w 12191999"/>
              <a:gd name="connsiteY3387" fmla="*/ 1141798 h 4534608"/>
              <a:gd name="connsiteX3388" fmla="*/ 2760911 w 12191999"/>
              <a:gd name="connsiteY3388" fmla="*/ 1213446 h 4534608"/>
              <a:gd name="connsiteX3389" fmla="*/ 2643192 w 12191999"/>
              <a:gd name="connsiteY3389" fmla="*/ 1082702 h 4534608"/>
              <a:gd name="connsiteX3390" fmla="*/ 0 w 12191999"/>
              <a:gd name="connsiteY3390" fmla="*/ 1011053 h 4534608"/>
              <a:gd name="connsiteX3391" fmla="*/ 154501 w 12191999"/>
              <a:gd name="connsiteY3391" fmla="*/ 1011053 h 4534608"/>
              <a:gd name="connsiteX3392" fmla="*/ 154501 w 12191999"/>
              <a:gd name="connsiteY3392" fmla="*/ 1012883 h 4534608"/>
              <a:gd name="connsiteX3393" fmla="*/ 242397 w 12191999"/>
              <a:gd name="connsiteY3393" fmla="*/ 1016543 h 4534608"/>
              <a:gd name="connsiteX3394" fmla="*/ 252207 w 12191999"/>
              <a:gd name="connsiteY3394" fmla="*/ 1017197 h 4534608"/>
              <a:gd name="connsiteX3395" fmla="*/ 252207 w 12191999"/>
              <a:gd name="connsiteY3395" fmla="*/ 1011444 h 4534608"/>
              <a:gd name="connsiteX3396" fmla="*/ 394905 w 12191999"/>
              <a:gd name="connsiteY3396" fmla="*/ 1020727 h 4534608"/>
              <a:gd name="connsiteX3397" fmla="*/ 394905 w 12191999"/>
              <a:gd name="connsiteY3397" fmla="*/ 1011444 h 4534608"/>
              <a:gd name="connsiteX3398" fmla="*/ 537344 w 12191999"/>
              <a:gd name="connsiteY3398" fmla="*/ 1024519 h 4534608"/>
              <a:gd name="connsiteX3399" fmla="*/ 538128 w 12191999"/>
              <a:gd name="connsiteY3399" fmla="*/ 1011444 h 4534608"/>
              <a:gd name="connsiteX3400" fmla="*/ 680045 w 12191999"/>
              <a:gd name="connsiteY3400" fmla="*/ 1027918 h 4534608"/>
              <a:gd name="connsiteX3401" fmla="*/ 681353 w 12191999"/>
              <a:gd name="connsiteY3401" fmla="*/ 1011444 h 4534608"/>
              <a:gd name="connsiteX3402" fmla="*/ 822616 w 12191999"/>
              <a:gd name="connsiteY3402" fmla="*/ 1031971 h 4534608"/>
              <a:gd name="connsiteX3403" fmla="*/ 824578 w 12191999"/>
              <a:gd name="connsiteY3403" fmla="*/ 1011444 h 4534608"/>
              <a:gd name="connsiteX3404" fmla="*/ 964922 w 12191999"/>
              <a:gd name="connsiteY3404" fmla="*/ 1036285 h 4534608"/>
              <a:gd name="connsiteX3405" fmla="*/ 967799 w 12191999"/>
              <a:gd name="connsiteY3405" fmla="*/ 1011444 h 4534608"/>
              <a:gd name="connsiteX3406" fmla="*/ 1106968 w 12191999"/>
              <a:gd name="connsiteY3406" fmla="*/ 1040862 h 4534608"/>
              <a:gd name="connsiteX3407" fmla="*/ 1110888 w 12191999"/>
              <a:gd name="connsiteY3407" fmla="*/ 1011444 h 4534608"/>
              <a:gd name="connsiteX3408" fmla="*/ 1248748 w 12191999"/>
              <a:gd name="connsiteY3408" fmla="*/ 1045700 h 4534608"/>
              <a:gd name="connsiteX3409" fmla="*/ 1254113 w 12191999"/>
              <a:gd name="connsiteY3409" fmla="*/ 1011444 h 4534608"/>
              <a:gd name="connsiteX3410" fmla="*/ 1390141 w 12191999"/>
              <a:gd name="connsiteY3410" fmla="*/ 1050671 h 4534608"/>
              <a:gd name="connsiteX3411" fmla="*/ 1397336 w 12191999"/>
              <a:gd name="connsiteY3411" fmla="*/ 1011444 h 4534608"/>
              <a:gd name="connsiteX3412" fmla="*/ 1531144 w 12191999"/>
              <a:gd name="connsiteY3412" fmla="*/ 1055769 h 4534608"/>
              <a:gd name="connsiteX3413" fmla="*/ 1541345 w 12191999"/>
              <a:gd name="connsiteY3413" fmla="*/ 1011444 h 4534608"/>
              <a:gd name="connsiteX3414" fmla="*/ 1672144 w 12191999"/>
              <a:gd name="connsiteY3414" fmla="*/ 1061783 h 4534608"/>
              <a:gd name="connsiteX3415" fmla="*/ 1684177 w 12191999"/>
              <a:gd name="connsiteY3415" fmla="*/ 1011444 h 4534608"/>
              <a:gd name="connsiteX3416" fmla="*/ 1811966 w 12191999"/>
              <a:gd name="connsiteY3416" fmla="*/ 1067536 h 4534608"/>
              <a:gd name="connsiteX3417" fmla="*/ 1826878 w 12191999"/>
              <a:gd name="connsiteY3417" fmla="*/ 1011444 h 4534608"/>
              <a:gd name="connsiteX3418" fmla="*/ 1950876 w 12191999"/>
              <a:gd name="connsiteY3418" fmla="*/ 1073419 h 4534608"/>
              <a:gd name="connsiteX3419" fmla="*/ 1970103 w 12191999"/>
              <a:gd name="connsiteY3419" fmla="*/ 1011444 h 4534608"/>
              <a:gd name="connsiteX3420" fmla="*/ 2089260 w 12191999"/>
              <a:gd name="connsiteY3420" fmla="*/ 1079303 h 4534608"/>
              <a:gd name="connsiteX3421" fmla="*/ 2112805 w 12191999"/>
              <a:gd name="connsiteY3421" fmla="*/ 1011444 h 4534608"/>
              <a:gd name="connsiteX3422" fmla="*/ 2227908 w 12191999"/>
              <a:gd name="connsiteY3422" fmla="*/ 1084664 h 4534608"/>
              <a:gd name="connsiteX3423" fmla="*/ 2257599 w 12191999"/>
              <a:gd name="connsiteY3423" fmla="*/ 1011053 h 4534608"/>
              <a:gd name="connsiteX3424" fmla="*/ 2364592 w 12191999"/>
              <a:gd name="connsiteY3424" fmla="*/ 1089502 h 4534608"/>
              <a:gd name="connsiteX3425" fmla="*/ 2400822 w 12191999"/>
              <a:gd name="connsiteY3425" fmla="*/ 1011053 h 4534608"/>
              <a:gd name="connsiteX3426" fmla="*/ 2540121 w 12191999"/>
              <a:gd name="connsiteY3426" fmla="*/ 1128723 h 4534608"/>
              <a:gd name="connsiteX3427" fmla="*/ 2500884 w 12191999"/>
              <a:gd name="connsiteY3427" fmla="*/ 1213576 h 4534608"/>
              <a:gd name="connsiteX3428" fmla="*/ 2403568 w 12191999"/>
              <a:gd name="connsiteY3428" fmla="*/ 1131601 h 4534608"/>
              <a:gd name="connsiteX3429" fmla="*/ 2370606 w 12191999"/>
              <a:gd name="connsiteY3429" fmla="*/ 1213576 h 4534608"/>
              <a:gd name="connsiteX3430" fmla="*/ 2267277 w 12191999"/>
              <a:gd name="connsiteY3430" fmla="*/ 1137223 h 4534608"/>
              <a:gd name="connsiteX3431" fmla="*/ 2240199 w 12191999"/>
              <a:gd name="connsiteY3431" fmla="*/ 1213576 h 4534608"/>
              <a:gd name="connsiteX3432" fmla="*/ 2131770 w 12191999"/>
              <a:gd name="connsiteY3432" fmla="*/ 1143237 h 4534608"/>
              <a:gd name="connsiteX3433" fmla="*/ 2109927 w 12191999"/>
              <a:gd name="connsiteY3433" fmla="*/ 1213576 h 4534608"/>
              <a:gd name="connsiteX3434" fmla="*/ 1997178 w 12191999"/>
              <a:gd name="connsiteY3434" fmla="*/ 1149250 h 4534608"/>
              <a:gd name="connsiteX3435" fmla="*/ 1979651 w 12191999"/>
              <a:gd name="connsiteY3435" fmla="*/ 1213576 h 4534608"/>
              <a:gd name="connsiteX3436" fmla="*/ 1863240 w 12191999"/>
              <a:gd name="connsiteY3436" fmla="*/ 1155264 h 4534608"/>
              <a:gd name="connsiteX3437" fmla="*/ 1849376 w 12191999"/>
              <a:gd name="connsiteY3437" fmla="*/ 1213576 h 4534608"/>
              <a:gd name="connsiteX3438" fmla="*/ 1729956 w 12191999"/>
              <a:gd name="connsiteY3438" fmla="*/ 1161279 h 4534608"/>
              <a:gd name="connsiteX3439" fmla="*/ 1718970 w 12191999"/>
              <a:gd name="connsiteY3439" fmla="*/ 1213576 h 4534608"/>
              <a:gd name="connsiteX3440" fmla="*/ 1597195 w 12191999"/>
              <a:gd name="connsiteY3440" fmla="*/ 1166769 h 4534608"/>
              <a:gd name="connsiteX3441" fmla="*/ 1588694 w 12191999"/>
              <a:gd name="connsiteY3441" fmla="*/ 1213576 h 4534608"/>
              <a:gd name="connsiteX3442" fmla="*/ 1464959 w 12191999"/>
              <a:gd name="connsiteY3442" fmla="*/ 1172131 h 4534608"/>
              <a:gd name="connsiteX3443" fmla="*/ 1458420 w 12191999"/>
              <a:gd name="connsiteY3443" fmla="*/ 1213576 h 4534608"/>
              <a:gd name="connsiteX3444" fmla="*/ 1332983 w 12191999"/>
              <a:gd name="connsiteY3444" fmla="*/ 1177230 h 4534608"/>
              <a:gd name="connsiteX3445" fmla="*/ 1328013 w 12191999"/>
              <a:gd name="connsiteY3445" fmla="*/ 1213576 h 4534608"/>
              <a:gd name="connsiteX3446" fmla="*/ 1200877 w 12191999"/>
              <a:gd name="connsiteY3446" fmla="*/ 1182067 h 4534608"/>
              <a:gd name="connsiteX3447" fmla="*/ 1197214 w 12191999"/>
              <a:gd name="connsiteY3447" fmla="*/ 1213576 h 4534608"/>
              <a:gd name="connsiteX3448" fmla="*/ 1069037 w 12191999"/>
              <a:gd name="connsiteY3448" fmla="*/ 1186512 h 4534608"/>
              <a:gd name="connsiteX3449" fmla="*/ 1066421 w 12191999"/>
              <a:gd name="connsiteY3449" fmla="*/ 1213576 h 4534608"/>
              <a:gd name="connsiteX3450" fmla="*/ 937977 w 12191999"/>
              <a:gd name="connsiteY3450" fmla="*/ 1190696 h 4534608"/>
              <a:gd name="connsiteX3451" fmla="*/ 936278 w 12191999"/>
              <a:gd name="connsiteY3451" fmla="*/ 1213576 h 4534608"/>
              <a:gd name="connsiteX3452" fmla="*/ 807050 w 12191999"/>
              <a:gd name="connsiteY3452" fmla="*/ 1194749 h 4534608"/>
              <a:gd name="connsiteX3453" fmla="*/ 805873 w 12191999"/>
              <a:gd name="connsiteY3453" fmla="*/ 1213576 h 4534608"/>
              <a:gd name="connsiteX3454" fmla="*/ 676383 w 12191999"/>
              <a:gd name="connsiteY3454" fmla="*/ 1198410 h 4534608"/>
              <a:gd name="connsiteX3455" fmla="*/ 675597 w 12191999"/>
              <a:gd name="connsiteY3455" fmla="*/ 1213576 h 4534608"/>
              <a:gd name="connsiteX3456" fmla="*/ 545715 w 12191999"/>
              <a:gd name="connsiteY3456" fmla="*/ 1201809 h 4534608"/>
              <a:gd name="connsiteX3457" fmla="*/ 545715 w 12191999"/>
              <a:gd name="connsiteY3457" fmla="*/ 1213576 h 4534608"/>
              <a:gd name="connsiteX3458" fmla="*/ 415570 w 12191999"/>
              <a:gd name="connsiteY3458" fmla="*/ 1205078 h 4534608"/>
              <a:gd name="connsiteX3459" fmla="*/ 415570 w 12191999"/>
              <a:gd name="connsiteY3459" fmla="*/ 1213576 h 4534608"/>
              <a:gd name="connsiteX3460" fmla="*/ 285426 w 12191999"/>
              <a:gd name="connsiteY3460" fmla="*/ 1208084 h 4534608"/>
              <a:gd name="connsiteX3461" fmla="*/ 285426 w 12191999"/>
              <a:gd name="connsiteY3461" fmla="*/ 1213576 h 4534608"/>
              <a:gd name="connsiteX3462" fmla="*/ 154631 w 12191999"/>
              <a:gd name="connsiteY3462" fmla="*/ 1210961 h 4534608"/>
              <a:gd name="connsiteX3463" fmla="*/ 154631 w 12191999"/>
              <a:gd name="connsiteY3463" fmla="*/ 1213576 h 4534608"/>
              <a:gd name="connsiteX3464" fmla="*/ 0 w 12191999"/>
              <a:gd name="connsiteY3464" fmla="*/ 1213576 h 4534608"/>
              <a:gd name="connsiteX3465" fmla="*/ 6058074 w 12191999"/>
              <a:gd name="connsiteY3465" fmla="*/ 1011047 h 4534608"/>
              <a:gd name="connsiteX3466" fmla="*/ 6094305 w 12191999"/>
              <a:gd name="connsiteY3466" fmla="*/ 1089494 h 4534608"/>
              <a:gd name="connsiteX3467" fmla="*/ 6201298 w 12191999"/>
              <a:gd name="connsiteY3467" fmla="*/ 1011047 h 4534608"/>
              <a:gd name="connsiteX3468" fmla="*/ 6230859 w 12191999"/>
              <a:gd name="connsiteY3468" fmla="*/ 1084656 h 4534608"/>
              <a:gd name="connsiteX3469" fmla="*/ 6344393 w 12191999"/>
              <a:gd name="connsiteY3469" fmla="*/ 1011047 h 4534608"/>
              <a:gd name="connsiteX3470" fmla="*/ 6368459 w 12191999"/>
              <a:gd name="connsiteY3470" fmla="*/ 1078903 h 4534608"/>
              <a:gd name="connsiteX3471" fmla="*/ 6487616 w 12191999"/>
              <a:gd name="connsiteY3471" fmla="*/ 1011047 h 4534608"/>
              <a:gd name="connsiteX3472" fmla="*/ 6506974 w 12191999"/>
              <a:gd name="connsiteY3472" fmla="*/ 1073020 h 4534608"/>
              <a:gd name="connsiteX3473" fmla="*/ 6630841 w 12191999"/>
              <a:gd name="connsiteY3473" fmla="*/ 1011047 h 4534608"/>
              <a:gd name="connsiteX3474" fmla="*/ 6646144 w 12191999"/>
              <a:gd name="connsiteY3474" fmla="*/ 1067137 h 4534608"/>
              <a:gd name="connsiteX3475" fmla="*/ 6774064 w 12191999"/>
              <a:gd name="connsiteY3475" fmla="*/ 1011047 h 4534608"/>
              <a:gd name="connsiteX3476" fmla="*/ 6786097 w 12191999"/>
              <a:gd name="connsiteY3476" fmla="*/ 1061384 h 4534608"/>
              <a:gd name="connsiteX3477" fmla="*/ 6916896 w 12191999"/>
              <a:gd name="connsiteY3477" fmla="*/ 1011047 h 4534608"/>
              <a:gd name="connsiteX3478" fmla="*/ 6926183 w 12191999"/>
              <a:gd name="connsiteY3478" fmla="*/ 1055762 h 4534608"/>
              <a:gd name="connsiteX3479" fmla="*/ 7060383 w 12191999"/>
              <a:gd name="connsiteY3479" fmla="*/ 1011439 h 4534608"/>
              <a:gd name="connsiteX3480" fmla="*/ 7067445 w 12191999"/>
              <a:gd name="connsiteY3480" fmla="*/ 1050663 h 4534608"/>
              <a:gd name="connsiteX3481" fmla="*/ 7203476 w 12191999"/>
              <a:gd name="connsiteY3481" fmla="*/ 1011439 h 4534608"/>
              <a:gd name="connsiteX3482" fmla="*/ 7208969 w 12191999"/>
              <a:gd name="connsiteY3482" fmla="*/ 1045694 h 4534608"/>
              <a:gd name="connsiteX3483" fmla="*/ 7346701 w 12191999"/>
              <a:gd name="connsiteY3483" fmla="*/ 1011439 h 4534608"/>
              <a:gd name="connsiteX3484" fmla="*/ 7350756 w 12191999"/>
              <a:gd name="connsiteY3484" fmla="*/ 1040856 h 4534608"/>
              <a:gd name="connsiteX3485" fmla="*/ 7489924 w 12191999"/>
              <a:gd name="connsiteY3485" fmla="*/ 1011439 h 4534608"/>
              <a:gd name="connsiteX3486" fmla="*/ 7492803 w 12191999"/>
              <a:gd name="connsiteY3486" fmla="*/ 1036280 h 4534608"/>
              <a:gd name="connsiteX3487" fmla="*/ 7633149 w 12191999"/>
              <a:gd name="connsiteY3487" fmla="*/ 1011439 h 4534608"/>
              <a:gd name="connsiteX3488" fmla="*/ 7635111 w 12191999"/>
              <a:gd name="connsiteY3488" fmla="*/ 1031966 h 4534608"/>
              <a:gd name="connsiteX3489" fmla="*/ 7776374 w 12191999"/>
              <a:gd name="connsiteY3489" fmla="*/ 1011439 h 4534608"/>
              <a:gd name="connsiteX3490" fmla="*/ 7777681 w 12191999"/>
              <a:gd name="connsiteY3490" fmla="*/ 1027912 h 4534608"/>
              <a:gd name="connsiteX3491" fmla="*/ 7920121 w 12191999"/>
              <a:gd name="connsiteY3491" fmla="*/ 1011178 h 4534608"/>
              <a:gd name="connsiteX3492" fmla="*/ 7921036 w 12191999"/>
              <a:gd name="connsiteY3492" fmla="*/ 1024252 h 4534608"/>
              <a:gd name="connsiteX3493" fmla="*/ 8063346 w 12191999"/>
              <a:gd name="connsiteY3493" fmla="*/ 1011178 h 4534608"/>
              <a:gd name="connsiteX3494" fmla="*/ 8063346 w 12191999"/>
              <a:gd name="connsiteY3494" fmla="*/ 1020460 h 4534608"/>
              <a:gd name="connsiteX3495" fmla="*/ 8206046 w 12191999"/>
              <a:gd name="connsiteY3495" fmla="*/ 1011178 h 4534608"/>
              <a:gd name="connsiteX3496" fmla="*/ 8206046 w 12191999"/>
              <a:gd name="connsiteY3496" fmla="*/ 1016930 h 4534608"/>
              <a:gd name="connsiteX3497" fmla="*/ 8215202 w 12191999"/>
              <a:gd name="connsiteY3497" fmla="*/ 1016930 h 4534608"/>
              <a:gd name="connsiteX3498" fmla="*/ 8303100 w 12191999"/>
              <a:gd name="connsiteY3498" fmla="*/ 1013269 h 4534608"/>
              <a:gd name="connsiteX3499" fmla="*/ 8303100 w 12191999"/>
              <a:gd name="connsiteY3499" fmla="*/ 1011439 h 4534608"/>
              <a:gd name="connsiteX3500" fmla="*/ 12190037 w 12191999"/>
              <a:gd name="connsiteY3500" fmla="*/ 1011439 h 4534608"/>
              <a:gd name="connsiteX3501" fmla="*/ 12190037 w 12191999"/>
              <a:gd name="connsiteY3501" fmla="*/ 1213570 h 4534608"/>
              <a:gd name="connsiteX3502" fmla="*/ 8301529 w 12191999"/>
              <a:gd name="connsiteY3502" fmla="*/ 1213570 h 4534608"/>
              <a:gd name="connsiteX3503" fmla="*/ 8304145 w 12191999"/>
              <a:gd name="connsiteY3503" fmla="*/ 1210955 h 4534608"/>
              <a:gd name="connsiteX3504" fmla="*/ 8173347 w 12191999"/>
              <a:gd name="connsiteY3504" fmla="*/ 1213570 h 4534608"/>
              <a:gd name="connsiteX3505" fmla="*/ 8173347 w 12191999"/>
              <a:gd name="connsiteY3505" fmla="*/ 1208078 h 4534608"/>
              <a:gd name="connsiteX3506" fmla="*/ 8042548 w 12191999"/>
              <a:gd name="connsiteY3506" fmla="*/ 1213570 h 4534608"/>
              <a:gd name="connsiteX3507" fmla="*/ 8042548 w 12191999"/>
              <a:gd name="connsiteY3507" fmla="*/ 1205072 h 4534608"/>
              <a:gd name="connsiteX3508" fmla="*/ 7911749 w 12191999"/>
              <a:gd name="connsiteY3508" fmla="*/ 1213570 h 4534608"/>
              <a:gd name="connsiteX3509" fmla="*/ 7911749 w 12191999"/>
              <a:gd name="connsiteY3509" fmla="*/ 1201803 h 4534608"/>
              <a:gd name="connsiteX3510" fmla="*/ 7781867 w 12191999"/>
              <a:gd name="connsiteY3510" fmla="*/ 1213570 h 4534608"/>
              <a:gd name="connsiteX3511" fmla="*/ 7781083 w 12191999"/>
              <a:gd name="connsiteY3511" fmla="*/ 1198404 h 4534608"/>
              <a:gd name="connsiteX3512" fmla="*/ 7651461 w 12191999"/>
              <a:gd name="connsiteY3512" fmla="*/ 1213570 h 4534608"/>
              <a:gd name="connsiteX3513" fmla="*/ 7650284 w 12191999"/>
              <a:gd name="connsiteY3513" fmla="*/ 1194742 h 4534608"/>
              <a:gd name="connsiteX3514" fmla="*/ 7521186 w 12191999"/>
              <a:gd name="connsiteY3514" fmla="*/ 1213570 h 4534608"/>
              <a:gd name="connsiteX3515" fmla="*/ 7519355 w 12191999"/>
              <a:gd name="connsiteY3515" fmla="*/ 1190689 h 4534608"/>
              <a:gd name="connsiteX3516" fmla="*/ 7390911 w 12191999"/>
              <a:gd name="connsiteY3516" fmla="*/ 1213570 h 4534608"/>
              <a:gd name="connsiteX3517" fmla="*/ 7388295 w 12191999"/>
              <a:gd name="connsiteY3517" fmla="*/ 1186505 h 4534608"/>
              <a:gd name="connsiteX3518" fmla="*/ 7260243 w 12191999"/>
              <a:gd name="connsiteY3518" fmla="*/ 1213570 h 4534608"/>
              <a:gd name="connsiteX3519" fmla="*/ 7256712 w 12191999"/>
              <a:gd name="connsiteY3519" fmla="*/ 1182061 h 4534608"/>
              <a:gd name="connsiteX3520" fmla="*/ 7129968 w 12191999"/>
              <a:gd name="connsiteY3520" fmla="*/ 1213570 h 4534608"/>
              <a:gd name="connsiteX3521" fmla="*/ 7125129 w 12191999"/>
              <a:gd name="connsiteY3521" fmla="*/ 1177223 h 4534608"/>
              <a:gd name="connsiteX3522" fmla="*/ 6999693 w 12191999"/>
              <a:gd name="connsiteY3522" fmla="*/ 1213570 h 4534608"/>
              <a:gd name="connsiteX3523" fmla="*/ 6993152 w 12191999"/>
              <a:gd name="connsiteY3523" fmla="*/ 1172124 h 4534608"/>
              <a:gd name="connsiteX3524" fmla="*/ 6869416 w 12191999"/>
              <a:gd name="connsiteY3524" fmla="*/ 1213570 h 4534608"/>
              <a:gd name="connsiteX3525" fmla="*/ 6860785 w 12191999"/>
              <a:gd name="connsiteY3525" fmla="*/ 1166763 h 4534608"/>
              <a:gd name="connsiteX3526" fmla="*/ 6739664 w 12191999"/>
              <a:gd name="connsiteY3526" fmla="*/ 1213570 h 4534608"/>
              <a:gd name="connsiteX3527" fmla="*/ 6728678 w 12191999"/>
              <a:gd name="connsiteY3527" fmla="*/ 1161273 h 4534608"/>
              <a:gd name="connsiteX3528" fmla="*/ 6609391 w 12191999"/>
              <a:gd name="connsiteY3528" fmla="*/ 1213570 h 4534608"/>
              <a:gd name="connsiteX3529" fmla="*/ 6595394 w 12191999"/>
              <a:gd name="connsiteY3529" fmla="*/ 1155257 h 4534608"/>
              <a:gd name="connsiteX3530" fmla="*/ 6479114 w 12191999"/>
              <a:gd name="connsiteY3530" fmla="*/ 1213570 h 4534608"/>
              <a:gd name="connsiteX3531" fmla="*/ 6461586 w 12191999"/>
              <a:gd name="connsiteY3531" fmla="*/ 1149243 h 4534608"/>
              <a:gd name="connsiteX3532" fmla="*/ 6348708 w 12191999"/>
              <a:gd name="connsiteY3532" fmla="*/ 1213570 h 4534608"/>
              <a:gd name="connsiteX3533" fmla="*/ 6326865 w 12191999"/>
              <a:gd name="connsiteY3533" fmla="*/ 1143230 h 4534608"/>
              <a:gd name="connsiteX3534" fmla="*/ 6218433 w 12191999"/>
              <a:gd name="connsiteY3534" fmla="*/ 1213570 h 4534608"/>
              <a:gd name="connsiteX3535" fmla="*/ 6191488 w 12191999"/>
              <a:gd name="connsiteY3535" fmla="*/ 1137216 h 4534608"/>
              <a:gd name="connsiteX3536" fmla="*/ 6088158 w 12191999"/>
              <a:gd name="connsiteY3536" fmla="*/ 1213570 h 4534608"/>
              <a:gd name="connsiteX3537" fmla="*/ 6055197 w 12191999"/>
              <a:gd name="connsiteY3537" fmla="*/ 1131594 h 4534608"/>
              <a:gd name="connsiteX3538" fmla="*/ 5957881 w 12191999"/>
              <a:gd name="connsiteY3538" fmla="*/ 1213570 h 4534608"/>
              <a:gd name="connsiteX3539" fmla="*/ 5918642 w 12191999"/>
              <a:gd name="connsiteY3539" fmla="*/ 1128717 h 4534608"/>
              <a:gd name="connsiteX3540" fmla="*/ 5196767 w 12191999"/>
              <a:gd name="connsiteY3540" fmla="*/ 1011047 h 4534608"/>
              <a:gd name="connsiteX3541" fmla="*/ 5249086 w 12191999"/>
              <a:gd name="connsiteY3541" fmla="*/ 1056677 h 4534608"/>
              <a:gd name="connsiteX3542" fmla="*/ 5174007 w 12191999"/>
              <a:gd name="connsiteY3542" fmla="*/ 1213570 h 4534608"/>
              <a:gd name="connsiteX3543" fmla="*/ 5121687 w 12191999"/>
              <a:gd name="connsiteY3543" fmla="*/ 1167940 h 4534608"/>
              <a:gd name="connsiteX3544" fmla="*/ 4623868 w 12191999"/>
              <a:gd name="connsiteY3544" fmla="*/ 1011047 h 4534608"/>
              <a:gd name="connsiteX3545" fmla="*/ 4684428 w 12191999"/>
              <a:gd name="connsiteY3545" fmla="*/ 1030527 h 4534608"/>
              <a:gd name="connsiteX3546" fmla="*/ 4652253 w 12191999"/>
              <a:gd name="connsiteY3546" fmla="*/ 1213570 h 4534608"/>
              <a:gd name="connsiteX3547" fmla="*/ 4591692 w 12191999"/>
              <a:gd name="connsiteY3547" fmla="*/ 1194089 h 4534608"/>
              <a:gd name="connsiteX3548" fmla="*/ 4337943 w 12191999"/>
              <a:gd name="connsiteY3548" fmla="*/ 1011047 h 4534608"/>
              <a:gd name="connsiteX3549" fmla="*/ 4403342 w 12191999"/>
              <a:gd name="connsiteY3549" fmla="*/ 1017452 h 4534608"/>
              <a:gd name="connsiteX3550" fmla="*/ 4392617 w 12191999"/>
              <a:gd name="connsiteY3550" fmla="*/ 1213570 h 4534608"/>
              <a:gd name="connsiteX3551" fmla="*/ 4327218 w 12191999"/>
              <a:gd name="connsiteY3551" fmla="*/ 1207163 h 4534608"/>
              <a:gd name="connsiteX3552" fmla="*/ 4118075 w 12191999"/>
              <a:gd name="connsiteY3552" fmla="*/ 1010921 h 4534608"/>
              <a:gd name="connsiteX3553" fmla="*/ 4128801 w 12191999"/>
              <a:gd name="connsiteY3553" fmla="*/ 1207039 h 4534608"/>
              <a:gd name="connsiteX3554" fmla="*/ 4064053 w 12191999"/>
              <a:gd name="connsiteY3554" fmla="*/ 1213446 h 4534608"/>
              <a:gd name="connsiteX3555" fmla="*/ 4053330 w 12191999"/>
              <a:gd name="connsiteY3555" fmla="*/ 1017328 h 4534608"/>
              <a:gd name="connsiteX3556" fmla="*/ 3688795 w 12191999"/>
              <a:gd name="connsiteY3556" fmla="*/ 758454 h 4534608"/>
              <a:gd name="connsiteX3557" fmla="*/ 3731698 w 12191999"/>
              <a:gd name="connsiteY3557" fmla="*/ 934567 h 4534608"/>
              <a:gd name="connsiteX3558" fmla="*/ 3673360 w 12191999"/>
              <a:gd name="connsiteY3558" fmla="*/ 960716 h 4534608"/>
              <a:gd name="connsiteX3559" fmla="*/ 3630460 w 12191999"/>
              <a:gd name="connsiteY3559" fmla="*/ 784603 h 4534608"/>
              <a:gd name="connsiteX3560" fmla="*/ 3402348 w 12191999"/>
              <a:gd name="connsiteY3560" fmla="*/ 758454 h 4534608"/>
              <a:gd name="connsiteX3561" fmla="*/ 3466699 w 12191999"/>
              <a:gd name="connsiteY3561" fmla="*/ 921492 h 4534608"/>
              <a:gd name="connsiteX3562" fmla="*/ 3412680 w 12191999"/>
              <a:gd name="connsiteY3562" fmla="*/ 960716 h 4534608"/>
              <a:gd name="connsiteX3563" fmla="*/ 3348327 w 12191999"/>
              <a:gd name="connsiteY3563" fmla="*/ 797678 h 4534608"/>
              <a:gd name="connsiteX3564" fmla="*/ 3974849 w 12191999"/>
              <a:gd name="connsiteY3564" fmla="*/ 758324 h 4534608"/>
              <a:gd name="connsiteX3565" fmla="*/ 3996303 w 12191999"/>
              <a:gd name="connsiteY3565" fmla="*/ 947511 h 4534608"/>
              <a:gd name="connsiteX3566" fmla="*/ 3933650 w 12191999"/>
              <a:gd name="connsiteY3566" fmla="*/ 960584 h 4534608"/>
              <a:gd name="connsiteX3567" fmla="*/ 3912199 w 12191999"/>
              <a:gd name="connsiteY3567" fmla="*/ 771398 h 4534608"/>
              <a:gd name="connsiteX3568" fmla="*/ 3115768 w 12191999"/>
              <a:gd name="connsiteY3568" fmla="*/ 758324 h 4534608"/>
              <a:gd name="connsiteX3569" fmla="*/ 3201571 w 12191999"/>
              <a:gd name="connsiteY3569" fmla="*/ 908418 h 4534608"/>
              <a:gd name="connsiteX3570" fmla="*/ 3151736 w 12191999"/>
              <a:gd name="connsiteY3570" fmla="*/ 960716 h 4534608"/>
              <a:gd name="connsiteX3571" fmla="*/ 3066064 w 12191999"/>
              <a:gd name="connsiteY3571" fmla="*/ 810622 h 4534608"/>
              <a:gd name="connsiteX3572" fmla="*/ 2829580 w 12191999"/>
              <a:gd name="connsiteY3572" fmla="*/ 758324 h 4534608"/>
              <a:gd name="connsiteX3573" fmla="*/ 2936835 w 12191999"/>
              <a:gd name="connsiteY3573" fmla="*/ 895343 h 4534608"/>
              <a:gd name="connsiteX3574" fmla="*/ 2891449 w 12191999"/>
              <a:gd name="connsiteY3574" fmla="*/ 960716 h 4534608"/>
              <a:gd name="connsiteX3575" fmla="*/ 2784192 w 12191999"/>
              <a:gd name="connsiteY3575" fmla="*/ 823694 h 4534608"/>
              <a:gd name="connsiteX3576" fmla="*/ 5053410 w 12191999"/>
              <a:gd name="connsiteY3576" fmla="*/ 758317 h 4534608"/>
              <a:gd name="connsiteX3577" fmla="*/ 5107431 w 12191999"/>
              <a:gd name="connsiteY3577" fmla="*/ 797541 h 4534608"/>
              <a:gd name="connsiteX3578" fmla="*/ 5043209 w 12191999"/>
              <a:gd name="connsiteY3578" fmla="*/ 960578 h 4534608"/>
              <a:gd name="connsiteX3579" fmla="*/ 4989058 w 12191999"/>
              <a:gd name="connsiteY3579" fmla="*/ 921356 h 4534608"/>
              <a:gd name="connsiteX3580" fmla="*/ 4767616 w 12191999"/>
              <a:gd name="connsiteY3580" fmla="*/ 758317 h 4534608"/>
              <a:gd name="connsiteX3581" fmla="*/ 4825952 w 12191999"/>
              <a:gd name="connsiteY3581" fmla="*/ 784467 h 4534608"/>
              <a:gd name="connsiteX3582" fmla="*/ 4783051 w 12191999"/>
              <a:gd name="connsiteY3582" fmla="*/ 960578 h 4534608"/>
              <a:gd name="connsiteX3583" fmla="*/ 4724714 w 12191999"/>
              <a:gd name="connsiteY3583" fmla="*/ 934431 h 4534608"/>
              <a:gd name="connsiteX3584" fmla="*/ 4482999 w 12191999"/>
              <a:gd name="connsiteY3584" fmla="*/ 758317 h 4534608"/>
              <a:gd name="connsiteX3585" fmla="*/ 4545651 w 12191999"/>
              <a:gd name="connsiteY3585" fmla="*/ 771392 h 4534608"/>
              <a:gd name="connsiteX3586" fmla="*/ 4523416 w 12191999"/>
              <a:gd name="connsiteY3586" fmla="*/ 960578 h 4534608"/>
              <a:gd name="connsiteX3587" fmla="*/ 4461548 w 12191999"/>
              <a:gd name="connsiteY3587" fmla="*/ 947505 h 4534608"/>
              <a:gd name="connsiteX3588" fmla="*/ 4196426 w 12191999"/>
              <a:gd name="connsiteY3588" fmla="*/ 758317 h 4534608"/>
              <a:gd name="connsiteX3589" fmla="*/ 4263388 w 12191999"/>
              <a:gd name="connsiteY3589" fmla="*/ 758317 h 4534608"/>
              <a:gd name="connsiteX3590" fmla="*/ 4263388 w 12191999"/>
              <a:gd name="connsiteY3590" fmla="*/ 960578 h 4534608"/>
              <a:gd name="connsiteX3591" fmla="*/ 4261555 w 12191999"/>
              <a:gd name="connsiteY3591" fmla="*/ 960578 h 4534608"/>
              <a:gd name="connsiteX3592" fmla="*/ 4261555 w 12191999"/>
              <a:gd name="connsiteY3592" fmla="*/ 960584 h 4534608"/>
              <a:gd name="connsiteX3593" fmla="*/ 4194593 w 12191999"/>
              <a:gd name="connsiteY3593" fmla="*/ 960584 h 4534608"/>
              <a:gd name="connsiteX3594" fmla="*/ 4194593 w 12191999"/>
              <a:gd name="connsiteY3594" fmla="*/ 758454 h 4534608"/>
              <a:gd name="connsiteX3595" fmla="*/ 4196426 w 12191999"/>
              <a:gd name="connsiteY3595" fmla="*/ 758454 h 4534608"/>
              <a:gd name="connsiteX3596" fmla="*/ 2542869 w 12191999"/>
              <a:gd name="connsiteY3596" fmla="*/ 758193 h 4534608"/>
              <a:gd name="connsiteX3597" fmla="*/ 2671576 w 12191999"/>
              <a:gd name="connsiteY3597" fmla="*/ 882137 h 4534608"/>
              <a:gd name="connsiteX3598" fmla="*/ 2630504 w 12191999"/>
              <a:gd name="connsiteY3598" fmla="*/ 960584 h 4534608"/>
              <a:gd name="connsiteX3599" fmla="*/ 2501930 w 12191999"/>
              <a:gd name="connsiteY3599" fmla="*/ 836639 h 4534608"/>
              <a:gd name="connsiteX3600" fmla="*/ 5913149 w 12191999"/>
              <a:gd name="connsiteY3600" fmla="*/ 758187 h 4534608"/>
              <a:gd name="connsiteX3601" fmla="*/ 5954220 w 12191999"/>
              <a:gd name="connsiteY3601" fmla="*/ 836633 h 4534608"/>
              <a:gd name="connsiteX3602" fmla="*/ 5825514 w 12191999"/>
              <a:gd name="connsiteY3602" fmla="*/ 960578 h 4534608"/>
              <a:gd name="connsiteX3603" fmla="*/ 5784445 w 12191999"/>
              <a:gd name="connsiteY3603" fmla="*/ 882132 h 4534608"/>
              <a:gd name="connsiteX3604" fmla="*/ 5626832 w 12191999"/>
              <a:gd name="connsiteY3604" fmla="*/ 758187 h 4534608"/>
              <a:gd name="connsiteX3605" fmla="*/ 5672219 w 12191999"/>
              <a:gd name="connsiteY3605" fmla="*/ 823558 h 4534608"/>
              <a:gd name="connsiteX3606" fmla="*/ 5564963 w 12191999"/>
              <a:gd name="connsiteY3606" fmla="*/ 960578 h 4534608"/>
              <a:gd name="connsiteX3607" fmla="*/ 5519577 w 12191999"/>
              <a:gd name="connsiteY3607" fmla="*/ 895207 h 4534608"/>
              <a:gd name="connsiteX3608" fmla="*/ 5340905 w 12191999"/>
              <a:gd name="connsiteY3608" fmla="*/ 758187 h 4534608"/>
              <a:gd name="connsiteX3609" fmla="*/ 5390609 w 12191999"/>
              <a:gd name="connsiteY3609" fmla="*/ 810484 h 4534608"/>
              <a:gd name="connsiteX3610" fmla="*/ 5304805 w 12191999"/>
              <a:gd name="connsiteY3610" fmla="*/ 960578 h 4534608"/>
              <a:gd name="connsiteX3611" fmla="*/ 5255101 w 12191999"/>
              <a:gd name="connsiteY3611" fmla="*/ 908281 h 4534608"/>
              <a:gd name="connsiteX3612" fmla="*/ 3832019 w 12191999"/>
              <a:gd name="connsiteY3612" fmla="*/ 758063 h 4534608"/>
              <a:gd name="connsiteX3613" fmla="*/ 3864196 w 12191999"/>
              <a:gd name="connsiteY3613" fmla="*/ 941104 h 4534608"/>
              <a:gd name="connsiteX3614" fmla="*/ 3803636 w 12191999"/>
              <a:gd name="connsiteY3614" fmla="*/ 960716 h 4534608"/>
              <a:gd name="connsiteX3615" fmla="*/ 3771460 w 12191999"/>
              <a:gd name="connsiteY3615" fmla="*/ 777674 h 4534608"/>
              <a:gd name="connsiteX3616" fmla="*/ 3545571 w 12191999"/>
              <a:gd name="connsiteY3616" fmla="*/ 758063 h 4534608"/>
              <a:gd name="connsiteX3617" fmla="*/ 3599198 w 12191999"/>
              <a:gd name="connsiteY3617" fmla="*/ 928029 h 4534608"/>
              <a:gd name="connsiteX3618" fmla="*/ 3542955 w 12191999"/>
              <a:gd name="connsiteY3618" fmla="*/ 960716 h 4534608"/>
              <a:gd name="connsiteX3619" fmla="*/ 3489328 w 12191999"/>
              <a:gd name="connsiteY3619" fmla="*/ 790749 h 4534608"/>
              <a:gd name="connsiteX3620" fmla="*/ 2257599 w 12191999"/>
              <a:gd name="connsiteY3620" fmla="*/ 758063 h 4534608"/>
              <a:gd name="connsiteX3621" fmla="*/ 2364592 w 12191999"/>
              <a:gd name="connsiteY3621" fmla="*/ 836509 h 4534608"/>
              <a:gd name="connsiteX3622" fmla="*/ 2400822 w 12191999"/>
              <a:gd name="connsiteY3622" fmla="*/ 758063 h 4534608"/>
              <a:gd name="connsiteX3623" fmla="*/ 2540121 w 12191999"/>
              <a:gd name="connsiteY3623" fmla="*/ 875732 h 4534608"/>
              <a:gd name="connsiteX3624" fmla="*/ 2500884 w 12191999"/>
              <a:gd name="connsiteY3624" fmla="*/ 960584 h 4534608"/>
              <a:gd name="connsiteX3625" fmla="*/ 2403568 w 12191999"/>
              <a:gd name="connsiteY3625" fmla="*/ 878608 h 4534608"/>
              <a:gd name="connsiteX3626" fmla="*/ 2370606 w 12191999"/>
              <a:gd name="connsiteY3626" fmla="*/ 960584 h 4534608"/>
              <a:gd name="connsiteX3627" fmla="*/ 2267277 w 12191999"/>
              <a:gd name="connsiteY3627" fmla="*/ 884230 h 4534608"/>
              <a:gd name="connsiteX3628" fmla="*/ 2240199 w 12191999"/>
              <a:gd name="connsiteY3628" fmla="*/ 960584 h 4534608"/>
              <a:gd name="connsiteX3629" fmla="*/ 2131770 w 12191999"/>
              <a:gd name="connsiteY3629" fmla="*/ 890244 h 4534608"/>
              <a:gd name="connsiteX3630" fmla="*/ 2109927 w 12191999"/>
              <a:gd name="connsiteY3630" fmla="*/ 960584 h 4534608"/>
              <a:gd name="connsiteX3631" fmla="*/ 1997178 w 12191999"/>
              <a:gd name="connsiteY3631" fmla="*/ 896259 h 4534608"/>
              <a:gd name="connsiteX3632" fmla="*/ 1979651 w 12191999"/>
              <a:gd name="connsiteY3632" fmla="*/ 960584 h 4534608"/>
              <a:gd name="connsiteX3633" fmla="*/ 1863240 w 12191999"/>
              <a:gd name="connsiteY3633" fmla="*/ 902273 h 4534608"/>
              <a:gd name="connsiteX3634" fmla="*/ 1849376 w 12191999"/>
              <a:gd name="connsiteY3634" fmla="*/ 960584 h 4534608"/>
              <a:gd name="connsiteX3635" fmla="*/ 1729956 w 12191999"/>
              <a:gd name="connsiteY3635" fmla="*/ 908286 h 4534608"/>
              <a:gd name="connsiteX3636" fmla="*/ 1718970 w 12191999"/>
              <a:gd name="connsiteY3636" fmla="*/ 960584 h 4534608"/>
              <a:gd name="connsiteX3637" fmla="*/ 1597195 w 12191999"/>
              <a:gd name="connsiteY3637" fmla="*/ 913779 h 4534608"/>
              <a:gd name="connsiteX3638" fmla="*/ 1588694 w 12191999"/>
              <a:gd name="connsiteY3638" fmla="*/ 960584 h 4534608"/>
              <a:gd name="connsiteX3639" fmla="*/ 1464959 w 12191999"/>
              <a:gd name="connsiteY3639" fmla="*/ 919139 h 4534608"/>
              <a:gd name="connsiteX3640" fmla="*/ 1458420 w 12191999"/>
              <a:gd name="connsiteY3640" fmla="*/ 960584 h 4534608"/>
              <a:gd name="connsiteX3641" fmla="*/ 1332983 w 12191999"/>
              <a:gd name="connsiteY3641" fmla="*/ 924238 h 4534608"/>
              <a:gd name="connsiteX3642" fmla="*/ 1328013 w 12191999"/>
              <a:gd name="connsiteY3642" fmla="*/ 960584 h 4534608"/>
              <a:gd name="connsiteX3643" fmla="*/ 1200877 w 12191999"/>
              <a:gd name="connsiteY3643" fmla="*/ 929075 h 4534608"/>
              <a:gd name="connsiteX3644" fmla="*/ 1197214 w 12191999"/>
              <a:gd name="connsiteY3644" fmla="*/ 960584 h 4534608"/>
              <a:gd name="connsiteX3645" fmla="*/ 1069037 w 12191999"/>
              <a:gd name="connsiteY3645" fmla="*/ 933521 h 4534608"/>
              <a:gd name="connsiteX3646" fmla="*/ 1066421 w 12191999"/>
              <a:gd name="connsiteY3646" fmla="*/ 960584 h 4534608"/>
              <a:gd name="connsiteX3647" fmla="*/ 938239 w 12191999"/>
              <a:gd name="connsiteY3647" fmla="*/ 938096 h 4534608"/>
              <a:gd name="connsiteX3648" fmla="*/ 936278 w 12191999"/>
              <a:gd name="connsiteY3648" fmla="*/ 960584 h 4534608"/>
              <a:gd name="connsiteX3649" fmla="*/ 807050 w 12191999"/>
              <a:gd name="connsiteY3649" fmla="*/ 941758 h 4534608"/>
              <a:gd name="connsiteX3650" fmla="*/ 805873 w 12191999"/>
              <a:gd name="connsiteY3650" fmla="*/ 960584 h 4534608"/>
              <a:gd name="connsiteX3651" fmla="*/ 676383 w 12191999"/>
              <a:gd name="connsiteY3651" fmla="*/ 945418 h 4534608"/>
              <a:gd name="connsiteX3652" fmla="*/ 675597 w 12191999"/>
              <a:gd name="connsiteY3652" fmla="*/ 960584 h 4534608"/>
              <a:gd name="connsiteX3653" fmla="*/ 545715 w 12191999"/>
              <a:gd name="connsiteY3653" fmla="*/ 948817 h 4534608"/>
              <a:gd name="connsiteX3654" fmla="*/ 545715 w 12191999"/>
              <a:gd name="connsiteY3654" fmla="*/ 960584 h 4534608"/>
              <a:gd name="connsiteX3655" fmla="*/ 415570 w 12191999"/>
              <a:gd name="connsiteY3655" fmla="*/ 952086 h 4534608"/>
              <a:gd name="connsiteX3656" fmla="*/ 415570 w 12191999"/>
              <a:gd name="connsiteY3656" fmla="*/ 960584 h 4534608"/>
              <a:gd name="connsiteX3657" fmla="*/ 285426 w 12191999"/>
              <a:gd name="connsiteY3657" fmla="*/ 955094 h 4534608"/>
              <a:gd name="connsiteX3658" fmla="*/ 285426 w 12191999"/>
              <a:gd name="connsiteY3658" fmla="*/ 960584 h 4534608"/>
              <a:gd name="connsiteX3659" fmla="*/ 154631 w 12191999"/>
              <a:gd name="connsiteY3659" fmla="*/ 957839 h 4534608"/>
              <a:gd name="connsiteX3660" fmla="*/ 154631 w 12191999"/>
              <a:gd name="connsiteY3660" fmla="*/ 960584 h 4534608"/>
              <a:gd name="connsiteX3661" fmla="*/ 0 w 12191999"/>
              <a:gd name="connsiteY3661" fmla="*/ 960584 h 4534608"/>
              <a:gd name="connsiteX3662" fmla="*/ 0 w 12191999"/>
              <a:gd name="connsiteY3662" fmla="*/ 758586 h 4534608"/>
              <a:gd name="connsiteX3663" fmla="*/ 155285 w 12191999"/>
              <a:gd name="connsiteY3663" fmla="*/ 758586 h 4534608"/>
              <a:gd name="connsiteX3664" fmla="*/ 155285 w 12191999"/>
              <a:gd name="connsiteY3664" fmla="*/ 760547 h 4534608"/>
              <a:gd name="connsiteX3665" fmla="*/ 243182 w 12191999"/>
              <a:gd name="connsiteY3665" fmla="*/ 764207 h 4534608"/>
              <a:gd name="connsiteX3666" fmla="*/ 252207 w 12191999"/>
              <a:gd name="connsiteY3666" fmla="*/ 764207 h 4534608"/>
              <a:gd name="connsiteX3667" fmla="*/ 252207 w 12191999"/>
              <a:gd name="connsiteY3667" fmla="*/ 758324 h 4534608"/>
              <a:gd name="connsiteX3668" fmla="*/ 394905 w 12191999"/>
              <a:gd name="connsiteY3668" fmla="*/ 767738 h 4534608"/>
              <a:gd name="connsiteX3669" fmla="*/ 394905 w 12191999"/>
              <a:gd name="connsiteY3669" fmla="*/ 758324 h 4534608"/>
              <a:gd name="connsiteX3670" fmla="*/ 537344 w 12191999"/>
              <a:gd name="connsiteY3670" fmla="*/ 771398 h 4534608"/>
              <a:gd name="connsiteX3671" fmla="*/ 538128 w 12191999"/>
              <a:gd name="connsiteY3671" fmla="*/ 758324 h 4534608"/>
              <a:gd name="connsiteX3672" fmla="*/ 680045 w 12191999"/>
              <a:gd name="connsiteY3672" fmla="*/ 774927 h 4534608"/>
              <a:gd name="connsiteX3673" fmla="*/ 681353 w 12191999"/>
              <a:gd name="connsiteY3673" fmla="*/ 758324 h 4534608"/>
              <a:gd name="connsiteX3674" fmla="*/ 822616 w 12191999"/>
              <a:gd name="connsiteY3674" fmla="*/ 778981 h 4534608"/>
              <a:gd name="connsiteX3675" fmla="*/ 824578 w 12191999"/>
              <a:gd name="connsiteY3675" fmla="*/ 758324 h 4534608"/>
              <a:gd name="connsiteX3676" fmla="*/ 964922 w 12191999"/>
              <a:gd name="connsiteY3676" fmla="*/ 783295 h 4534608"/>
              <a:gd name="connsiteX3677" fmla="*/ 967799 w 12191999"/>
              <a:gd name="connsiteY3677" fmla="*/ 758324 h 4534608"/>
              <a:gd name="connsiteX3678" fmla="*/ 1106968 w 12191999"/>
              <a:gd name="connsiteY3678" fmla="*/ 787873 h 4534608"/>
              <a:gd name="connsiteX3679" fmla="*/ 1110888 w 12191999"/>
              <a:gd name="connsiteY3679" fmla="*/ 758324 h 4534608"/>
              <a:gd name="connsiteX3680" fmla="*/ 1248748 w 12191999"/>
              <a:gd name="connsiteY3680" fmla="*/ 792710 h 4534608"/>
              <a:gd name="connsiteX3681" fmla="*/ 1254113 w 12191999"/>
              <a:gd name="connsiteY3681" fmla="*/ 758324 h 4534608"/>
              <a:gd name="connsiteX3682" fmla="*/ 1390141 w 12191999"/>
              <a:gd name="connsiteY3682" fmla="*/ 797548 h 4534608"/>
              <a:gd name="connsiteX3683" fmla="*/ 1397336 w 12191999"/>
              <a:gd name="connsiteY3683" fmla="*/ 758324 h 4534608"/>
              <a:gd name="connsiteX3684" fmla="*/ 1531928 w 12191999"/>
              <a:gd name="connsiteY3684" fmla="*/ 803170 h 4534608"/>
              <a:gd name="connsiteX3685" fmla="*/ 1541345 w 12191999"/>
              <a:gd name="connsiteY3685" fmla="*/ 758324 h 4534608"/>
              <a:gd name="connsiteX3686" fmla="*/ 1672144 w 12191999"/>
              <a:gd name="connsiteY3686" fmla="*/ 808790 h 4534608"/>
              <a:gd name="connsiteX3687" fmla="*/ 1684177 w 12191999"/>
              <a:gd name="connsiteY3687" fmla="*/ 758324 h 4534608"/>
              <a:gd name="connsiteX3688" fmla="*/ 1811966 w 12191999"/>
              <a:gd name="connsiteY3688" fmla="*/ 814543 h 4534608"/>
              <a:gd name="connsiteX3689" fmla="*/ 1826878 w 12191999"/>
              <a:gd name="connsiteY3689" fmla="*/ 758324 h 4534608"/>
              <a:gd name="connsiteX3690" fmla="*/ 1950876 w 12191999"/>
              <a:gd name="connsiteY3690" fmla="*/ 820427 h 4534608"/>
              <a:gd name="connsiteX3691" fmla="*/ 1969579 w 12191999"/>
              <a:gd name="connsiteY3691" fmla="*/ 758324 h 4534608"/>
              <a:gd name="connsiteX3692" fmla="*/ 2088736 w 12191999"/>
              <a:gd name="connsiteY3692" fmla="*/ 826311 h 4534608"/>
              <a:gd name="connsiteX3693" fmla="*/ 2112805 w 12191999"/>
              <a:gd name="connsiteY3693" fmla="*/ 758324 h 4534608"/>
              <a:gd name="connsiteX3694" fmla="*/ 2227908 w 12191999"/>
              <a:gd name="connsiteY3694" fmla="*/ 831802 h 4534608"/>
              <a:gd name="connsiteX3695" fmla="*/ 8206046 w 12191999"/>
              <a:gd name="connsiteY3695" fmla="*/ 758056 h 4534608"/>
              <a:gd name="connsiteX3696" fmla="*/ 8206046 w 12191999"/>
              <a:gd name="connsiteY3696" fmla="*/ 763939 h 4534608"/>
              <a:gd name="connsiteX3697" fmla="*/ 8215202 w 12191999"/>
              <a:gd name="connsiteY3697" fmla="*/ 763939 h 4534608"/>
              <a:gd name="connsiteX3698" fmla="*/ 8303100 w 12191999"/>
              <a:gd name="connsiteY3698" fmla="*/ 760280 h 4534608"/>
              <a:gd name="connsiteX3699" fmla="*/ 8303100 w 12191999"/>
              <a:gd name="connsiteY3699" fmla="*/ 758317 h 4534608"/>
              <a:gd name="connsiteX3700" fmla="*/ 12190037 w 12191999"/>
              <a:gd name="connsiteY3700" fmla="*/ 758317 h 4534608"/>
              <a:gd name="connsiteX3701" fmla="*/ 12190037 w 12191999"/>
              <a:gd name="connsiteY3701" fmla="*/ 960578 h 4534608"/>
              <a:gd name="connsiteX3702" fmla="*/ 8301529 w 12191999"/>
              <a:gd name="connsiteY3702" fmla="*/ 960578 h 4534608"/>
              <a:gd name="connsiteX3703" fmla="*/ 8304145 w 12191999"/>
              <a:gd name="connsiteY3703" fmla="*/ 958226 h 4534608"/>
              <a:gd name="connsiteX3704" fmla="*/ 8173347 w 12191999"/>
              <a:gd name="connsiteY3704" fmla="*/ 960971 h 4534608"/>
              <a:gd name="connsiteX3705" fmla="*/ 8173347 w 12191999"/>
              <a:gd name="connsiteY3705" fmla="*/ 955480 h 4534608"/>
              <a:gd name="connsiteX3706" fmla="*/ 8042548 w 12191999"/>
              <a:gd name="connsiteY3706" fmla="*/ 960971 h 4534608"/>
              <a:gd name="connsiteX3707" fmla="*/ 8042548 w 12191999"/>
              <a:gd name="connsiteY3707" fmla="*/ 952473 h 4534608"/>
              <a:gd name="connsiteX3708" fmla="*/ 7911749 w 12191999"/>
              <a:gd name="connsiteY3708" fmla="*/ 960971 h 4534608"/>
              <a:gd name="connsiteX3709" fmla="*/ 7911749 w 12191999"/>
              <a:gd name="connsiteY3709" fmla="*/ 949205 h 4534608"/>
              <a:gd name="connsiteX3710" fmla="*/ 7781867 w 12191999"/>
              <a:gd name="connsiteY3710" fmla="*/ 960971 h 4534608"/>
              <a:gd name="connsiteX3711" fmla="*/ 7781083 w 12191999"/>
              <a:gd name="connsiteY3711" fmla="*/ 945804 h 4534608"/>
              <a:gd name="connsiteX3712" fmla="*/ 7651461 w 12191999"/>
              <a:gd name="connsiteY3712" fmla="*/ 960971 h 4534608"/>
              <a:gd name="connsiteX3713" fmla="*/ 7650284 w 12191999"/>
              <a:gd name="connsiteY3713" fmla="*/ 942144 h 4534608"/>
              <a:gd name="connsiteX3714" fmla="*/ 7521186 w 12191999"/>
              <a:gd name="connsiteY3714" fmla="*/ 960971 h 4534608"/>
              <a:gd name="connsiteX3715" fmla="*/ 7519355 w 12191999"/>
              <a:gd name="connsiteY3715" fmla="*/ 938091 h 4534608"/>
              <a:gd name="connsiteX3716" fmla="*/ 7390649 w 12191999"/>
              <a:gd name="connsiteY3716" fmla="*/ 960578 h 4534608"/>
              <a:gd name="connsiteX3717" fmla="*/ 7388033 w 12191999"/>
              <a:gd name="connsiteY3717" fmla="*/ 933515 h 4534608"/>
              <a:gd name="connsiteX3718" fmla="*/ 7260243 w 12191999"/>
              <a:gd name="connsiteY3718" fmla="*/ 960578 h 4534608"/>
              <a:gd name="connsiteX3719" fmla="*/ 7256712 w 12191999"/>
              <a:gd name="connsiteY3719" fmla="*/ 929069 h 4534608"/>
              <a:gd name="connsiteX3720" fmla="*/ 7129968 w 12191999"/>
              <a:gd name="connsiteY3720" fmla="*/ 960578 h 4534608"/>
              <a:gd name="connsiteX3721" fmla="*/ 7125129 w 12191999"/>
              <a:gd name="connsiteY3721" fmla="*/ 924232 h 4534608"/>
              <a:gd name="connsiteX3722" fmla="*/ 6999693 w 12191999"/>
              <a:gd name="connsiteY3722" fmla="*/ 960578 h 4534608"/>
              <a:gd name="connsiteX3723" fmla="*/ 6993152 w 12191999"/>
              <a:gd name="connsiteY3723" fmla="*/ 919133 h 4534608"/>
              <a:gd name="connsiteX3724" fmla="*/ 6869416 w 12191999"/>
              <a:gd name="connsiteY3724" fmla="*/ 960578 h 4534608"/>
              <a:gd name="connsiteX3725" fmla="*/ 6860785 w 12191999"/>
              <a:gd name="connsiteY3725" fmla="*/ 913773 h 4534608"/>
              <a:gd name="connsiteX3726" fmla="*/ 6739534 w 12191999"/>
              <a:gd name="connsiteY3726" fmla="*/ 960841 h 4534608"/>
              <a:gd name="connsiteX3727" fmla="*/ 6728548 w 12191999"/>
              <a:gd name="connsiteY3727" fmla="*/ 908542 h 4534608"/>
              <a:gd name="connsiteX3728" fmla="*/ 6609259 w 12191999"/>
              <a:gd name="connsiteY3728" fmla="*/ 960841 h 4534608"/>
              <a:gd name="connsiteX3729" fmla="*/ 6595263 w 12191999"/>
              <a:gd name="connsiteY3729" fmla="*/ 902528 h 4534608"/>
              <a:gd name="connsiteX3730" fmla="*/ 6478983 w 12191999"/>
              <a:gd name="connsiteY3730" fmla="*/ 960841 h 4534608"/>
              <a:gd name="connsiteX3731" fmla="*/ 6461456 w 12191999"/>
              <a:gd name="connsiteY3731" fmla="*/ 896515 h 4534608"/>
              <a:gd name="connsiteX3732" fmla="*/ 6348578 w 12191999"/>
              <a:gd name="connsiteY3732" fmla="*/ 960841 h 4534608"/>
              <a:gd name="connsiteX3733" fmla="*/ 6326733 w 12191999"/>
              <a:gd name="connsiteY3733" fmla="*/ 890499 h 4534608"/>
              <a:gd name="connsiteX3734" fmla="*/ 6218303 w 12191999"/>
              <a:gd name="connsiteY3734" fmla="*/ 960841 h 4534608"/>
              <a:gd name="connsiteX3735" fmla="*/ 6191358 w 12191999"/>
              <a:gd name="connsiteY3735" fmla="*/ 884485 h 4534608"/>
              <a:gd name="connsiteX3736" fmla="*/ 6088026 w 12191999"/>
              <a:gd name="connsiteY3736" fmla="*/ 960841 h 4534608"/>
              <a:gd name="connsiteX3737" fmla="*/ 6055066 w 12191999"/>
              <a:gd name="connsiteY3737" fmla="*/ 878863 h 4534608"/>
              <a:gd name="connsiteX3738" fmla="*/ 5957752 w 12191999"/>
              <a:gd name="connsiteY3738" fmla="*/ 960841 h 4534608"/>
              <a:gd name="connsiteX3739" fmla="*/ 5918512 w 12191999"/>
              <a:gd name="connsiteY3739" fmla="*/ 875988 h 4534608"/>
              <a:gd name="connsiteX3740" fmla="*/ 6057943 w 12191999"/>
              <a:gd name="connsiteY3740" fmla="*/ 758317 h 4534608"/>
              <a:gd name="connsiteX3741" fmla="*/ 6094175 w 12191999"/>
              <a:gd name="connsiteY3741" fmla="*/ 836764 h 4534608"/>
              <a:gd name="connsiteX3742" fmla="*/ 6201168 w 12191999"/>
              <a:gd name="connsiteY3742" fmla="*/ 758317 h 4534608"/>
              <a:gd name="connsiteX3743" fmla="*/ 6230729 w 12191999"/>
              <a:gd name="connsiteY3743" fmla="*/ 832058 h 4534608"/>
              <a:gd name="connsiteX3744" fmla="*/ 6344261 w 12191999"/>
              <a:gd name="connsiteY3744" fmla="*/ 758317 h 4534608"/>
              <a:gd name="connsiteX3745" fmla="*/ 6368327 w 12191999"/>
              <a:gd name="connsiteY3745" fmla="*/ 826305 h 4534608"/>
              <a:gd name="connsiteX3746" fmla="*/ 6487486 w 12191999"/>
              <a:gd name="connsiteY3746" fmla="*/ 758317 h 4534608"/>
              <a:gd name="connsiteX3747" fmla="*/ 6506843 w 12191999"/>
              <a:gd name="connsiteY3747" fmla="*/ 820422 h 4534608"/>
              <a:gd name="connsiteX3748" fmla="*/ 6630841 w 12191999"/>
              <a:gd name="connsiteY3748" fmla="*/ 758317 h 4534608"/>
              <a:gd name="connsiteX3749" fmla="*/ 6646144 w 12191999"/>
              <a:gd name="connsiteY3749" fmla="*/ 814537 h 4534608"/>
              <a:gd name="connsiteX3750" fmla="*/ 6774064 w 12191999"/>
              <a:gd name="connsiteY3750" fmla="*/ 758317 h 4534608"/>
              <a:gd name="connsiteX3751" fmla="*/ 6786097 w 12191999"/>
              <a:gd name="connsiteY3751" fmla="*/ 808784 h 4534608"/>
              <a:gd name="connsiteX3752" fmla="*/ 6916896 w 12191999"/>
              <a:gd name="connsiteY3752" fmla="*/ 758317 h 4534608"/>
              <a:gd name="connsiteX3753" fmla="*/ 6926183 w 12191999"/>
              <a:gd name="connsiteY3753" fmla="*/ 803164 h 4534608"/>
              <a:gd name="connsiteX3754" fmla="*/ 7060383 w 12191999"/>
              <a:gd name="connsiteY3754" fmla="*/ 758317 h 4534608"/>
              <a:gd name="connsiteX3755" fmla="*/ 7067445 w 12191999"/>
              <a:gd name="connsiteY3755" fmla="*/ 797541 h 4534608"/>
              <a:gd name="connsiteX3756" fmla="*/ 7203476 w 12191999"/>
              <a:gd name="connsiteY3756" fmla="*/ 758317 h 4534608"/>
              <a:gd name="connsiteX3757" fmla="*/ 7208969 w 12191999"/>
              <a:gd name="connsiteY3757" fmla="*/ 792704 h 4534608"/>
              <a:gd name="connsiteX3758" fmla="*/ 7346701 w 12191999"/>
              <a:gd name="connsiteY3758" fmla="*/ 758317 h 4534608"/>
              <a:gd name="connsiteX3759" fmla="*/ 7350756 w 12191999"/>
              <a:gd name="connsiteY3759" fmla="*/ 787866 h 4534608"/>
              <a:gd name="connsiteX3760" fmla="*/ 7489924 w 12191999"/>
              <a:gd name="connsiteY3760" fmla="*/ 758317 h 4534608"/>
              <a:gd name="connsiteX3761" fmla="*/ 7492803 w 12191999"/>
              <a:gd name="connsiteY3761" fmla="*/ 783289 h 4534608"/>
              <a:gd name="connsiteX3762" fmla="*/ 7633149 w 12191999"/>
              <a:gd name="connsiteY3762" fmla="*/ 758317 h 4534608"/>
              <a:gd name="connsiteX3763" fmla="*/ 7635111 w 12191999"/>
              <a:gd name="connsiteY3763" fmla="*/ 778975 h 4534608"/>
              <a:gd name="connsiteX3764" fmla="*/ 7776374 w 12191999"/>
              <a:gd name="connsiteY3764" fmla="*/ 758317 h 4534608"/>
              <a:gd name="connsiteX3765" fmla="*/ 7777681 w 12191999"/>
              <a:gd name="connsiteY3765" fmla="*/ 774922 h 4534608"/>
              <a:gd name="connsiteX3766" fmla="*/ 7919990 w 12191999"/>
              <a:gd name="connsiteY3766" fmla="*/ 758710 h 4534608"/>
              <a:gd name="connsiteX3767" fmla="*/ 7920905 w 12191999"/>
              <a:gd name="connsiteY3767" fmla="*/ 771785 h 4534608"/>
              <a:gd name="connsiteX3768" fmla="*/ 8063215 w 12191999"/>
              <a:gd name="connsiteY3768" fmla="*/ 758710 h 4534608"/>
              <a:gd name="connsiteX3769" fmla="*/ 8063215 w 12191999"/>
              <a:gd name="connsiteY3769" fmla="*/ 768123 h 4534608"/>
              <a:gd name="connsiteX3770" fmla="*/ 5769663 w 12191999"/>
              <a:gd name="connsiteY3770" fmla="*/ 758056 h 4534608"/>
              <a:gd name="connsiteX3771" fmla="*/ 5812958 w 12191999"/>
              <a:gd name="connsiteY3771" fmla="*/ 829835 h 4534608"/>
              <a:gd name="connsiteX3772" fmla="*/ 5695239 w 12191999"/>
              <a:gd name="connsiteY3772" fmla="*/ 960578 h 4534608"/>
              <a:gd name="connsiteX3773" fmla="*/ 5651945 w 12191999"/>
              <a:gd name="connsiteY3773" fmla="*/ 888800 h 4534608"/>
              <a:gd name="connsiteX3774" fmla="*/ 5483607 w 12191999"/>
              <a:gd name="connsiteY3774" fmla="*/ 758056 h 4534608"/>
              <a:gd name="connsiteX3775" fmla="*/ 5531087 w 12191999"/>
              <a:gd name="connsiteY3775" fmla="*/ 816760 h 4534608"/>
              <a:gd name="connsiteX3776" fmla="*/ 5434558 w 12191999"/>
              <a:gd name="connsiteY3776" fmla="*/ 960578 h 4534608"/>
              <a:gd name="connsiteX3777" fmla="*/ 5387078 w 12191999"/>
              <a:gd name="connsiteY3777" fmla="*/ 901874 h 4534608"/>
              <a:gd name="connsiteX3778" fmla="*/ 4118075 w 12191999"/>
              <a:gd name="connsiteY3778" fmla="*/ 757932 h 4534608"/>
              <a:gd name="connsiteX3779" fmla="*/ 4128801 w 12191999"/>
              <a:gd name="connsiteY3779" fmla="*/ 954048 h 4534608"/>
              <a:gd name="connsiteX3780" fmla="*/ 4064053 w 12191999"/>
              <a:gd name="connsiteY3780" fmla="*/ 960584 h 4534608"/>
              <a:gd name="connsiteX3781" fmla="*/ 4053330 w 12191999"/>
              <a:gd name="connsiteY3781" fmla="*/ 764470 h 4534608"/>
              <a:gd name="connsiteX3782" fmla="*/ 3258860 w 12191999"/>
              <a:gd name="connsiteY3782" fmla="*/ 757932 h 4534608"/>
              <a:gd name="connsiteX3783" fmla="*/ 3333939 w 12191999"/>
              <a:gd name="connsiteY3783" fmla="*/ 914825 h 4534608"/>
              <a:gd name="connsiteX3784" fmla="*/ 3281619 w 12191999"/>
              <a:gd name="connsiteY3784" fmla="*/ 960584 h 4534608"/>
              <a:gd name="connsiteX3785" fmla="*/ 3206538 w 12191999"/>
              <a:gd name="connsiteY3785" fmla="*/ 803692 h 4534608"/>
              <a:gd name="connsiteX3786" fmla="*/ 2972543 w 12191999"/>
              <a:gd name="connsiteY3786" fmla="*/ 757932 h 4534608"/>
              <a:gd name="connsiteX3787" fmla="*/ 3069069 w 12191999"/>
              <a:gd name="connsiteY3787" fmla="*/ 901749 h 4534608"/>
              <a:gd name="connsiteX3788" fmla="*/ 3021459 w 12191999"/>
              <a:gd name="connsiteY3788" fmla="*/ 960453 h 4534608"/>
              <a:gd name="connsiteX3789" fmla="*/ 2924931 w 12191999"/>
              <a:gd name="connsiteY3789" fmla="*/ 816635 h 4534608"/>
              <a:gd name="connsiteX3790" fmla="*/ 2686354 w 12191999"/>
              <a:gd name="connsiteY3790" fmla="*/ 757932 h 4534608"/>
              <a:gd name="connsiteX3791" fmla="*/ 2804073 w 12191999"/>
              <a:gd name="connsiteY3791" fmla="*/ 888675 h 4534608"/>
              <a:gd name="connsiteX3792" fmla="*/ 2760911 w 12191999"/>
              <a:gd name="connsiteY3792" fmla="*/ 960453 h 4534608"/>
              <a:gd name="connsiteX3793" fmla="*/ 2643192 w 12191999"/>
              <a:gd name="connsiteY3793" fmla="*/ 829710 h 4534608"/>
              <a:gd name="connsiteX3794" fmla="*/ 5196767 w 12191999"/>
              <a:gd name="connsiteY3794" fmla="*/ 757926 h 4534608"/>
              <a:gd name="connsiteX3795" fmla="*/ 5249086 w 12191999"/>
              <a:gd name="connsiteY3795" fmla="*/ 803686 h 4534608"/>
              <a:gd name="connsiteX3796" fmla="*/ 5174007 w 12191999"/>
              <a:gd name="connsiteY3796" fmla="*/ 960578 h 4534608"/>
              <a:gd name="connsiteX3797" fmla="*/ 5121687 w 12191999"/>
              <a:gd name="connsiteY3797" fmla="*/ 914819 h 4534608"/>
              <a:gd name="connsiteX3798" fmla="*/ 4909794 w 12191999"/>
              <a:gd name="connsiteY3798" fmla="*/ 757926 h 4534608"/>
              <a:gd name="connsiteX3799" fmla="*/ 4966037 w 12191999"/>
              <a:gd name="connsiteY3799" fmla="*/ 790611 h 4534608"/>
              <a:gd name="connsiteX3800" fmla="*/ 4912410 w 12191999"/>
              <a:gd name="connsiteY3800" fmla="*/ 960578 h 4534608"/>
              <a:gd name="connsiteX3801" fmla="*/ 4856297 w 12191999"/>
              <a:gd name="connsiteY3801" fmla="*/ 927893 h 4534608"/>
              <a:gd name="connsiteX3802" fmla="*/ 4623868 w 12191999"/>
              <a:gd name="connsiteY3802" fmla="*/ 757926 h 4534608"/>
              <a:gd name="connsiteX3803" fmla="*/ 4684428 w 12191999"/>
              <a:gd name="connsiteY3803" fmla="*/ 777538 h 4534608"/>
              <a:gd name="connsiteX3804" fmla="*/ 4652253 w 12191999"/>
              <a:gd name="connsiteY3804" fmla="*/ 960578 h 4534608"/>
              <a:gd name="connsiteX3805" fmla="*/ 4591692 w 12191999"/>
              <a:gd name="connsiteY3805" fmla="*/ 940968 h 4534608"/>
              <a:gd name="connsiteX3806" fmla="*/ 4337943 w 12191999"/>
              <a:gd name="connsiteY3806" fmla="*/ 757926 h 4534608"/>
              <a:gd name="connsiteX3807" fmla="*/ 4403342 w 12191999"/>
              <a:gd name="connsiteY3807" fmla="*/ 764463 h 4534608"/>
              <a:gd name="connsiteX3808" fmla="*/ 4392617 w 12191999"/>
              <a:gd name="connsiteY3808" fmla="*/ 960578 h 4534608"/>
              <a:gd name="connsiteX3809" fmla="*/ 4327218 w 12191999"/>
              <a:gd name="connsiteY3809" fmla="*/ 954043 h 4534608"/>
              <a:gd name="connsiteX3810" fmla="*/ 3688795 w 12191999"/>
              <a:gd name="connsiteY3810" fmla="*/ 504809 h 4534608"/>
              <a:gd name="connsiteX3811" fmla="*/ 3731698 w 12191999"/>
              <a:gd name="connsiteY3811" fmla="*/ 680927 h 4534608"/>
              <a:gd name="connsiteX3812" fmla="*/ 3673360 w 12191999"/>
              <a:gd name="connsiteY3812" fmla="*/ 706944 h 4534608"/>
              <a:gd name="connsiteX3813" fmla="*/ 3630460 w 12191999"/>
              <a:gd name="connsiteY3813" fmla="*/ 530962 h 4534608"/>
              <a:gd name="connsiteX3814" fmla="*/ 3402348 w 12191999"/>
              <a:gd name="connsiteY3814" fmla="*/ 504809 h 4534608"/>
              <a:gd name="connsiteX3815" fmla="*/ 3466699 w 12191999"/>
              <a:gd name="connsiteY3815" fmla="*/ 667854 h 4534608"/>
              <a:gd name="connsiteX3816" fmla="*/ 3412680 w 12191999"/>
              <a:gd name="connsiteY3816" fmla="*/ 707074 h 4534608"/>
              <a:gd name="connsiteX3817" fmla="*/ 3348327 w 12191999"/>
              <a:gd name="connsiteY3817" fmla="*/ 544035 h 4534608"/>
              <a:gd name="connsiteX3818" fmla="*/ 3974849 w 12191999"/>
              <a:gd name="connsiteY3818" fmla="*/ 504678 h 4534608"/>
              <a:gd name="connsiteX3819" fmla="*/ 3996303 w 12191999"/>
              <a:gd name="connsiteY3819" fmla="*/ 693870 h 4534608"/>
              <a:gd name="connsiteX3820" fmla="*/ 3933650 w 12191999"/>
              <a:gd name="connsiteY3820" fmla="*/ 706814 h 4534608"/>
              <a:gd name="connsiteX3821" fmla="*/ 3912199 w 12191999"/>
              <a:gd name="connsiteY3821" fmla="*/ 517753 h 4534608"/>
              <a:gd name="connsiteX3822" fmla="*/ 3115768 w 12191999"/>
              <a:gd name="connsiteY3822" fmla="*/ 504678 h 4534608"/>
              <a:gd name="connsiteX3823" fmla="*/ 3201571 w 12191999"/>
              <a:gd name="connsiteY3823" fmla="*/ 654649 h 4534608"/>
              <a:gd name="connsiteX3824" fmla="*/ 3151736 w 12191999"/>
              <a:gd name="connsiteY3824" fmla="*/ 706944 h 4534608"/>
              <a:gd name="connsiteX3825" fmla="*/ 3066064 w 12191999"/>
              <a:gd name="connsiteY3825" fmla="*/ 556979 h 4534608"/>
              <a:gd name="connsiteX3826" fmla="*/ 2829580 w 12191999"/>
              <a:gd name="connsiteY3826" fmla="*/ 504678 h 4534608"/>
              <a:gd name="connsiteX3827" fmla="*/ 2936835 w 12191999"/>
              <a:gd name="connsiteY3827" fmla="*/ 641704 h 4534608"/>
              <a:gd name="connsiteX3828" fmla="*/ 2891449 w 12191999"/>
              <a:gd name="connsiteY3828" fmla="*/ 706944 h 4534608"/>
              <a:gd name="connsiteX3829" fmla="*/ 2784192 w 12191999"/>
              <a:gd name="connsiteY3829" fmla="*/ 570054 h 4534608"/>
              <a:gd name="connsiteX3830" fmla="*/ 2542869 w 12191999"/>
              <a:gd name="connsiteY3830" fmla="*/ 504678 h 4534608"/>
              <a:gd name="connsiteX3831" fmla="*/ 2671576 w 12191999"/>
              <a:gd name="connsiteY3831" fmla="*/ 628629 h 4534608"/>
              <a:gd name="connsiteX3832" fmla="*/ 2630504 w 12191999"/>
              <a:gd name="connsiteY3832" fmla="*/ 706944 h 4534608"/>
              <a:gd name="connsiteX3833" fmla="*/ 2501930 w 12191999"/>
              <a:gd name="connsiteY3833" fmla="*/ 583129 h 4534608"/>
              <a:gd name="connsiteX3834" fmla="*/ 4767616 w 12191999"/>
              <a:gd name="connsiteY3834" fmla="*/ 504673 h 4534608"/>
              <a:gd name="connsiteX3835" fmla="*/ 4825952 w 12191999"/>
              <a:gd name="connsiteY3835" fmla="*/ 530822 h 4534608"/>
              <a:gd name="connsiteX3836" fmla="*/ 4783051 w 12191999"/>
              <a:gd name="connsiteY3836" fmla="*/ 706805 h 4534608"/>
              <a:gd name="connsiteX3837" fmla="*/ 4724714 w 12191999"/>
              <a:gd name="connsiteY3837" fmla="*/ 680787 h 4534608"/>
              <a:gd name="connsiteX3838" fmla="*/ 4482999 w 12191999"/>
              <a:gd name="connsiteY3838" fmla="*/ 504673 h 4534608"/>
              <a:gd name="connsiteX3839" fmla="*/ 4545651 w 12191999"/>
              <a:gd name="connsiteY3839" fmla="*/ 517748 h 4534608"/>
              <a:gd name="connsiteX3840" fmla="*/ 4523416 w 12191999"/>
              <a:gd name="connsiteY3840" fmla="*/ 706805 h 4534608"/>
              <a:gd name="connsiteX3841" fmla="*/ 4461548 w 12191999"/>
              <a:gd name="connsiteY3841" fmla="*/ 693861 h 4534608"/>
              <a:gd name="connsiteX3842" fmla="*/ 4196426 w 12191999"/>
              <a:gd name="connsiteY3842" fmla="*/ 504673 h 4534608"/>
              <a:gd name="connsiteX3843" fmla="*/ 4263388 w 12191999"/>
              <a:gd name="connsiteY3843" fmla="*/ 504673 h 4534608"/>
              <a:gd name="connsiteX3844" fmla="*/ 4263388 w 12191999"/>
              <a:gd name="connsiteY3844" fmla="*/ 706805 h 4534608"/>
              <a:gd name="connsiteX3845" fmla="*/ 4261555 w 12191999"/>
              <a:gd name="connsiteY3845" fmla="*/ 706805 h 4534608"/>
              <a:gd name="connsiteX3846" fmla="*/ 4261555 w 12191999"/>
              <a:gd name="connsiteY3846" fmla="*/ 706814 h 4534608"/>
              <a:gd name="connsiteX3847" fmla="*/ 4194593 w 12191999"/>
              <a:gd name="connsiteY3847" fmla="*/ 706814 h 4534608"/>
              <a:gd name="connsiteX3848" fmla="*/ 4194593 w 12191999"/>
              <a:gd name="connsiteY3848" fmla="*/ 504809 h 4534608"/>
              <a:gd name="connsiteX3849" fmla="*/ 4196426 w 12191999"/>
              <a:gd name="connsiteY3849" fmla="*/ 504809 h 4534608"/>
              <a:gd name="connsiteX3850" fmla="*/ 5913149 w 12191999"/>
              <a:gd name="connsiteY3850" fmla="*/ 504543 h 4534608"/>
              <a:gd name="connsiteX3851" fmla="*/ 5954220 w 12191999"/>
              <a:gd name="connsiteY3851" fmla="*/ 582990 h 4534608"/>
              <a:gd name="connsiteX3852" fmla="*/ 5825514 w 12191999"/>
              <a:gd name="connsiteY3852" fmla="*/ 706805 h 4534608"/>
              <a:gd name="connsiteX3853" fmla="*/ 5784445 w 12191999"/>
              <a:gd name="connsiteY3853" fmla="*/ 628489 h 4534608"/>
              <a:gd name="connsiteX3854" fmla="*/ 5626832 w 12191999"/>
              <a:gd name="connsiteY3854" fmla="*/ 504543 h 4534608"/>
              <a:gd name="connsiteX3855" fmla="*/ 5672219 w 12191999"/>
              <a:gd name="connsiteY3855" fmla="*/ 569916 h 4534608"/>
              <a:gd name="connsiteX3856" fmla="*/ 5564963 w 12191999"/>
              <a:gd name="connsiteY3856" fmla="*/ 706805 h 4534608"/>
              <a:gd name="connsiteX3857" fmla="*/ 5519577 w 12191999"/>
              <a:gd name="connsiteY3857" fmla="*/ 641564 h 4534608"/>
              <a:gd name="connsiteX3858" fmla="*/ 5340905 w 12191999"/>
              <a:gd name="connsiteY3858" fmla="*/ 504543 h 4534608"/>
              <a:gd name="connsiteX3859" fmla="*/ 5390609 w 12191999"/>
              <a:gd name="connsiteY3859" fmla="*/ 556840 h 4534608"/>
              <a:gd name="connsiteX3860" fmla="*/ 5304805 w 12191999"/>
              <a:gd name="connsiteY3860" fmla="*/ 706805 h 4534608"/>
              <a:gd name="connsiteX3861" fmla="*/ 5255101 w 12191999"/>
              <a:gd name="connsiteY3861" fmla="*/ 654507 h 4534608"/>
              <a:gd name="connsiteX3862" fmla="*/ 5053410 w 12191999"/>
              <a:gd name="connsiteY3862" fmla="*/ 504543 h 4534608"/>
              <a:gd name="connsiteX3863" fmla="*/ 5107431 w 12191999"/>
              <a:gd name="connsiteY3863" fmla="*/ 543766 h 4534608"/>
              <a:gd name="connsiteX3864" fmla="*/ 5043209 w 12191999"/>
              <a:gd name="connsiteY3864" fmla="*/ 706805 h 4534608"/>
              <a:gd name="connsiteX3865" fmla="*/ 4989058 w 12191999"/>
              <a:gd name="connsiteY3865" fmla="*/ 667582 h 4534608"/>
              <a:gd name="connsiteX3866" fmla="*/ 3832019 w 12191999"/>
              <a:gd name="connsiteY3866" fmla="*/ 504416 h 4534608"/>
              <a:gd name="connsiteX3867" fmla="*/ 3864196 w 12191999"/>
              <a:gd name="connsiteY3867" fmla="*/ 687464 h 4534608"/>
              <a:gd name="connsiteX3868" fmla="*/ 3803636 w 12191999"/>
              <a:gd name="connsiteY3868" fmla="*/ 707074 h 4534608"/>
              <a:gd name="connsiteX3869" fmla="*/ 3771460 w 12191999"/>
              <a:gd name="connsiteY3869" fmla="*/ 524028 h 4534608"/>
              <a:gd name="connsiteX3870" fmla="*/ 3545571 w 12191999"/>
              <a:gd name="connsiteY3870" fmla="*/ 504416 h 4534608"/>
              <a:gd name="connsiteX3871" fmla="*/ 3599198 w 12191999"/>
              <a:gd name="connsiteY3871" fmla="*/ 674390 h 4534608"/>
              <a:gd name="connsiteX3872" fmla="*/ 3542955 w 12191999"/>
              <a:gd name="connsiteY3872" fmla="*/ 707074 h 4534608"/>
              <a:gd name="connsiteX3873" fmla="*/ 3489328 w 12191999"/>
              <a:gd name="connsiteY3873" fmla="*/ 537107 h 4534608"/>
              <a:gd name="connsiteX3874" fmla="*/ 2257599 w 12191999"/>
              <a:gd name="connsiteY3874" fmla="*/ 504416 h 4534608"/>
              <a:gd name="connsiteX3875" fmla="*/ 2364592 w 12191999"/>
              <a:gd name="connsiteY3875" fmla="*/ 582869 h 4534608"/>
              <a:gd name="connsiteX3876" fmla="*/ 2400822 w 12191999"/>
              <a:gd name="connsiteY3876" fmla="*/ 504416 h 4534608"/>
              <a:gd name="connsiteX3877" fmla="*/ 2540121 w 12191999"/>
              <a:gd name="connsiteY3877" fmla="*/ 622091 h 4534608"/>
              <a:gd name="connsiteX3878" fmla="*/ 2500884 w 12191999"/>
              <a:gd name="connsiteY3878" fmla="*/ 706814 h 4534608"/>
              <a:gd name="connsiteX3879" fmla="*/ 2403568 w 12191999"/>
              <a:gd name="connsiteY3879" fmla="*/ 624969 h 4534608"/>
              <a:gd name="connsiteX3880" fmla="*/ 2370606 w 12191999"/>
              <a:gd name="connsiteY3880" fmla="*/ 706814 h 4534608"/>
              <a:gd name="connsiteX3881" fmla="*/ 2267277 w 12191999"/>
              <a:gd name="connsiteY3881" fmla="*/ 630589 h 4534608"/>
              <a:gd name="connsiteX3882" fmla="*/ 2240199 w 12191999"/>
              <a:gd name="connsiteY3882" fmla="*/ 706814 h 4534608"/>
              <a:gd name="connsiteX3883" fmla="*/ 2131770 w 12191999"/>
              <a:gd name="connsiteY3883" fmla="*/ 636473 h 4534608"/>
              <a:gd name="connsiteX3884" fmla="*/ 2109927 w 12191999"/>
              <a:gd name="connsiteY3884" fmla="*/ 706814 h 4534608"/>
              <a:gd name="connsiteX3885" fmla="*/ 1997178 w 12191999"/>
              <a:gd name="connsiteY3885" fmla="*/ 642619 h 4534608"/>
              <a:gd name="connsiteX3886" fmla="*/ 1979651 w 12191999"/>
              <a:gd name="connsiteY3886" fmla="*/ 706814 h 4534608"/>
              <a:gd name="connsiteX3887" fmla="*/ 1863240 w 12191999"/>
              <a:gd name="connsiteY3887" fmla="*/ 648633 h 4534608"/>
              <a:gd name="connsiteX3888" fmla="*/ 1849376 w 12191999"/>
              <a:gd name="connsiteY3888" fmla="*/ 706814 h 4534608"/>
              <a:gd name="connsiteX3889" fmla="*/ 1729956 w 12191999"/>
              <a:gd name="connsiteY3889" fmla="*/ 654516 h 4534608"/>
              <a:gd name="connsiteX3890" fmla="*/ 1718970 w 12191999"/>
              <a:gd name="connsiteY3890" fmla="*/ 706814 h 4534608"/>
              <a:gd name="connsiteX3891" fmla="*/ 1597195 w 12191999"/>
              <a:gd name="connsiteY3891" fmla="*/ 660139 h 4534608"/>
              <a:gd name="connsiteX3892" fmla="*/ 1588694 w 12191999"/>
              <a:gd name="connsiteY3892" fmla="*/ 706814 h 4534608"/>
              <a:gd name="connsiteX3893" fmla="*/ 1464959 w 12191999"/>
              <a:gd name="connsiteY3893" fmla="*/ 665500 h 4534608"/>
              <a:gd name="connsiteX3894" fmla="*/ 1458420 w 12191999"/>
              <a:gd name="connsiteY3894" fmla="*/ 706814 h 4534608"/>
              <a:gd name="connsiteX3895" fmla="*/ 1332983 w 12191999"/>
              <a:gd name="connsiteY3895" fmla="*/ 670599 h 4534608"/>
              <a:gd name="connsiteX3896" fmla="*/ 1328013 w 12191999"/>
              <a:gd name="connsiteY3896" fmla="*/ 706814 h 4534608"/>
              <a:gd name="connsiteX3897" fmla="*/ 1200877 w 12191999"/>
              <a:gd name="connsiteY3897" fmla="*/ 675306 h 4534608"/>
              <a:gd name="connsiteX3898" fmla="*/ 1197214 w 12191999"/>
              <a:gd name="connsiteY3898" fmla="*/ 706814 h 4534608"/>
              <a:gd name="connsiteX3899" fmla="*/ 1069037 w 12191999"/>
              <a:gd name="connsiteY3899" fmla="*/ 679882 h 4534608"/>
              <a:gd name="connsiteX3900" fmla="*/ 1066421 w 12191999"/>
              <a:gd name="connsiteY3900" fmla="*/ 706814 h 4534608"/>
              <a:gd name="connsiteX3901" fmla="*/ 937977 w 12191999"/>
              <a:gd name="connsiteY3901" fmla="*/ 684065 h 4534608"/>
              <a:gd name="connsiteX3902" fmla="*/ 936278 w 12191999"/>
              <a:gd name="connsiteY3902" fmla="*/ 706814 h 4534608"/>
              <a:gd name="connsiteX3903" fmla="*/ 807050 w 12191999"/>
              <a:gd name="connsiteY3903" fmla="*/ 687987 h 4534608"/>
              <a:gd name="connsiteX3904" fmla="*/ 805873 w 12191999"/>
              <a:gd name="connsiteY3904" fmla="*/ 706814 h 4534608"/>
              <a:gd name="connsiteX3905" fmla="*/ 676383 w 12191999"/>
              <a:gd name="connsiteY3905" fmla="*/ 691647 h 4534608"/>
              <a:gd name="connsiteX3906" fmla="*/ 675597 w 12191999"/>
              <a:gd name="connsiteY3906" fmla="*/ 706814 h 4534608"/>
              <a:gd name="connsiteX3907" fmla="*/ 545715 w 12191999"/>
              <a:gd name="connsiteY3907" fmla="*/ 695177 h 4534608"/>
              <a:gd name="connsiteX3908" fmla="*/ 545715 w 12191999"/>
              <a:gd name="connsiteY3908" fmla="*/ 706814 h 4534608"/>
              <a:gd name="connsiteX3909" fmla="*/ 415570 w 12191999"/>
              <a:gd name="connsiteY3909" fmla="*/ 698445 h 4534608"/>
              <a:gd name="connsiteX3910" fmla="*/ 415570 w 12191999"/>
              <a:gd name="connsiteY3910" fmla="*/ 706814 h 4534608"/>
              <a:gd name="connsiteX3911" fmla="*/ 285426 w 12191999"/>
              <a:gd name="connsiteY3911" fmla="*/ 701452 h 4534608"/>
              <a:gd name="connsiteX3912" fmla="*/ 285426 w 12191999"/>
              <a:gd name="connsiteY3912" fmla="*/ 706814 h 4534608"/>
              <a:gd name="connsiteX3913" fmla="*/ 154631 w 12191999"/>
              <a:gd name="connsiteY3913" fmla="*/ 704198 h 4534608"/>
              <a:gd name="connsiteX3914" fmla="*/ 154631 w 12191999"/>
              <a:gd name="connsiteY3914" fmla="*/ 706814 h 4534608"/>
              <a:gd name="connsiteX3915" fmla="*/ 0 w 12191999"/>
              <a:gd name="connsiteY3915" fmla="*/ 706814 h 4534608"/>
              <a:gd name="connsiteX3916" fmla="*/ 0 w 12191999"/>
              <a:gd name="connsiteY3916" fmla="*/ 504678 h 4534608"/>
              <a:gd name="connsiteX3917" fmla="*/ 154631 w 12191999"/>
              <a:gd name="connsiteY3917" fmla="*/ 504678 h 4534608"/>
              <a:gd name="connsiteX3918" fmla="*/ 154631 w 12191999"/>
              <a:gd name="connsiteY3918" fmla="*/ 506639 h 4534608"/>
              <a:gd name="connsiteX3919" fmla="*/ 243182 w 12191999"/>
              <a:gd name="connsiteY3919" fmla="*/ 510561 h 4534608"/>
              <a:gd name="connsiteX3920" fmla="*/ 252207 w 12191999"/>
              <a:gd name="connsiteY3920" fmla="*/ 510561 h 4534608"/>
              <a:gd name="connsiteX3921" fmla="*/ 252207 w 12191999"/>
              <a:gd name="connsiteY3921" fmla="*/ 504678 h 4534608"/>
              <a:gd name="connsiteX3922" fmla="*/ 394905 w 12191999"/>
              <a:gd name="connsiteY3922" fmla="*/ 513961 h 4534608"/>
              <a:gd name="connsiteX3923" fmla="*/ 394905 w 12191999"/>
              <a:gd name="connsiteY3923" fmla="*/ 504678 h 4534608"/>
              <a:gd name="connsiteX3924" fmla="*/ 537344 w 12191999"/>
              <a:gd name="connsiteY3924" fmla="*/ 517753 h 4534608"/>
              <a:gd name="connsiteX3925" fmla="*/ 538128 w 12191999"/>
              <a:gd name="connsiteY3925" fmla="*/ 504678 h 4534608"/>
              <a:gd name="connsiteX3926" fmla="*/ 680045 w 12191999"/>
              <a:gd name="connsiteY3926" fmla="*/ 521282 h 4534608"/>
              <a:gd name="connsiteX3927" fmla="*/ 681353 w 12191999"/>
              <a:gd name="connsiteY3927" fmla="*/ 504678 h 4534608"/>
              <a:gd name="connsiteX3928" fmla="*/ 822616 w 12191999"/>
              <a:gd name="connsiteY3928" fmla="*/ 525339 h 4534608"/>
              <a:gd name="connsiteX3929" fmla="*/ 824578 w 12191999"/>
              <a:gd name="connsiteY3929" fmla="*/ 504678 h 4534608"/>
              <a:gd name="connsiteX3930" fmla="*/ 964922 w 12191999"/>
              <a:gd name="connsiteY3930" fmla="*/ 529654 h 4534608"/>
              <a:gd name="connsiteX3931" fmla="*/ 967799 w 12191999"/>
              <a:gd name="connsiteY3931" fmla="*/ 504678 h 4534608"/>
              <a:gd name="connsiteX3932" fmla="*/ 1106968 w 12191999"/>
              <a:gd name="connsiteY3932" fmla="*/ 534098 h 4534608"/>
              <a:gd name="connsiteX3933" fmla="*/ 1110888 w 12191999"/>
              <a:gd name="connsiteY3933" fmla="*/ 504678 h 4534608"/>
              <a:gd name="connsiteX3934" fmla="*/ 1248748 w 12191999"/>
              <a:gd name="connsiteY3934" fmla="*/ 538936 h 4534608"/>
              <a:gd name="connsiteX3935" fmla="*/ 1254113 w 12191999"/>
              <a:gd name="connsiteY3935" fmla="*/ 504678 h 4534608"/>
              <a:gd name="connsiteX3936" fmla="*/ 1390141 w 12191999"/>
              <a:gd name="connsiteY3936" fmla="*/ 543905 h 4534608"/>
              <a:gd name="connsiteX3937" fmla="*/ 1397336 w 12191999"/>
              <a:gd name="connsiteY3937" fmla="*/ 504678 h 4534608"/>
              <a:gd name="connsiteX3938" fmla="*/ 1531928 w 12191999"/>
              <a:gd name="connsiteY3938" fmla="*/ 549527 h 4534608"/>
              <a:gd name="connsiteX3939" fmla="*/ 1541345 w 12191999"/>
              <a:gd name="connsiteY3939" fmla="*/ 504678 h 4534608"/>
              <a:gd name="connsiteX3940" fmla="*/ 1672144 w 12191999"/>
              <a:gd name="connsiteY3940" fmla="*/ 555019 h 4534608"/>
              <a:gd name="connsiteX3941" fmla="*/ 1684177 w 12191999"/>
              <a:gd name="connsiteY3941" fmla="*/ 504678 h 4534608"/>
              <a:gd name="connsiteX3942" fmla="*/ 1811966 w 12191999"/>
              <a:gd name="connsiteY3942" fmla="*/ 560902 h 4534608"/>
              <a:gd name="connsiteX3943" fmla="*/ 1826355 w 12191999"/>
              <a:gd name="connsiteY3943" fmla="*/ 504678 h 4534608"/>
              <a:gd name="connsiteX3944" fmla="*/ 1950352 w 12191999"/>
              <a:gd name="connsiteY3944" fmla="*/ 566785 h 4534608"/>
              <a:gd name="connsiteX3945" fmla="*/ 1969579 w 12191999"/>
              <a:gd name="connsiteY3945" fmla="*/ 504678 h 4534608"/>
              <a:gd name="connsiteX3946" fmla="*/ 2088736 w 12191999"/>
              <a:gd name="connsiteY3946" fmla="*/ 572669 h 4534608"/>
              <a:gd name="connsiteX3947" fmla="*/ 2112805 w 12191999"/>
              <a:gd name="connsiteY3947" fmla="*/ 504678 h 4534608"/>
              <a:gd name="connsiteX3948" fmla="*/ 2227908 w 12191999"/>
              <a:gd name="connsiteY3948" fmla="*/ 578161 h 4534608"/>
              <a:gd name="connsiteX3949" fmla="*/ 7920121 w 12191999"/>
              <a:gd name="connsiteY3949" fmla="*/ 504411 h 4534608"/>
              <a:gd name="connsiteX3950" fmla="*/ 7921036 w 12191999"/>
              <a:gd name="connsiteY3950" fmla="*/ 517486 h 4534608"/>
              <a:gd name="connsiteX3951" fmla="*/ 8063346 w 12191999"/>
              <a:gd name="connsiteY3951" fmla="*/ 504411 h 4534608"/>
              <a:gd name="connsiteX3952" fmla="*/ 8063346 w 12191999"/>
              <a:gd name="connsiteY3952" fmla="*/ 513695 h 4534608"/>
              <a:gd name="connsiteX3953" fmla="*/ 8206046 w 12191999"/>
              <a:gd name="connsiteY3953" fmla="*/ 504411 h 4534608"/>
              <a:gd name="connsiteX3954" fmla="*/ 8206046 w 12191999"/>
              <a:gd name="connsiteY3954" fmla="*/ 510296 h 4534608"/>
              <a:gd name="connsiteX3955" fmla="*/ 8215202 w 12191999"/>
              <a:gd name="connsiteY3955" fmla="*/ 510296 h 4534608"/>
              <a:gd name="connsiteX3956" fmla="*/ 8303100 w 12191999"/>
              <a:gd name="connsiteY3956" fmla="*/ 506634 h 4534608"/>
              <a:gd name="connsiteX3957" fmla="*/ 8303100 w 12191999"/>
              <a:gd name="connsiteY3957" fmla="*/ 504673 h 4534608"/>
              <a:gd name="connsiteX3958" fmla="*/ 12190037 w 12191999"/>
              <a:gd name="connsiteY3958" fmla="*/ 504673 h 4534608"/>
              <a:gd name="connsiteX3959" fmla="*/ 12190037 w 12191999"/>
              <a:gd name="connsiteY3959" fmla="*/ 706805 h 4534608"/>
              <a:gd name="connsiteX3960" fmla="*/ 8301529 w 12191999"/>
              <a:gd name="connsiteY3960" fmla="*/ 706805 h 4534608"/>
              <a:gd name="connsiteX3961" fmla="*/ 8303884 w 12191999"/>
              <a:gd name="connsiteY3961" fmla="*/ 704190 h 4534608"/>
              <a:gd name="connsiteX3962" fmla="*/ 8173086 w 12191999"/>
              <a:gd name="connsiteY3962" fmla="*/ 706805 h 4534608"/>
              <a:gd name="connsiteX3963" fmla="*/ 8173086 w 12191999"/>
              <a:gd name="connsiteY3963" fmla="*/ 701444 h 4534608"/>
              <a:gd name="connsiteX3964" fmla="*/ 8042287 w 12191999"/>
              <a:gd name="connsiteY3964" fmla="*/ 706805 h 4534608"/>
              <a:gd name="connsiteX3965" fmla="*/ 8042287 w 12191999"/>
              <a:gd name="connsiteY3965" fmla="*/ 698438 h 4534608"/>
              <a:gd name="connsiteX3966" fmla="*/ 7911488 w 12191999"/>
              <a:gd name="connsiteY3966" fmla="*/ 706805 h 4534608"/>
              <a:gd name="connsiteX3967" fmla="*/ 7911488 w 12191999"/>
              <a:gd name="connsiteY3967" fmla="*/ 695169 h 4534608"/>
              <a:gd name="connsiteX3968" fmla="*/ 7781606 w 12191999"/>
              <a:gd name="connsiteY3968" fmla="*/ 706805 h 4534608"/>
              <a:gd name="connsiteX3969" fmla="*/ 7780822 w 12191999"/>
              <a:gd name="connsiteY3969" fmla="*/ 691638 h 4534608"/>
              <a:gd name="connsiteX3970" fmla="*/ 7651199 w 12191999"/>
              <a:gd name="connsiteY3970" fmla="*/ 706805 h 4534608"/>
              <a:gd name="connsiteX3971" fmla="*/ 7650023 w 12191999"/>
              <a:gd name="connsiteY3971" fmla="*/ 687978 h 4534608"/>
              <a:gd name="connsiteX3972" fmla="*/ 7520924 w 12191999"/>
              <a:gd name="connsiteY3972" fmla="*/ 706805 h 4534608"/>
              <a:gd name="connsiteX3973" fmla="*/ 7519094 w 12191999"/>
              <a:gd name="connsiteY3973" fmla="*/ 684056 h 4534608"/>
              <a:gd name="connsiteX3974" fmla="*/ 7390649 w 12191999"/>
              <a:gd name="connsiteY3974" fmla="*/ 706805 h 4534608"/>
              <a:gd name="connsiteX3975" fmla="*/ 7388033 w 12191999"/>
              <a:gd name="connsiteY3975" fmla="*/ 679872 h 4534608"/>
              <a:gd name="connsiteX3976" fmla="*/ 7260243 w 12191999"/>
              <a:gd name="connsiteY3976" fmla="*/ 706805 h 4534608"/>
              <a:gd name="connsiteX3977" fmla="*/ 7256712 w 12191999"/>
              <a:gd name="connsiteY3977" fmla="*/ 675296 h 4534608"/>
              <a:gd name="connsiteX3978" fmla="*/ 7129968 w 12191999"/>
              <a:gd name="connsiteY3978" fmla="*/ 706805 h 4534608"/>
              <a:gd name="connsiteX3979" fmla="*/ 7125129 w 12191999"/>
              <a:gd name="connsiteY3979" fmla="*/ 670589 h 4534608"/>
              <a:gd name="connsiteX3980" fmla="*/ 6999693 w 12191999"/>
              <a:gd name="connsiteY3980" fmla="*/ 706805 h 4534608"/>
              <a:gd name="connsiteX3981" fmla="*/ 6993152 w 12191999"/>
              <a:gd name="connsiteY3981" fmla="*/ 665490 h 4534608"/>
              <a:gd name="connsiteX3982" fmla="*/ 6869416 w 12191999"/>
              <a:gd name="connsiteY3982" fmla="*/ 706805 h 4534608"/>
              <a:gd name="connsiteX3983" fmla="*/ 6860785 w 12191999"/>
              <a:gd name="connsiteY3983" fmla="*/ 660129 h 4534608"/>
              <a:gd name="connsiteX3984" fmla="*/ 6739664 w 12191999"/>
              <a:gd name="connsiteY3984" fmla="*/ 707066 h 4534608"/>
              <a:gd name="connsiteX3985" fmla="*/ 6728678 w 12191999"/>
              <a:gd name="connsiteY3985" fmla="*/ 654769 h 4534608"/>
              <a:gd name="connsiteX3986" fmla="*/ 6609391 w 12191999"/>
              <a:gd name="connsiteY3986" fmla="*/ 707066 h 4534608"/>
              <a:gd name="connsiteX3987" fmla="*/ 6595394 w 12191999"/>
              <a:gd name="connsiteY3987" fmla="*/ 648886 h 4534608"/>
              <a:gd name="connsiteX3988" fmla="*/ 6479114 w 12191999"/>
              <a:gd name="connsiteY3988" fmla="*/ 707066 h 4534608"/>
              <a:gd name="connsiteX3989" fmla="*/ 6461586 w 12191999"/>
              <a:gd name="connsiteY3989" fmla="*/ 642871 h 4534608"/>
              <a:gd name="connsiteX3990" fmla="*/ 6348708 w 12191999"/>
              <a:gd name="connsiteY3990" fmla="*/ 707066 h 4534608"/>
              <a:gd name="connsiteX3991" fmla="*/ 6326865 w 12191999"/>
              <a:gd name="connsiteY3991" fmla="*/ 636726 h 4534608"/>
              <a:gd name="connsiteX3992" fmla="*/ 6218433 w 12191999"/>
              <a:gd name="connsiteY3992" fmla="*/ 707066 h 4534608"/>
              <a:gd name="connsiteX3993" fmla="*/ 6191488 w 12191999"/>
              <a:gd name="connsiteY3993" fmla="*/ 630842 h 4534608"/>
              <a:gd name="connsiteX3994" fmla="*/ 6088158 w 12191999"/>
              <a:gd name="connsiteY3994" fmla="*/ 707066 h 4534608"/>
              <a:gd name="connsiteX3995" fmla="*/ 6055197 w 12191999"/>
              <a:gd name="connsiteY3995" fmla="*/ 625221 h 4534608"/>
              <a:gd name="connsiteX3996" fmla="*/ 5957881 w 12191999"/>
              <a:gd name="connsiteY3996" fmla="*/ 707066 h 4534608"/>
              <a:gd name="connsiteX3997" fmla="*/ 5918642 w 12191999"/>
              <a:gd name="connsiteY3997" fmla="*/ 622344 h 4534608"/>
              <a:gd name="connsiteX3998" fmla="*/ 6058074 w 12191999"/>
              <a:gd name="connsiteY3998" fmla="*/ 504673 h 4534608"/>
              <a:gd name="connsiteX3999" fmla="*/ 6094305 w 12191999"/>
              <a:gd name="connsiteY3999" fmla="*/ 583121 h 4534608"/>
              <a:gd name="connsiteX4000" fmla="*/ 6201298 w 12191999"/>
              <a:gd name="connsiteY4000" fmla="*/ 504673 h 4534608"/>
              <a:gd name="connsiteX4001" fmla="*/ 6230859 w 12191999"/>
              <a:gd name="connsiteY4001" fmla="*/ 578414 h 4534608"/>
              <a:gd name="connsiteX4002" fmla="*/ 6344393 w 12191999"/>
              <a:gd name="connsiteY4002" fmla="*/ 504673 h 4534608"/>
              <a:gd name="connsiteX4003" fmla="*/ 6368459 w 12191999"/>
              <a:gd name="connsiteY4003" fmla="*/ 572661 h 4534608"/>
              <a:gd name="connsiteX4004" fmla="*/ 6487616 w 12191999"/>
              <a:gd name="connsiteY4004" fmla="*/ 504673 h 4534608"/>
              <a:gd name="connsiteX4005" fmla="*/ 6506974 w 12191999"/>
              <a:gd name="connsiteY4005" fmla="*/ 566778 h 4534608"/>
              <a:gd name="connsiteX4006" fmla="*/ 6630841 w 12191999"/>
              <a:gd name="connsiteY4006" fmla="*/ 504673 h 4534608"/>
              <a:gd name="connsiteX4007" fmla="*/ 6646144 w 12191999"/>
              <a:gd name="connsiteY4007" fmla="*/ 560894 h 4534608"/>
              <a:gd name="connsiteX4008" fmla="*/ 6774064 w 12191999"/>
              <a:gd name="connsiteY4008" fmla="*/ 504673 h 4534608"/>
              <a:gd name="connsiteX4009" fmla="*/ 6786097 w 12191999"/>
              <a:gd name="connsiteY4009" fmla="*/ 555011 h 4534608"/>
              <a:gd name="connsiteX4010" fmla="*/ 6916896 w 12191999"/>
              <a:gd name="connsiteY4010" fmla="*/ 504673 h 4534608"/>
              <a:gd name="connsiteX4011" fmla="*/ 6926183 w 12191999"/>
              <a:gd name="connsiteY4011" fmla="*/ 549519 h 4534608"/>
              <a:gd name="connsiteX4012" fmla="*/ 7060383 w 12191999"/>
              <a:gd name="connsiteY4012" fmla="*/ 504673 h 4534608"/>
              <a:gd name="connsiteX4013" fmla="*/ 7067445 w 12191999"/>
              <a:gd name="connsiteY4013" fmla="*/ 543897 h 4534608"/>
              <a:gd name="connsiteX4014" fmla="*/ 7203476 w 12191999"/>
              <a:gd name="connsiteY4014" fmla="*/ 504673 h 4534608"/>
              <a:gd name="connsiteX4015" fmla="*/ 7208969 w 12191999"/>
              <a:gd name="connsiteY4015" fmla="*/ 538928 h 4534608"/>
              <a:gd name="connsiteX4016" fmla="*/ 7346701 w 12191999"/>
              <a:gd name="connsiteY4016" fmla="*/ 504673 h 4534608"/>
              <a:gd name="connsiteX4017" fmla="*/ 7350756 w 12191999"/>
              <a:gd name="connsiteY4017" fmla="*/ 534091 h 4534608"/>
              <a:gd name="connsiteX4018" fmla="*/ 7489924 w 12191999"/>
              <a:gd name="connsiteY4018" fmla="*/ 504673 h 4534608"/>
              <a:gd name="connsiteX4019" fmla="*/ 7492803 w 12191999"/>
              <a:gd name="connsiteY4019" fmla="*/ 529645 h 4534608"/>
              <a:gd name="connsiteX4020" fmla="*/ 7633149 w 12191999"/>
              <a:gd name="connsiteY4020" fmla="*/ 504673 h 4534608"/>
              <a:gd name="connsiteX4021" fmla="*/ 7635111 w 12191999"/>
              <a:gd name="connsiteY4021" fmla="*/ 525331 h 4534608"/>
              <a:gd name="connsiteX4022" fmla="*/ 7776374 w 12191999"/>
              <a:gd name="connsiteY4022" fmla="*/ 504673 h 4534608"/>
              <a:gd name="connsiteX4023" fmla="*/ 7777681 w 12191999"/>
              <a:gd name="connsiteY4023" fmla="*/ 521278 h 4534608"/>
              <a:gd name="connsiteX4024" fmla="*/ 4118075 w 12191999"/>
              <a:gd name="connsiteY4024" fmla="*/ 504285 h 4534608"/>
              <a:gd name="connsiteX4025" fmla="*/ 4128801 w 12191999"/>
              <a:gd name="connsiteY4025" fmla="*/ 700406 h 4534608"/>
              <a:gd name="connsiteX4026" fmla="*/ 4064053 w 12191999"/>
              <a:gd name="connsiteY4026" fmla="*/ 706944 h 4534608"/>
              <a:gd name="connsiteX4027" fmla="*/ 4053330 w 12191999"/>
              <a:gd name="connsiteY4027" fmla="*/ 510823 h 4534608"/>
              <a:gd name="connsiteX4028" fmla="*/ 3258860 w 12191999"/>
              <a:gd name="connsiteY4028" fmla="*/ 504285 h 4534608"/>
              <a:gd name="connsiteX4029" fmla="*/ 3333939 w 12191999"/>
              <a:gd name="connsiteY4029" fmla="*/ 661185 h 4534608"/>
              <a:gd name="connsiteX4030" fmla="*/ 3281619 w 12191999"/>
              <a:gd name="connsiteY4030" fmla="*/ 706814 h 4534608"/>
              <a:gd name="connsiteX4031" fmla="*/ 3206538 w 12191999"/>
              <a:gd name="connsiteY4031" fmla="*/ 549920 h 4534608"/>
              <a:gd name="connsiteX4032" fmla="*/ 2972543 w 12191999"/>
              <a:gd name="connsiteY4032" fmla="*/ 504285 h 4534608"/>
              <a:gd name="connsiteX4033" fmla="*/ 3069069 w 12191999"/>
              <a:gd name="connsiteY4033" fmla="*/ 648111 h 4534608"/>
              <a:gd name="connsiteX4034" fmla="*/ 3021459 w 12191999"/>
              <a:gd name="connsiteY4034" fmla="*/ 706814 h 4534608"/>
              <a:gd name="connsiteX4035" fmla="*/ 2924931 w 12191999"/>
              <a:gd name="connsiteY4035" fmla="*/ 562993 h 4534608"/>
              <a:gd name="connsiteX4036" fmla="*/ 2686354 w 12191999"/>
              <a:gd name="connsiteY4036" fmla="*/ 504285 h 4534608"/>
              <a:gd name="connsiteX4037" fmla="*/ 2804073 w 12191999"/>
              <a:gd name="connsiteY4037" fmla="*/ 635037 h 4534608"/>
              <a:gd name="connsiteX4038" fmla="*/ 2760911 w 12191999"/>
              <a:gd name="connsiteY4038" fmla="*/ 706814 h 4534608"/>
              <a:gd name="connsiteX4039" fmla="*/ 2643192 w 12191999"/>
              <a:gd name="connsiteY4039" fmla="*/ 576068 h 4534608"/>
              <a:gd name="connsiteX4040" fmla="*/ 5769663 w 12191999"/>
              <a:gd name="connsiteY4040" fmla="*/ 504280 h 4534608"/>
              <a:gd name="connsiteX4041" fmla="*/ 5812958 w 12191999"/>
              <a:gd name="connsiteY4041" fmla="*/ 576060 h 4534608"/>
              <a:gd name="connsiteX4042" fmla="*/ 5695239 w 12191999"/>
              <a:gd name="connsiteY4042" fmla="*/ 706805 h 4534608"/>
              <a:gd name="connsiteX4043" fmla="*/ 5651945 w 12191999"/>
              <a:gd name="connsiteY4043" fmla="*/ 635027 h 4534608"/>
              <a:gd name="connsiteX4044" fmla="*/ 5483607 w 12191999"/>
              <a:gd name="connsiteY4044" fmla="*/ 504280 h 4534608"/>
              <a:gd name="connsiteX4045" fmla="*/ 5531087 w 12191999"/>
              <a:gd name="connsiteY4045" fmla="*/ 562985 h 4534608"/>
              <a:gd name="connsiteX4046" fmla="*/ 5434558 w 12191999"/>
              <a:gd name="connsiteY4046" fmla="*/ 706805 h 4534608"/>
              <a:gd name="connsiteX4047" fmla="*/ 5387078 w 12191999"/>
              <a:gd name="connsiteY4047" fmla="*/ 648101 h 4534608"/>
              <a:gd name="connsiteX4048" fmla="*/ 5196767 w 12191999"/>
              <a:gd name="connsiteY4048" fmla="*/ 504280 h 4534608"/>
              <a:gd name="connsiteX4049" fmla="*/ 5249086 w 12191999"/>
              <a:gd name="connsiteY4049" fmla="*/ 549912 h 4534608"/>
              <a:gd name="connsiteX4050" fmla="*/ 5174007 w 12191999"/>
              <a:gd name="connsiteY4050" fmla="*/ 706805 h 4534608"/>
              <a:gd name="connsiteX4051" fmla="*/ 5121687 w 12191999"/>
              <a:gd name="connsiteY4051" fmla="*/ 661175 h 4534608"/>
              <a:gd name="connsiteX4052" fmla="*/ 4909794 w 12191999"/>
              <a:gd name="connsiteY4052" fmla="*/ 504150 h 4534608"/>
              <a:gd name="connsiteX4053" fmla="*/ 4966037 w 12191999"/>
              <a:gd name="connsiteY4053" fmla="*/ 536837 h 4534608"/>
              <a:gd name="connsiteX4054" fmla="*/ 4912410 w 12191999"/>
              <a:gd name="connsiteY4054" fmla="*/ 706805 h 4534608"/>
              <a:gd name="connsiteX4055" fmla="*/ 4856297 w 12191999"/>
              <a:gd name="connsiteY4055" fmla="*/ 674119 h 4534608"/>
              <a:gd name="connsiteX4056" fmla="*/ 4623868 w 12191999"/>
              <a:gd name="connsiteY4056" fmla="*/ 504150 h 4534608"/>
              <a:gd name="connsiteX4057" fmla="*/ 4684428 w 12191999"/>
              <a:gd name="connsiteY4057" fmla="*/ 523762 h 4534608"/>
              <a:gd name="connsiteX4058" fmla="*/ 4652253 w 12191999"/>
              <a:gd name="connsiteY4058" fmla="*/ 706805 h 4534608"/>
              <a:gd name="connsiteX4059" fmla="*/ 4591692 w 12191999"/>
              <a:gd name="connsiteY4059" fmla="*/ 687194 h 4534608"/>
              <a:gd name="connsiteX4060" fmla="*/ 4337943 w 12191999"/>
              <a:gd name="connsiteY4060" fmla="*/ 504150 h 4534608"/>
              <a:gd name="connsiteX4061" fmla="*/ 4403342 w 12191999"/>
              <a:gd name="connsiteY4061" fmla="*/ 510687 h 4534608"/>
              <a:gd name="connsiteX4062" fmla="*/ 4392617 w 12191999"/>
              <a:gd name="connsiteY4062" fmla="*/ 706805 h 4534608"/>
              <a:gd name="connsiteX4063" fmla="*/ 4327218 w 12191999"/>
              <a:gd name="connsiteY4063" fmla="*/ 700268 h 4534608"/>
              <a:gd name="connsiteX4064" fmla="*/ 3688795 w 12191999"/>
              <a:gd name="connsiteY4064" fmla="*/ 251164 h 4534608"/>
              <a:gd name="connsiteX4065" fmla="*/ 3731698 w 12191999"/>
              <a:gd name="connsiteY4065" fmla="*/ 427277 h 4534608"/>
              <a:gd name="connsiteX4066" fmla="*/ 3673360 w 12191999"/>
              <a:gd name="connsiteY4066" fmla="*/ 453427 h 4534608"/>
              <a:gd name="connsiteX4067" fmla="*/ 3630460 w 12191999"/>
              <a:gd name="connsiteY4067" fmla="*/ 277314 h 4534608"/>
              <a:gd name="connsiteX4068" fmla="*/ 3402348 w 12191999"/>
              <a:gd name="connsiteY4068" fmla="*/ 251164 h 4534608"/>
              <a:gd name="connsiteX4069" fmla="*/ 3466699 w 12191999"/>
              <a:gd name="connsiteY4069" fmla="*/ 414203 h 4534608"/>
              <a:gd name="connsiteX4070" fmla="*/ 3412680 w 12191999"/>
              <a:gd name="connsiteY4070" fmla="*/ 453427 h 4534608"/>
              <a:gd name="connsiteX4071" fmla="*/ 3348327 w 12191999"/>
              <a:gd name="connsiteY4071" fmla="*/ 290388 h 4534608"/>
              <a:gd name="connsiteX4072" fmla="*/ 3974849 w 12191999"/>
              <a:gd name="connsiteY4072" fmla="*/ 251034 h 4534608"/>
              <a:gd name="connsiteX4073" fmla="*/ 3996303 w 12191999"/>
              <a:gd name="connsiteY4073" fmla="*/ 440221 h 4534608"/>
              <a:gd name="connsiteX4074" fmla="*/ 3933650 w 12191999"/>
              <a:gd name="connsiteY4074" fmla="*/ 453295 h 4534608"/>
              <a:gd name="connsiteX4075" fmla="*/ 3912199 w 12191999"/>
              <a:gd name="connsiteY4075" fmla="*/ 264108 h 4534608"/>
              <a:gd name="connsiteX4076" fmla="*/ 3115768 w 12191999"/>
              <a:gd name="connsiteY4076" fmla="*/ 251034 h 4534608"/>
              <a:gd name="connsiteX4077" fmla="*/ 3201571 w 12191999"/>
              <a:gd name="connsiteY4077" fmla="*/ 401128 h 4534608"/>
              <a:gd name="connsiteX4078" fmla="*/ 3151736 w 12191999"/>
              <a:gd name="connsiteY4078" fmla="*/ 453427 h 4534608"/>
              <a:gd name="connsiteX4079" fmla="*/ 3066064 w 12191999"/>
              <a:gd name="connsiteY4079" fmla="*/ 303332 h 4534608"/>
              <a:gd name="connsiteX4080" fmla="*/ 2829580 w 12191999"/>
              <a:gd name="connsiteY4080" fmla="*/ 251034 h 4534608"/>
              <a:gd name="connsiteX4081" fmla="*/ 2936835 w 12191999"/>
              <a:gd name="connsiteY4081" fmla="*/ 388054 h 4534608"/>
              <a:gd name="connsiteX4082" fmla="*/ 2891449 w 12191999"/>
              <a:gd name="connsiteY4082" fmla="*/ 453427 h 4534608"/>
              <a:gd name="connsiteX4083" fmla="*/ 2784192 w 12191999"/>
              <a:gd name="connsiteY4083" fmla="*/ 316406 h 4534608"/>
              <a:gd name="connsiteX4084" fmla="*/ 2542869 w 12191999"/>
              <a:gd name="connsiteY4084" fmla="*/ 251034 h 4534608"/>
              <a:gd name="connsiteX4085" fmla="*/ 2671576 w 12191999"/>
              <a:gd name="connsiteY4085" fmla="*/ 374979 h 4534608"/>
              <a:gd name="connsiteX4086" fmla="*/ 2630504 w 12191999"/>
              <a:gd name="connsiteY4086" fmla="*/ 453427 h 4534608"/>
              <a:gd name="connsiteX4087" fmla="*/ 2501930 w 12191999"/>
              <a:gd name="connsiteY4087" fmla="*/ 329480 h 4534608"/>
              <a:gd name="connsiteX4088" fmla="*/ 5053410 w 12191999"/>
              <a:gd name="connsiteY4088" fmla="*/ 251029 h 4534608"/>
              <a:gd name="connsiteX4089" fmla="*/ 5107431 w 12191999"/>
              <a:gd name="connsiteY4089" fmla="*/ 290252 h 4534608"/>
              <a:gd name="connsiteX4090" fmla="*/ 5043209 w 12191999"/>
              <a:gd name="connsiteY4090" fmla="*/ 453290 h 4534608"/>
              <a:gd name="connsiteX4091" fmla="*/ 4989058 w 12191999"/>
              <a:gd name="connsiteY4091" fmla="*/ 414067 h 4534608"/>
              <a:gd name="connsiteX4092" fmla="*/ 4767616 w 12191999"/>
              <a:gd name="connsiteY4092" fmla="*/ 251029 h 4534608"/>
              <a:gd name="connsiteX4093" fmla="*/ 4825952 w 12191999"/>
              <a:gd name="connsiteY4093" fmla="*/ 277178 h 4534608"/>
              <a:gd name="connsiteX4094" fmla="*/ 4783051 w 12191999"/>
              <a:gd name="connsiteY4094" fmla="*/ 453290 h 4534608"/>
              <a:gd name="connsiteX4095" fmla="*/ 4724714 w 12191999"/>
              <a:gd name="connsiteY4095" fmla="*/ 427142 h 4534608"/>
              <a:gd name="connsiteX4096" fmla="*/ 4482999 w 12191999"/>
              <a:gd name="connsiteY4096" fmla="*/ 251029 h 4534608"/>
              <a:gd name="connsiteX4097" fmla="*/ 4545651 w 12191999"/>
              <a:gd name="connsiteY4097" fmla="*/ 264103 h 4534608"/>
              <a:gd name="connsiteX4098" fmla="*/ 4523416 w 12191999"/>
              <a:gd name="connsiteY4098" fmla="*/ 453290 h 4534608"/>
              <a:gd name="connsiteX4099" fmla="*/ 4461548 w 12191999"/>
              <a:gd name="connsiteY4099" fmla="*/ 440217 h 4534608"/>
              <a:gd name="connsiteX4100" fmla="*/ 4196426 w 12191999"/>
              <a:gd name="connsiteY4100" fmla="*/ 251029 h 4534608"/>
              <a:gd name="connsiteX4101" fmla="*/ 4263388 w 12191999"/>
              <a:gd name="connsiteY4101" fmla="*/ 251029 h 4534608"/>
              <a:gd name="connsiteX4102" fmla="*/ 4263388 w 12191999"/>
              <a:gd name="connsiteY4102" fmla="*/ 453290 h 4534608"/>
              <a:gd name="connsiteX4103" fmla="*/ 4261555 w 12191999"/>
              <a:gd name="connsiteY4103" fmla="*/ 453290 h 4534608"/>
              <a:gd name="connsiteX4104" fmla="*/ 4261555 w 12191999"/>
              <a:gd name="connsiteY4104" fmla="*/ 453295 h 4534608"/>
              <a:gd name="connsiteX4105" fmla="*/ 4194593 w 12191999"/>
              <a:gd name="connsiteY4105" fmla="*/ 453295 h 4534608"/>
              <a:gd name="connsiteX4106" fmla="*/ 4194593 w 12191999"/>
              <a:gd name="connsiteY4106" fmla="*/ 251164 h 4534608"/>
              <a:gd name="connsiteX4107" fmla="*/ 4196426 w 12191999"/>
              <a:gd name="connsiteY4107" fmla="*/ 251164 h 4534608"/>
              <a:gd name="connsiteX4108" fmla="*/ 5913149 w 12191999"/>
              <a:gd name="connsiteY4108" fmla="*/ 250898 h 4534608"/>
              <a:gd name="connsiteX4109" fmla="*/ 5954220 w 12191999"/>
              <a:gd name="connsiteY4109" fmla="*/ 329344 h 4534608"/>
              <a:gd name="connsiteX4110" fmla="*/ 5825514 w 12191999"/>
              <a:gd name="connsiteY4110" fmla="*/ 453290 h 4534608"/>
              <a:gd name="connsiteX4111" fmla="*/ 5784445 w 12191999"/>
              <a:gd name="connsiteY4111" fmla="*/ 374843 h 4534608"/>
              <a:gd name="connsiteX4112" fmla="*/ 5626832 w 12191999"/>
              <a:gd name="connsiteY4112" fmla="*/ 250898 h 4534608"/>
              <a:gd name="connsiteX4113" fmla="*/ 5672219 w 12191999"/>
              <a:gd name="connsiteY4113" fmla="*/ 316270 h 4534608"/>
              <a:gd name="connsiteX4114" fmla="*/ 5564963 w 12191999"/>
              <a:gd name="connsiteY4114" fmla="*/ 453290 h 4534608"/>
              <a:gd name="connsiteX4115" fmla="*/ 5519577 w 12191999"/>
              <a:gd name="connsiteY4115" fmla="*/ 387918 h 4534608"/>
              <a:gd name="connsiteX4116" fmla="*/ 5340905 w 12191999"/>
              <a:gd name="connsiteY4116" fmla="*/ 250898 h 4534608"/>
              <a:gd name="connsiteX4117" fmla="*/ 5390609 w 12191999"/>
              <a:gd name="connsiteY4117" fmla="*/ 303195 h 4534608"/>
              <a:gd name="connsiteX4118" fmla="*/ 5304805 w 12191999"/>
              <a:gd name="connsiteY4118" fmla="*/ 453290 h 4534608"/>
              <a:gd name="connsiteX4119" fmla="*/ 5255101 w 12191999"/>
              <a:gd name="connsiteY4119" fmla="*/ 400993 h 4534608"/>
              <a:gd name="connsiteX4120" fmla="*/ 3832019 w 12191999"/>
              <a:gd name="connsiteY4120" fmla="*/ 250773 h 4534608"/>
              <a:gd name="connsiteX4121" fmla="*/ 3864196 w 12191999"/>
              <a:gd name="connsiteY4121" fmla="*/ 433815 h 4534608"/>
              <a:gd name="connsiteX4122" fmla="*/ 3803375 w 12191999"/>
              <a:gd name="connsiteY4122" fmla="*/ 454342 h 4534608"/>
              <a:gd name="connsiteX4123" fmla="*/ 3771198 w 12191999"/>
              <a:gd name="connsiteY4123" fmla="*/ 271300 h 4534608"/>
              <a:gd name="connsiteX4124" fmla="*/ 3545571 w 12191999"/>
              <a:gd name="connsiteY4124" fmla="*/ 250773 h 4534608"/>
              <a:gd name="connsiteX4125" fmla="*/ 3599198 w 12191999"/>
              <a:gd name="connsiteY4125" fmla="*/ 420740 h 4534608"/>
              <a:gd name="connsiteX4126" fmla="*/ 3542955 w 12191999"/>
              <a:gd name="connsiteY4126" fmla="*/ 453427 h 4534608"/>
              <a:gd name="connsiteX4127" fmla="*/ 3489328 w 12191999"/>
              <a:gd name="connsiteY4127" fmla="*/ 283459 h 4534608"/>
              <a:gd name="connsiteX4128" fmla="*/ 3258860 w 12191999"/>
              <a:gd name="connsiteY4128" fmla="*/ 250773 h 4534608"/>
              <a:gd name="connsiteX4129" fmla="*/ 3333939 w 12191999"/>
              <a:gd name="connsiteY4129" fmla="*/ 407665 h 4534608"/>
              <a:gd name="connsiteX4130" fmla="*/ 3281619 w 12191999"/>
              <a:gd name="connsiteY4130" fmla="*/ 453427 h 4534608"/>
              <a:gd name="connsiteX4131" fmla="*/ 3206538 w 12191999"/>
              <a:gd name="connsiteY4131" fmla="*/ 296533 h 4534608"/>
              <a:gd name="connsiteX4132" fmla="*/ 2972543 w 12191999"/>
              <a:gd name="connsiteY4132" fmla="*/ 250773 h 4534608"/>
              <a:gd name="connsiteX4133" fmla="*/ 3069069 w 12191999"/>
              <a:gd name="connsiteY4133" fmla="*/ 394591 h 4534608"/>
              <a:gd name="connsiteX4134" fmla="*/ 3021459 w 12191999"/>
              <a:gd name="connsiteY4134" fmla="*/ 453295 h 4534608"/>
              <a:gd name="connsiteX4135" fmla="*/ 2924931 w 12191999"/>
              <a:gd name="connsiteY4135" fmla="*/ 309477 h 4534608"/>
              <a:gd name="connsiteX4136" fmla="*/ 2686354 w 12191999"/>
              <a:gd name="connsiteY4136" fmla="*/ 250773 h 4534608"/>
              <a:gd name="connsiteX4137" fmla="*/ 2804073 w 12191999"/>
              <a:gd name="connsiteY4137" fmla="*/ 381516 h 4534608"/>
              <a:gd name="connsiteX4138" fmla="*/ 2760911 w 12191999"/>
              <a:gd name="connsiteY4138" fmla="*/ 453295 h 4534608"/>
              <a:gd name="connsiteX4139" fmla="*/ 2643192 w 12191999"/>
              <a:gd name="connsiteY4139" fmla="*/ 322551 h 4534608"/>
              <a:gd name="connsiteX4140" fmla="*/ 5769663 w 12191999"/>
              <a:gd name="connsiteY4140" fmla="*/ 250767 h 4534608"/>
              <a:gd name="connsiteX4141" fmla="*/ 5812958 w 12191999"/>
              <a:gd name="connsiteY4141" fmla="*/ 322546 h 4534608"/>
              <a:gd name="connsiteX4142" fmla="*/ 5695239 w 12191999"/>
              <a:gd name="connsiteY4142" fmla="*/ 453290 h 4534608"/>
              <a:gd name="connsiteX4143" fmla="*/ 5651945 w 12191999"/>
              <a:gd name="connsiteY4143" fmla="*/ 381511 h 4534608"/>
              <a:gd name="connsiteX4144" fmla="*/ 5483607 w 12191999"/>
              <a:gd name="connsiteY4144" fmla="*/ 250767 h 4534608"/>
              <a:gd name="connsiteX4145" fmla="*/ 5531087 w 12191999"/>
              <a:gd name="connsiteY4145" fmla="*/ 309471 h 4534608"/>
              <a:gd name="connsiteX4146" fmla="*/ 5434558 w 12191999"/>
              <a:gd name="connsiteY4146" fmla="*/ 453290 h 4534608"/>
              <a:gd name="connsiteX4147" fmla="*/ 5387078 w 12191999"/>
              <a:gd name="connsiteY4147" fmla="*/ 394586 h 4534608"/>
              <a:gd name="connsiteX4148" fmla="*/ 4118075 w 12191999"/>
              <a:gd name="connsiteY4148" fmla="*/ 250642 h 4534608"/>
              <a:gd name="connsiteX4149" fmla="*/ 4128801 w 12191999"/>
              <a:gd name="connsiteY4149" fmla="*/ 446757 h 4534608"/>
              <a:gd name="connsiteX4150" fmla="*/ 4064053 w 12191999"/>
              <a:gd name="connsiteY4150" fmla="*/ 453295 h 4534608"/>
              <a:gd name="connsiteX4151" fmla="*/ 4053330 w 12191999"/>
              <a:gd name="connsiteY4151" fmla="*/ 257180 h 4534608"/>
              <a:gd name="connsiteX4152" fmla="*/ 252207 w 12191999"/>
              <a:gd name="connsiteY4152" fmla="*/ 250642 h 4534608"/>
              <a:gd name="connsiteX4153" fmla="*/ 394905 w 12191999"/>
              <a:gd name="connsiteY4153" fmla="*/ 260055 h 4534608"/>
              <a:gd name="connsiteX4154" fmla="*/ 394905 w 12191999"/>
              <a:gd name="connsiteY4154" fmla="*/ 250642 h 4534608"/>
              <a:gd name="connsiteX4155" fmla="*/ 537344 w 12191999"/>
              <a:gd name="connsiteY4155" fmla="*/ 263717 h 4534608"/>
              <a:gd name="connsiteX4156" fmla="*/ 538128 w 12191999"/>
              <a:gd name="connsiteY4156" fmla="*/ 250642 h 4534608"/>
              <a:gd name="connsiteX4157" fmla="*/ 680045 w 12191999"/>
              <a:gd name="connsiteY4157" fmla="*/ 267247 h 4534608"/>
              <a:gd name="connsiteX4158" fmla="*/ 681353 w 12191999"/>
              <a:gd name="connsiteY4158" fmla="*/ 250642 h 4534608"/>
              <a:gd name="connsiteX4159" fmla="*/ 822616 w 12191999"/>
              <a:gd name="connsiteY4159" fmla="*/ 271300 h 4534608"/>
              <a:gd name="connsiteX4160" fmla="*/ 824578 w 12191999"/>
              <a:gd name="connsiteY4160" fmla="*/ 251034 h 4534608"/>
              <a:gd name="connsiteX4161" fmla="*/ 964922 w 12191999"/>
              <a:gd name="connsiteY4161" fmla="*/ 276006 h 4534608"/>
              <a:gd name="connsiteX4162" fmla="*/ 967799 w 12191999"/>
              <a:gd name="connsiteY4162" fmla="*/ 251034 h 4534608"/>
              <a:gd name="connsiteX4163" fmla="*/ 1106968 w 12191999"/>
              <a:gd name="connsiteY4163" fmla="*/ 280582 h 4534608"/>
              <a:gd name="connsiteX4164" fmla="*/ 1110888 w 12191999"/>
              <a:gd name="connsiteY4164" fmla="*/ 251034 h 4534608"/>
              <a:gd name="connsiteX4165" fmla="*/ 1248748 w 12191999"/>
              <a:gd name="connsiteY4165" fmla="*/ 285420 h 4534608"/>
              <a:gd name="connsiteX4166" fmla="*/ 1254113 w 12191999"/>
              <a:gd name="connsiteY4166" fmla="*/ 251034 h 4534608"/>
              <a:gd name="connsiteX4167" fmla="*/ 1390141 w 12191999"/>
              <a:gd name="connsiteY4167" fmla="*/ 290258 h 4534608"/>
              <a:gd name="connsiteX4168" fmla="*/ 1397336 w 12191999"/>
              <a:gd name="connsiteY4168" fmla="*/ 251034 h 4534608"/>
              <a:gd name="connsiteX4169" fmla="*/ 1531928 w 12191999"/>
              <a:gd name="connsiteY4169" fmla="*/ 295880 h 4534608"/>
              <a:gd name="connsiteX4170" fmla="*/ 1541345 w 12191999"/>
              <a:gd name="connsiteY4170" fmla="*/ 251034 h 4534608"/>
              <a:gd name="connsiteX4171" fmla="*/ 1672144 w 12191999"/>
              <a:gd name="connsiteY4171" fmla="*/ 301501 h 4534608"/>
              <a:gd name="connsiteX4172" fmla="*/ 1684177 w 12191999"/>
              <a:gd name="connsiteY4172" fmla="*/ 251034 h 4534608"/>
              <a:gd name="connsiteX4173" fmla="*/ 1811966 w 12191999"/>
              <a:gd name="connsiteY4173" fmla="*/ 307254 h 4534608"/>
              <a:gd name="connsiteX4174" fmla="*/ 1826355 w 12191999"/>
              <a:gd name="connsiteY4174" fmla="*/ 251034 h 4534608"/>
              <a:gd name="connsiteX4175" fmla="*/ 1950352 w 12191999"/>
              <a:gd name="connsiteY4175" fmla="*/ 313138 h 4534608"/>
              <a:gd name="connsiteX4176" fmla="*/ 1969579 w 12191999"/>
              <a:gd name="connsiteY4176" fmla="*/ 251034 h 4534608"/>
              <a:gd name="connsiteX4177" fmla="*/ 2088736 w 12191999"/>
              <a:gd name="connsiteY4177" fmla="*/ 319022 h 4534608"/>
              <a:gd name="connsiteX4178" fmla="*/ 2112805 w 12191999"/>
              <a:gd name="connsiteY4178" fmla="*/ 251034 h 4534608"/>
              <a:gd name="connsiteX4179" fmla="*/ 2226992 w 12191999"/>
              <a:gd name="connsiteY4179" fmla="*/ 324774 h 4534608"/>
              <a:gd name="connsiteX4180" fmla="*/ 2256680 w 12191999"/>
              <a:gd name="connsiteY4180" fmla="*/ 251034 h 4534608"/>
              <a:gd name="connsiteX4181" fmla="*/ 2363937 w 12191999"/>
              <a:gd name="connsiteY4181" fmla="*/ 329873 h 4534608"/>
              <a:gd name="connsiteX4182" fmla="*/ 2400168 w 12191999"/>
              <a:gd name="connsiteY4182" fmla="*/ 250773 h 4534608"/>
              <a:gd name="connsiteX4183" fmla="*/ 2539466 w 12191999"/>
              <a:gd name="connsiteY4183" fmla="*/ 368443 h 4534608"/>
              <a:gd name="connsiteX4184" fmla="*/ 2500230 w 12191999"/>
              <a:gd name="connsiteY4184" fmla="*/ 453295 h 4534608"/>
              <a:gd name="connsiteX4185" fmla="*/ 2402913 w 12191999"/>
              <a:gd name="connsiteY4185" fmla="*/ 371319 h 4534608"/>
              <a:gd name="connsiteX4186" fmla="*/ 2369951 w 12191999"/>
              <a:gd name="connsiteY4186" fmla="*/ 453295 h 4534608"/>
              <a:gd name="connsiteX4187" fmla="*/ 2266623 w 12191999"/>
              <a:gd name="connsiteY4187" fmla="*/ 376941 h 4534608"/>
              <a:gd name="connsiteX4188" fmla="*/ 2239548 w 12191999"/>
              <a:gd name="connsiteY4188" fmla="*/ 453295 h 4534608"/>
              <a:gd name="connsiteX4189" fmla="*/ 2131116 w 12191999"/>
              <a:gd name="connsiteY4189" fmla="*/ 382955 h 4534608"/>
              <a:gd name="connsiteX4190" fmla="*/ 2109273 w 12191999"/>
              <a:gd name="connsiteY4190" fmla="*/ 453295 h 4534608"/>
              <a:gd name="connsiteX4191" fmla="*/ 1996524 w 12191999"/>
              <a:gd name="connsiteY4191" fmla="*/ 388969 h 4534608"/>
              <a:gd name="connsiteX4192" fmla="*/ 1979651 w 12191999"/>
              <a:gd name="connsiteY4192" fmla="*/ 453295 h 4534608"/>
              <a:gd name="connsiteX4193" fmla="*/ 1863240 w 12191999"/>
              <a:gd name="connsiteY4193" fmla="*/ 394984 h 4534608"/>
              <a:gd name="connsiteX4194" fmla="*/ 1849376 w 12191999"/>
              <a:gd name="connsiteY4194" fmla="*/ 453295 h 4534608"/>
              <a:gd name="connsiteX4195" fmla="*/ 1729956 w 12191999"/>
              <a:gd name="connsiteY4195" fmla="*/ 400998 h 4534608"/>
              <a:gd name="connsiteX4196" fmla="*/ 1718970 w 12191999"/>
              <a:gd name="connsiteY4196" fmla="*/ 453295 h 4534608"/>
              <a:gd name="connsiteX4197" fmla="*/ 1597195 w 12191999"/>
              <a:gd name="connsiteY4197" fmla="*/ 406489 h 4534608"/>
              <a:gd name="connsiteX4198" fmla="*/ 1588694 w 12191999"/>
              <a:gd name="connsiteY4198" fmla="*/ 453295 h 4534608"/>
              <a:gd name="connsiteX4199" fmla="*/ 1464959 w 12191999"/>
              <a:gd name="connsiteY4199" fmla="*/ 411849 h 4534608"/>
              <a:gd name="connsiteX4200" fmla="*/ 1458420 w 12191999"/>
              <a:gd name="connsiteY4200" fmla="*/ 453295 h 4534608"/>
              <a:gd name="connsiteX4201" fmla="*/ 1332983 w 12191999"/>
              <a:gd name="connsiteY4201" fmla="*/ 416948 h 4534608"/>
              <a:gd name="connsiteX4202" fmla="*/ 1328013 w 12191999"/>
              <a:gd name="connsiteY4202" fmla="*/ 453295 h 4534608"/>
              <a:gd name="connsiteX4203" fmla="*/ 1200877 w 12191999"/>
              <a:gd name="connsiteY4203" fmla="*/ 421786 h 4534608"/>
              <a:gd name="connsiteX4204" fmla="*/ 1197214 w 12191999"/>
              <a:gd name="connsiteY4204" fmla="*/ 453295 h 4534608"/>
              <a:gd name="connsiteX4205" fmla="*/ 1069037 w 12191999"/>
              <a:gd name="connsiteY4205" fmla="*/ 426232 h 4534608"/>
              <a:gd name="connsiteX4206" fmla="*/ 1066421 w 12191999"/>
              <a:gd name="connsiteY4206" fmla="*/ 453295 h 4534608"/>
              <a:gd name="connsiteX4207" fmla="*/ 937977 w 12191999"/>
              <a:gd name="connsiteY4207" fmla="*/ 430416 h 4534608"/>
              <a:gd name="connsiteX4208" fmla="*/ 936278 w 12191999"/>
              <a:gd name="connsiteY4208" fmla="*/ 453295 h 4534608"/>
              <a:gd name="connsiteX4209" fmla="*/ 807050 w 12191999"/>
              <a:gd name="connsiteY4209" fmla="*/ 434469 h 4534608"/>
              <a:gd name="connsiteX4210" fmla="*/ 805873 w 12191999"/>
              <a:gd name="connsiteY4210" fmla="*/ 453295 h 4534608"/>
              <a:gd name="connsiteX4211" fmla="*/ 676383 w 12191999"/>
              <a:gd name="connsiteY4211" fmla="*/ 438129 h 4534608"/>
              <a:gd name="connsiteX4212" fmla="*/ 675597 w 12191999"/>
              <a:gd name="connsiteY4212" fmla="*/ 453295 h 4534608"/>
              <a:gd name="connsiteX4213" fmla="*/ 545715 w 12191999"/>
              <a:gd name="connsiteY4213" fmla="*/ 441528 h 4534608"/>
              <a:gd name="connsiteX4214" fmla="*/ 545715 w 12191999"/>
              <a:gd name="connsiteY4214" fmla="*/ 453295 h 4534608"/>
              <a:gd name="connsiteX4215" fmla="*/ 415570 w 12191999"/>
              <a:gd name="connsiteY4215" fmla="*/ 444797 h 4534608"/>
              <a:gd name="connsiteX4216" fmla="*/ 415570 w 12191999"/>
              <a:gd name="connsiteY4216" fmla="*/ 453295 h 4534608"/>
              <a:gd name="connsiteX4217" fmla="*/ 285426 w 12191999"/>
              <a:gd name="connsiteY4217" fmla="*/ 447804 h 4534608"/>
              <a:gd name="connsiteX4218" fmla="*/ 285426 w 12191999"/>
              <a:gd name="connsiteY4218" fmla="*/ 453295 h 4534608"/>
              <a:gd name="connsiteX4219" fmla="*/ 154631 w 12191999"/>
              <a:gd name="connsiteY4219" fmla="*/ 450550 h 4534608"/>
              <a:gd name="connsiteX4220" fmla="*/ 154631 w 12191999"/>
              <a:gd name="connsiteY4220" fmla="*/ 453295 h 4534608"/>
              <a:gd name="connsiteX4221" fmla="*/ 0 w 12191999"/>
              <a:gd name="connsiteY4221" fmla="*/ 453295 h 4534608"/>
              <a:gd name="connsiteX4222" fmla="*/ 0 w 12191999"/>
              <a:gd name="connsiteY4222" fmla="*/ 250903 h 4534608"/>
              <a:gd name="connsiteX4223" fmla="*/ 155285 w 12191999"/>
              <a:gd name="connsiteY4223" fmla="*/ 250903 h 4534608"/>
              <a:gd name="connsiteX4224" fmla="*/ 155285 w 12191999"/>
              <a:gd name="connsiteY4224" fmla="*/ 252864 h 4534608"/>
              <a:gd name="connsiteX4225" fmla="*/ 243182 w 12191999"/>
              <a:gd name="connsiteY4225" fmla="*/ 256526 h 4534608"/>
              <a:gd name="connsiteX4226" fmla="*/ 252207 w 12191999"/>
              <a:gd name="connsiteY4226" fmla="*/ 256526 h 4534608"/>
              <a:gd name="connsiteX4227" fmla="*/ 7060383 w 12191999"/>
              <a:gd name="connsiteY4227" fmla="*/ 250637 h 4534608"/>
              <a:gd name="connsiteX4228" fmla="*/ 7067445 w 12191999"/>
              <a:gd name="connsiteY4228" fmla="*/ 289859 h 4534608"/>
              <a:gd name="connsiteX4229" fmla="*/ 7203476 w 12191999"/>
              <a:gd name="connsiteY4229" fmla="*/ 250637 h 4534608"/>
              <a:gd name="connsiteX4230" fmla="*/ 7208969 w 12191999"/>
              <a:gd name="connsiteY4230" fmla="*/ 285022 h 4534608"/>
              <a:gd name="connsiteX4231" fmla="*/ 7346701 w 12191999"/>
              <a:gd name="connsiteY4231" fmla="*/ 250637 h 4534608"/>
              <a:gd name="connsiteX4232" fmla="*/ 7350756 w 12191999"/>
              <a:gd name="connsiteY4232" fmla="*/ 280185 h 4534608"/>
              <a:gd name="connsiteX4233" fmla="*/ 7489924 w 12191999"/>
              <a:gd name="connsiteY4233" fmla="*/ 250637 h 4534608"/>
              <a:gd name="connsiteX4234" fmla="*/ 7492803 w 12191999"/>
              <a:gd name="connsiteY4234" fmla="*/ 275609 h 4534608"/>
              <a:gd name="connsiteX4235" fmla="*/ 7633149 w 12191999"/>
              <a:gd name="connsiteY4235" fmla="*/ 250637 h 4534608"/>
              <a:gd name="connsiteX4236" fmla="*/ 7635111 w 12191999"/>
              <a:gd name="connsiteY4236" fmla="*/ 271295 h 4534608"/>
              <a:gd name="connsiteX4237" fmla="*/ 7776374 w 12191999"/>
              <a:gd name="connsiteY4237" fmla="*/ 251029 h 4534608"/>
              <a:gd name="connsiteX4238" fmla="*/ 7777681 w 12191999"/>
              <a:gd name="connsiteY4238" fmla="*/ 267633 h 4534608"/>
              <a:gd name="connsiteX4239" fmla="*/ 7920121 w 12191999"/>
              <a:gd name="connsiteY4239" fmla="*/ 250767 h 4534608"/>
              <a:gd name="connsiteX4240" fmla="*/ 7921036 w 12191999"/>
              <a:gd name="connsiteY4240" fmla="*/ 263842 h 4534608"/>
              <a:gd name="connsiteX4241" fmla="*/ 8063346 w 12191999"/>
              <a:gd name="connsiteY4241" fmla="*/ 250767 h 4534608"/>
              <a:gd name="connsiteX4242" fmla="*/ 8063346 w 12191999"/>
              <a:gd name="connsiteY4242" fmla="*/ 260181 h 4534608"/>
              <a:gd name="connsiteX4243" fmla="*/ 8206046 w 12191999"/>
              <a:gd name="connsiteY4243" fmla="*/ 250767 h 4534608"/>
              <a:gd name="connsiteX4244" fmla="*/ 8206046 w 12191999"/>
              <a:gd name="connsiteY4244" fmla="*/ 256651 h 4534608"/>
              <a:gd name="connsiteX4245" fmla="*/ 8215202 w 12191999"/>
              <a:gd name="connsiteY4245" fmla="*/ 256651 h 4534608"/>
              <a:gd name="connsiteX4246" fmla="*/ 8303100 w 12191999"/>
              <a:gd name="connsiteY4246" fmla="*/ 252991 h 4534608"/>
              <a:gd name="connsiteX4247" fmla="*/ 8303100 w 12191999"/>
              <a:gd name="connsiteY4247" fmla="*/ 251029 h 4534608"/>
              <a:gd name="connsiteX4248" fmla="*/ 12190037 w 12191999"/>
              <a:gd name="connsiteY4248" fmla="*/ 251029 h 4534608"/>
              <a:gd name="connsiteX4249" fmla="*/ 12190037 w 12191999"/>
              <a:gd name="connsiteY4249" fmla="*/ 453290 h 4534608"/>
              <a:gd name="connsiteX4250" fmla="*/ 8301529 w 12191999"/>
              <a:gd name="connsiteY4250" fmla="*/ 453290 h 4534608"/>
              <a:gd name="connsiteX4251" fmla="*/ 8303884 w 12191999"/>
              <a:gd name="connsiteY4251" fmla="*/ 450545 h 4534608"/>
              <a:gd name="connsiteX4252" fmla="*/ 8173086 w 12191999"/>
              <a:gd name="connsiteY4252" fmla="*/ 453290 h 4534608"/>
              <a:gd name="connsiteX4253" fmla="*/ 8173086 w 12191999"/>
              <a:gd name="connsiteY4253" fmla="*/ 447799 h 4534608"/>
              <a:gd name="connsiteX4254" fmla="*/ 8042287 w 12191999"/>
              <a:gd name="connsiteY4254" fmla="*/ 453290 h 4534608"/>
              <a:gd name="connsiteX4255" fmla="*/ 8042287 w 12191999"/>
              <a:gd name="connsiteY4255" fmla="*/ 444792 h 4534608"/>
              <a:gd name="connsiteX4256" fmla="*/ 7911488 w 12191999"/>
              <a:gd name="connsiteY4256" fmla="*/ 453290 h 4534608"/>
              <a:gd name="connsiteX4257" fmla="*/ 7911488 w 12191999"/>
              <a:gd name="connsiteY4257" fmla="*/ 441523 h 4534608"/>
              <a:gd name="connsiteX4258" fmla="*/ 7781606 w 12191999"/>
              <a:gd name="connsiteY4258" fmla="*/ 453290 h 4534608"/>
              <a:gd name="connsiteX4259" fmla="*/ 7780822 w 12191999"/>
              <a:gd name="connsiteY4259" fmla="*/ 438124 h 4534608"/>
              <a:gd name="connsiteX4260" fmla="*/ 7651199 w 12191999"/>
              <a:gd name="connsiteY4260" fmla="*/ 453290 h 4534608"/>
              <a:gd name="connsiteX4261" fmla="*/ 7650023 w 12191999"/>
              <a:gd name="connsiteY4261" fmla="*/ 434464 h 4534608"/>
              <a:gd name="connsiteX4262" fmla="*/ 7520924 w 12191999"/>
              <a:gd name="connsiteY4262" fmla="*/ 453290 h 4534608"/>
              <a:gd name="connsiteX4263" fmla="*/ 7519094 w 12191999"/>
              <a:gd name="connsiteY4263" fmla="*/ 430411 h 4534608"/>
              <a:gd name="connsiteX4264" fmla="*/ 7390649 w 12191999"/>
              <a:gd name="connsiteY4264" fmla="*/ 453290 h 4534608"/>
              <a:gd name="connsiteX4265" fmla="*/ 7388033 w 12191999"/>
              <a:gd name="connsiteY4265" fmla="*/ 426227 h 4534608"/>
              <a:gd name="connsiteX4266" fmla="*/ 7260243 w 12191999"/>
              <a:gd name="connsiteY4266" fmla="*/ 453290 h 4534608"/>
              <a:gd name="connsiteX4267" fmla="*/ 7256712 w 12191999"/>
              <a:gd name="connsiteY4267" fmla="*/ 421781 h 4534608"/>
              <a:gd name="connsiteX4268" fmla="*/ 7129968 w 12191999"/>
              <a:gd name="connsiteY4268" fmla="*/ 453290 h 4534608"/>
              <a:gd name="connsiteX4269" fmla="*/ 7125129 w 12191999"/>
              <a:gd name="connsiteY4269" fmla="*/ 416943 h 4534608"/>
              <a:gd name="connsiteX4270" fmla="*/ 6999693 w 12191999"/>
              <a:gd name="connsiteY4270" fmla="*/ 453290 h 4534608"/>
              <a:gd name="connsiteX4271" fmla="*/ 6993152 w 12191999"/>
              <a:gd name="connsiteY4271" fmla="*/ 411844 h 4534608"/>
              <a:gd name="connsiteX4272" fmla="*/ 6869416 w 12191999"/>
              <a:gd name="connsiteY4272" fmla="*/ 453290 h 4534608"/>
              <a:gd name="connsiteX4273" fmla="*/ 6860785 w 12191999"/>
              <a:gd name="connsiteY4273" fmla="*/ 406484 h 4534608"/>
              <a:gd name="connsiteX4274" fmla="*/ 6739273 w 12191999"/>
              <a:gd name="connsiteY4274" fmla="*/ 453290 h 4534608"/>
              <a:gd name="connsiteX4275" fmla="*/ 6728285 w 12191999"/>
              <a:gd name="connsiteY4275" fmla="*/ 400993 h 4534608"/>
              <a:gd name="connsiteX4276" fmla="*/ 6608998 w 12191999"/>
              <a:gd name="connsiteY4276" fmla="*/ 453290 h 4534608"/>
              <a:gd name="connsiteX4277" fmla="*/ 6595001 w 12191999"/>
              <a:gd name="connsiteY4277" fmla="*/ 394979 h 4534608"/>
              <a:gd name="connsiteX4278" fmla="*/ 6478721 w 12191999"/>
              <a:gd name="connsiteY4278" fmla="*/ 453290 h 4534608"/>
              <a:gd name="connsiteX4279" fmla="*/ 6461195 w 12191999"/>
              <a:gd name="connsiteY4279" fmla="*/ 388964 h 4534608"/>
              <a:gd name="connsiteX4280" fmla="*/ 6348708 w 12191999"/>
              <a:gd name="connsiteY4280" fmla="*/ 453552 h 4534608"/>
              <a:gd name="connsiteX4281" fmla="*/ 6326865 w 12191999"/>
              <a:gd name="connsiteY4281" fmla="*/ 383211 h 4534608"/>
              <a:gd name="connsiteX4282" fmla="*/ 6218433 w 12191999"/>
              <a:gd name="connsiteY4282" fmla="*/ 453552 h 4534608"/>
              <a:gd name="connsiteX4283" fmla="*/ 6191488 w 12191999"/>
              <a:gd name="connsiteY4283" fmla="*/ 377197 h 4534608"/>
              <a:gd name="connsiteX4284" fmla="*/ 6088158 w 12191999"/>
              <a:gd name="connsiteY4284" fmla="*/ 453552 h 4534608"/>
              <a:gd name="connsiteX4285" fmla="*/ 6055197 w 12191999"/>
              <a:gd name="connsiteY4285" fmla="*/ 371575 h 4534608"/>
              <a:gd name="connsiteX4286" fmla="*/ 5957881 w 12191999"/>
              <a:gd name="connsiteY4286" fmla="*/ 453552 h 4534608"/>
              <a:gd name="connsiteX4287" fmla="*/ 5918642 w 12191999"/>
              <a:gd name="connsiteY4287" fmla="*/ 368699 h 4534608"/>
              <a:gd name="connsiteX4288" fmla="*/ 6058074 w 12191999"/>
              <a:gd name="connsiteY4288" fmla="*/ 251029 h 4534608"/>
              <a:gd name="connsiteX4289" fmla="*/ 6094305 w 12191999"/>
              <a:gd name="connsiteY4289" fmla="*/ 330129 h 4534608"/>
              <a:gd name="connsiteX4290" fmla="*/ 6201298 w 12191999"/>
              <a:gd name="connsiteY4290" fmla="*/ 251029 h 4534608"/>
              <a:gd name="connsiteX4291" fmla="*/ 6230859 w 12191999"/>
              <a:gd name="connsiteY4291" fmla="*/ 324769 h 4534608"/>
              <a:gd name="connsiteX4292" fmla="*/ 6344393 w 12191999"/>
              <a:gd name="connsiteY4292" fmla="*/ 251029 h 4534608"/>
              <a:gd name="connsiteX4293" fmla="*/ 6368459 w 12191999"/>
              <a:gd name="connsiteY4293" fmla="*/ 319016 h 4534608"/>
              <a:gd name="connsiteX4294" fmla="*/ 6487616 w 12191999"/>
              <a:gd name="connsiteY4294" fmla="*/ 251029 h 4534608"/>
              <a:gd name="connsiteX4295" fmla="*/ 6506974 w 12191999"/>
              <a:gd name="connsiteY4295" fmla="*/ 313133 h 4534608"/>
              <a:gd name="connsiteX4296" fmla="*/ 6630841 w 12191999"/>
              <a:gd name="connsiteY4296" fmla="*/ 251029 h 4534608"/>
              <a:gd name="connsiteX4297" fmla="*/ 6646144 w 12191999"/>
              <a:gd name="connsiteY4297" fmla="*/ 307248 h 4534608"/>
              <a:gd name="connsiteX4298" fmla="*/ 6774064 w 12191999"/>
              <a:gd name="connsiteY4298" fmla="*/ 251029 h 4534608"/>
              <a:gd name="connsiteX4299" fmla="*/ 6786097 w 12191999"/>
              <a:gd name="connsiteY4299" fmla="*/ 301496 h 4534608"/>
              <a:gd name="connsiteX4300" fmla="*/ 6916896 w 12191999"/>
              <a:gd name="connsiteY4300" fmla="*/ 251029 h 4534608"/>
              <a:gd name="connsiteX4301" fmla="*/ 6926183 w 12191999"/>
              <a:gd name="connsiteY4301" fmla="*/ 295875 h 4534608"/>
              <a:gd name="connsiteX4302" fmla="*/ 5196767 w 12191999"/>
              <a:gd name="connsiteY4302" fmla="*/ 250637 h 4534608"/>
              <a:gd name="connsiteX4303" fmla="*/ 5249086 w 12191999"/>
              <a:gd name="connsiteY4303" fmla="*/ 296397 h 4534608"/>
              <a:gd name="connsiteX4304" fmla="*/ 5174007 w 12191999"/>
              <a:gd name="connsiteY4304" fmla="*/ 453290 h 4534608"/>
              <a:gd name="connsiteX4305" fmla="*/ 5121687 w 12191999"/>
              <a:gd name="connsiteY4305" fmla="*/ 407530 h 4534608"/>
              <a:gd name="connsiteX4306" fmla="*/ 4909794 w 12191999"/>
              <a:gd name="connsiteY4306" fmla="*/ 250637 h 4534608"/>
              <a:gd name="connsiteX4307" fmla="*/ 4966037 w 12191999"/>
              <a:gd name="connsiteY4307" fmla="*/ 283322 h 4534608"/>
              <a:gd name="connsiteX4308" fmla="*/ 4912410 w 12191999"/>
              <a:gd name="connsiteY4308" fmla="*/ 453290 h 4534608"/>
              <a:gd name="connsiteX4309" fmla="*/ 4856297 w 12191999"/>
              <a:gd name="connsiteY4309" fmla="*/ 420605 h 4534608"/>
              <a:gd name="connsiteX4310" fmla="*/ 4623868 w 12191999"/>
              <a:gd name="connsiteY4310" fmla="*/ 250637 h 4534608"/>
              <a:gd name="connsiteX4311" fmla="*/ 4684428 w 12191999"/>
              <a:gd name="connsiteY4311" fmla="*/ 270249 h 4534608"/>
              <a:gd name="connsiteX4312" fmla="*/ 4652253 w 12191999"/>
              <a:gd name="connsiteY4312" fmla="*/ 453290 h 4534608"/>
              <a:gd name="connsiteX4313" fmla="*/ 4591692 w 12191999"/>
              <a:gd name="connsiteY4313" fmla="*/ 433679 h 4534608"/>
              <a:gd name="connsiteX4314" fmla="*/ 4337943 w 12191999"/>
              <a:gd name="connsiteY4314" fmla="*/ 250637 h 4534608"/>
              <a:gd name="connsiteX4315" fmla="*/ 4403342 w 12191999"/>
              <a:gd name="connsiteY4315" fmla="*/ 257174 h 4534608"/>
              <a:gd name="connsiteX4316" fmla="*/ 4392617 w 12191999"/>
              <a:gd name="connsiteY4316" fmla="*/ 453290 h 4534608"/>
              <a:gd name="connsiteX4317" fmla="*/ 4327218 w 12191999"/>
              <a:gd name="connsiteY4317" fmla="*/ 446752 h 4534608"/>
              <a:gd name="connsiteX4318" fmla="*/ 3974849 w 12191999"/>
              <a:gd name="connsiteY4318" fmla="*/ 529 h 4534608"/>
              <a:gd name="connsiteX4319" fmla="*/ 3996303 w 12191999"/>
              <a:gd name="connsiteY4319" fmla="*/ 189715 h 4534608"/>
              <a:gd name="connsiteX4320" fmla="*/ 3933650 w 12191999"/>
              <a:gd name="connsiteY4320" fmla="*/ 202659 h 4534608"/>
              <a:gd name="connsiteX4321" fmla="*/ 3912199 w 12191999"/>
              <a:gd name="connsiteY4321" fmla="*/ 13602 h 4534608"/>
              <a:gd name="connsiteX4322" fmla="*/ 3688533 w 12191999"/>
              <a:gd name="connsiteY4322" fmla="*/ 529 h 4534608"/>
              <a:gd name="connsiteX4323" fmla="*/ 3731698 w 12191999"/>
              <a:gd name="connsiteY4323" fmla="*/ 176641 h 4534608"/>
              <a:gd name="connsiteX4324" fmla="*/ 3673098 w 12191999"/>
              <a:gd name="connsiteY4324" fmla="*/ 202659 h 4534608"/>
              <a:gd name="connsiteX4325" fmla="*/ 3630198 w 12191999"/>
              <a:gd name="connsiteY4325" fmla="*/ 26677 h 4534608"/>
              <a:gd name="connsiteX4326" fmla="*/ 3402084 w 12191999"/>
              <a:gd name="connsiteY4326" fmla="*/ 529 h 4534608"/>
              <a:gd name="connsiteX4327" fmla="*/ 3466699 w 12191999"/>
              <a:gd name="connsiteY4327" fmla="*/ 163566 h 4534608"/>
              <a:gd name="connsiteX4328" fmla="*/ 3412419 w 12191999"/>
              <a:gd name="connsiteY4328" fmla="*/ 202790 h 4534608"/>
              <a:gd name="connsiteX4329" fmla="*/ 3348062 w 12191999"/>
              <a:gd name="connsiteY4329" fmla="*/ 39752 h 4534608"/>
              <a:gd name="connsiteX4330" fmla="*/ 3115768 w 12191999"/>
              <a:gd name="connsiteY4330" fmla="*/ 529 h 4534608"/>
              <a:gd name="connsiteX4331" fmla="*/ 3201571 w 12191999"/>
              <a:gd name="connsiteY4331" fmla="*/ 150491 h 4534608"/>
              <a:gd name="connsiteX4332" fmla="*/ 3151736 w 12191999"/>
              <a:gd name="connsiteY4332" fmla="*/ 202790 h 4534608"/>
              <a:gd name="connsiteX4333" fmla="*/ 3066064 w 12191999"/>
              <a:gd name="connsiteY4333" fmla="*/ 52826 h 4534608"/>
              <a:gd name="connsiteX4334" fmla="*/ 2829580 w 12191999"/>
              <a:gd name="connsiteY4334" fmla="*/ 529 h 4534608"/>
              <a:gd name="connsiteX4335" fmla="*/ 2936835 w 12191999"/>
              <a:gd name="connsiteY4335" fmla="*/ 137417 h 4534608"/>
              <a:gd name="connsiteX4336" fmla="*/ 2891449 w 12191999"/>
              <a:gd name="connsiteY4336" fmla="*/ 202790 h 4534608"/>
              <a:gd name="connsiteX4337" fmla="*/ 2784192 w 12191999"/>
              <a:gd name="connsiteY4337" fmla="*/ 65901 h 4534608"/>
              <a:gd name="connsiteX4338" fmla="*/ 2542869 w 12191999"/>
              <a:gd name="connsiteY4338" fmla="*/ 529 h 4534608"/>
              <a:gd name="connsiteX4339" fmla="*/ 2671576 w 12191999"/>
              <a:gd name="connsiteY4339" fmla="*/ 124474 h 4534608"/>
              <a:gd name="connsiteX4340" fmla="*/ 2630504 w 12191999"/>
              <a:gd name="connsiteY4340" fmla="*/ 202790 h 4534608"/>
              <a:gd name="connsiteX4341" fmla="*/ 2501930 w 12191999"/>
              <a:gd name="connsiteY4341" fmla="*/ 78975 h 4534608"/>
              <a:gd name="connsiteX4342" fmla="*/ 4911887 w 12191999"/>
              <a:gd name="connsiteY4342" fmla="*/ 523 h 4534608"/>
              <a:gd name="connsiteX4343" fmla="*/ 4966037 w 12191999"/>
              <a:gd name="connsiteY4343" fmla="*/ 32686 h 4534608"/>
              <a:gd name="connsiteX4344" fmla="*/ 4912410 w 12191999"/>
              <a:gd name="connsiteY4344" fmla="*/ 202654 h 4534608"/>
              <a:gd name="connsiteX4345" fmla="*/ 4858390 w 12191999"/>
              <a:gd name="connsiteY4345" fmla="*/ 170491 h 4534608"/>
              <a:gd name="connsiteX4346" fmla="*/ 4767616 w 12191999"/>
              <a:gd name="connsiteY4346" fmla="*/ 523 h 4534608"/>
              <a:gd name="connsiteX4347" fmla="*/ 4825952 w 12191999"/>
              <a:gd name="connsiteY4347" fmla="*/ 26671 h 4534608"/>
              <a:gd name="connsiteX4348" fmla="*/ 4783051 w 12191999"/>
              <a:gd name="connsiteY4348" fmla="*/ 202654 h 4534608"/>
              <a:gd name="connsiteX4349" fmla="*/ 4724714 w 12191999"/>
              <a:gd name="connsiteY4349" fmla="*/ 176635 h 4534608"/>
              <a:gd name="connsiteX4350" fmla="*/ 4482999 w 12191999"/>
              <a:gd name="connsiteY4350" fmla="*/ 523 h 4534608"/>
              <a:gd name="connsiteX4351" fmla="*/ 4545651 w 12191999"/>
              <a:gd name="connsiteY4351" fmla="*/ 13597 h 4534608"/>
              <a:gd name="connsiteX4352" fmla="*/ 4523416 w 12191999"/>
              <a:gd name="connsiteY4352" fmla="*/ 202654 h 4534608"/>
              <a:gd name="connsiteX4353" fmla="*/ 4461548 w 12191999"/>
              <a:gd name="connsiteY4353" fmla="*/ 189710 h 4534608"/>
              <a:gd name="connsiteX4354" fmla="*/ 4196426 w 12191999"/>
              <a:gd name="connsiteY4354" fmla="*/ 523 h 4534608"/>
              <a:gd name="connsiteX4355" fmla="*/ 4263388 w 12191999"/>
              <a:gd name="connsiteY4355" fmla="*/ 523 h 4534608"/>
              <a:gd name="connsiteX4356" fmla="*/ 4263388 w 12191999"/>
              <a:gd name="connsiteY4356" fmla="*/ 202654 h 4534608"/>
              <a:gd name="connsiteX4357" fmla="*/ 4261294 w 12191999"/>
              <a:gd name="connsiteY4357" fmla="*/ 202654 h 4534608"/>
              <a:gd name="connsiteX4358" fmla="*/ 4261294 w 12191999"/>
              <a:gd name="connsiteY4358" fmla="*/ 202659 h 4534608"/>
              <a:gd name="connsiteX4359" fmla="*/ 4194332 w 12191999"/>
              <a:gd name="connsiteY4359" fmla="*/ 202659 h 4534608"/>
              <a:gd name="connsiteX4360" fmla="*/ 4194332 w 12191999"/>
              <a:gd name="connsiteY4360" fmla="*/ 529 h 4534608"/>
              <a:gd name="connsiteX4361" fmla="*/ 4196426 w 12191999"/>
              <a:gd name="connsiteY4361" fmla="*/ 529 h 4534608"/>
              <a:gd name="connsiteX4362" fmla="*/ 5913149 w 12191999"/>
              <a:gd name="connsiteY4362" fmla="*/ 391 h 4534608"/>
              <a:gd name="connsiteX4363" fmla="*/ 5954220 w 12191999"/>
              <a:gd name="connsiteY4363" fmla="*/ 78838 h 4534608"/>
              <a:gd name="connsiteX4364" fmla="*/ 5825514 w 12191999"/>
              <a:gd name="connsiteY4364" fmla="*/ 202654 h 4534608"/>
              <a:gd name="connsiteX4365" fmla="*/ 5784445 w 12191999"/>
              <a:gd name="connsiteY4365" fmla="*/ 124338 h 4534608"/>
              <a:gd name="connsiteX4366" fmla="*/ 5626832 w 12191999"/>
              <a:gd name="connsiteY4366" fmla="*/ 391 h 4534608"/>
              <a:gd name="connsiteX4367" fmla="*/ 5672219 w 12191999"/>
              <a:gd name="connsiteY4367" fmla="*/ 65765 h 4534608"/>
              <a:gd name="connsiteX4368" fmla="*/ 5564963 w 12191999"/>
              <a:gd name="connsiteY4368" fmla="*/ 202654 h 4534608"/>
              <a:gd name="connsiteX4369" fmla="*/ 5519577 w 12191999"/>
              <a:gd name="connsiteY4369" fmla="*/ 137281 h 4534608"/>
              <a:gd name="connsiteX4370" fmla="*/ 5340905 w 12191999"/>
              <a:gd name="connsiteY4370" fmla="*/ 391 h 4534608"/>
              <a:gd name="connsiteX4371" fmla="*/ 5390609 w 12191999"/>
              <a:gd name="connsiteY4371" fmla="*/ 52690 h 4534608"/>
              <a:gd name="connsiteX4372" fmla="*/ 5304805 w 12191999"/>
              <a:gd name="connsiteY4372" fmla="*/ 202654 h 4534608"/>
              <a:gd name="connsiteX4373" fmla="*/ 5255101 w 12191999"/>
              <a:gd name="connsiteY4373" fmla="*/ 150355 h 4534608"/>
              <a:gd name="connsiteX4374" fmla="*/ 5053410 w 12191999"/>
              <a:gd name="connsiteY4374" fmla="*/ 391 h 4534608"/>
              <a:gd name="connsiteX4375" fmla="*/ 5107431 w 12191999"/>
              <a:gd name="connsiteY4375" fmla="*/ 39615 h 4534608"/>
              <a:gd name="connsiteX4376" fmla="*/ 5043209 w 12191999"/>
              <a:gd name="connsiteY4376" fmla="*/ 202654 h 4534608"/>
              <a:gd name="connsiteX4377" fmla="*/ 4989058 w 12191999"/>
              <a:gd name="connsiteY4377" fmla="*/ 163430 h 4534608"/>
              <a:gd name="connsiteX4378" fmla="*/ 3832019 w 12191999"/>
              <a:gd name="connsiteY4378" fmla="*/ 136 h 4534608"/>
              <a:gd name="connsiteX4379" fmla="*/ 3864196 w 12191999"/>
              <a:gd name="connsiteY4379" fmla="*/ 183178 h 4534608"/>
              <a:gd name="connsiteX4380" fmla="*/ 3803636 w 12191999"/>
              <a:gd name="connsiteY4380" fmla="*/ 202790 h 4534608"/>
              <a:gd name="connsiteX4381" fmla="*/ 3771460 w 12191999"/>
              <a:gd name="connsiteY4381" fmla="*/ 19748 h 4534608"/>
              <a:gd name="connsiteX4382" fmla="*/ 3545571 w 12191999"/>
              <a:gd name="connsiteY4382" fmla="*/ 136 h 4534608"/>
              <a:gd name="connsiteX4383" fmla="*/ 3599198 w 12191999"/>
              <a:gd name="connsiteY4383" fmla="*/ 170103 h 4534608"/>
              <a:gd name="connsiteX4384" fmla="*/ 3542955 w 12191999"/>
              <a:gd name="connsiteY4384" fmla="*/ 202659 h 4534608"/>
              <a:gd name="connsiteX4385" fmla="*/ 3489328 w 12191999"/>
              <a:gd name="connsiteY4385" fmla="*/ 32692 h 4534608"/>
              <a:gd name="connsiteX4386" fmla="*/ 3258860 w 12191999"/>
              <a:gd name="connsiteY4386" fmla="*/ 136 h 4534608"/>
              <a:gd name="connsiteX4387" fmla="*/ 3333939 w 12191999"/>
              <a:gd name="connsiteY4387" fmla="*/ 157029 h 4534608"/>
              <a:gd name="connsiteX4388" fmla="*/ 3281619 w 12191999"/>
              <a:gd name="connsiteY4388" fmla="*/ 202659 h 4534608"/>
              <a:gd name="connsiteX4389" fmla="*/ 3206538 w 12191999"/>
              <a:gd name="connsiteY4389" fmla="*/ 45765 h 4534608"/>
              <a:gd name="connsiteX4390" fmla="*/ 2972543 w 12191999"/>
              <a:gd name="connsiteY4390" fmla="*/ 136 h 4534608"/>
              <a:gd name="connsiteX4391" fmla="*/ 3069069 w 12191999"/>
              <a:gd name="connsiteY4391" fmla="*/ 143954 h 4534608"/>
              <a:gd name="connsiteX4392" fmla="*/ 3021459 w 12191999"/>
              <a:gd name="connsiteY4392" fmla="*/ 202659 h 4534608"/>
              <a:gd name="connsiteX4393" fmla="*/ 2924931 w 12191999"/>
              <a:gd name="connsiteY4393" fmla="*/ 58840 h 4534608"/>
              <a:gd name="connsiteX4394" fmla="*/ 2686354 w 12191999"/>
              <a:gd name="connsiteY4394" fmla="*/ 136 h 4534608"/>
              <a:gd name="connsiteX4395" fmla="*/ 2804073 w 12191999"/>
              <a:gd name="connsiteY4395" fmla="*/ 130881 h 4534608"/>
              <a:gd name="connsiteX4396" fmla="*/ 2760911 w 12191999"/>
              <a:gd name="connsiteY4396" fmla="*/ 202659 h 4534608"/>
              <a:gd name="connsiteX4397" fmla="*/ 2643192 w 12191999"/>
              <a:gd name="connsiteY4397" fmla="*/ 71915 h 4534608"/>
              <a:gd name="connsiteX4398" fmla="*/ 5769663 w 12191999"/>
              <a:gd name="connsiteY4398" fmla="*/ 130 h 4534608"/>
              <a:gd name="connsiteX4399" fmla="*/ 5812958 w 12191999"/>
              <a:gd name="connsiteY4399" fmla="*/ 71909 h 4534608"/>
              <a:gd name="connsiteX4400" fmla="*/ 5695239 w 12191999"/>
              <a:gd name="connsiteY4400" fmla="*/ 202654 h 4534608"/>
              <a:gd name="connsiteX4401" fmla="*/ 5651945 w 12191999"/>
              <a:gd name="connsiteY4401" fmla="*/ 130875 h 4534608"/>
              <a:gd name="connsiteX4402" fmla="*/ 5483607 w 12191999"/>
              <a:gd name="connsiteY4402" fmla="*/ 130 h 4534608"/>
              <a:gd name="connsiteX4403" fmla="*/ 5531087 w 12191999"/>
              <a:gd name="connsiteY4403" fmla="*/ 58834 h 4534608"/>
              <a:gd name="connsiteX4404" fmla="*/ 5434558 w 12191999"/>
              <a:gd name="connsiteY4404" fmla="*/ 202654 h 4534608"/>
              <a:gd name="connsiteX4405" fmla="*/ 5387078 w 12191999"/>
              <a:gd name="connsiteY4405" fmla="*/ 143949 h 4534608"/>
              <a:gd name="connsiteX4406" fmla="*/ 5196767 w 12191999"/>
              <a:gd name="connsiteY4406" fmla="*/ 130 h 4534608"/>
              <a:gd name="connsiteX4407" fmla="*/ 5249086 w 12191999"/>
              <a:gd name="connsiteY4407" fmla="*/ 45760 h 4534608"/>
              <a:gd name="connsiteX4408" fmla="*/ 5174007 w 12191999"/>
              <a:gd name="connsiteY4408" fmla="*/ 202654 h 4534608"/>
              <a:gd name="connsiteX4409" fmla="*/ 5121687 w 12191999"/>
              <a:gd name="connsiteY4409" fmla="*/ 157023 h 4534608"/>
              <a:gd name="connsiteX4410" fmla="*/ 4118075 w 12191999"/>
              <a:gd name="connsiteY4410" fmla="*/ 6 h 4534608"/>
              <a:gd name="connsiteX4411" fmla="*/ 4128801 w 12191999"/>
              <a:gd name="connsiteY4411" fmla="*/ 196122 h 4534608"/>
              <a:gd name="connsiteX4412" fmla="*/ 4064053 w 12191999"/>
              <a:gd name="connsiteY4412" fmla="*/ 202659 h 4534608"/>
              <a:gd name="connsiteX4413" fmla="*/ 4053330 w 12191999"/>
              <a:gd name="connsiteY4413" fmla="*/ 6543 h 4534608"/>
              <a:gd name="connsiteX4414" fmla="*/ 1826878 w 12191999"/>
              <a:gd name="connsiteY4414" fmla="*/ 6 h 4534608"/>
              <a:gd name="connsiteX4415" fmla="*/ 1950876 w 12191999"/>
              <a:gd name="connsiteY4415" fmla="*/ 62109 h 4534608"/>
              <a:gd name="connsiteX4416" fmla="*/ 1969579 w 12191999"/>
              <a:gd name="connsiteY4416" fmla="*/ 529 h 4534608"/>
              <a:gd name="connsiteX4417" fmla="*/ 2088736 w 12191999"/>
              <a:gd name="connsiteY4417" fmla="*/ 68515 h 4534608"/>
              <a:gd name="connsiteX4418" fmla="*/ 2112805 w 12191999"/>
              <a:gd name="connsiteY4418" fmla="*/ 529 h 4534608"/>
              <a:gd name="connsiteX4419" fmla="*/ 2227908 w 12191999"/>
              <a:gd name="connsiteY4419" fmla="*/ 73875 h 4534608"/>
              <a:gd name="connsiteX4420" fmla="*/ 2257599 w 12191999"/>
              <a:gd name="connsiteY4420" fmla="*/ 267 h 4534608"/>
              <a:gd name="connsiteX4421" fmla="*/ 2364592 w 12191999"/>
              <a:gd name="connsiteY4421" fmla="*/ 78713 h 4534608"/>
              <a:gd name="connsiteX4422" fmla="*/ 2400822 w 12191999"/>
              <a:gd name="connsiteY4422" fmla="*/ 267 h 4534608"/>
              <a:gd name="connsiteX4423" fmla="*/ 2540121 w 12191999"/>
              <a:gd name="connsiteY4423" fmla="*/ 117937 h 4534608"/>
              <a:gd name="connsiteX4424" fmla="*/ 2500884 w 12191999"/>
              <a:gd name="connsiteY4424" fmla="*/ 202659 h 4534608"/>
              <a:gd name="connsiteX4425" fmla="*/ 2403568 w 12191999"/>
              <a:gd name="connsiteY4425" fmla="*/ 120682 h 4534608"/>
              <a:gd name="connsiteX4426" fmla="*/ 2370606 w 12191999"/>
              <a:gd name="connsiteY4426" fmla="*/ 202659 h 4534608"/>
              <a:gd name="connsiteX4427" fmla="*/ 2267277 w 12191999"/>
              <a:gd name="connsiteY4427" fmla="*/ 126435 h 4534608"/>
              <a:gd name="connsiteX4428" fmla="*/ 2240199 w 12191999"/>
              <a:gd name="connsiteY4428" fmla="*/ 202659 h 4534608"/>
              <a:gd name="connsiteX4429" fmla="*/ 2131770 w 12191999"/>
              <a:gd name="connsiteY4429" fmla="*/ 132318 h 4534608"/>
              <a:gd name="connsiteX4430" fmla="*/ 2109927 w 12191999"/>
              <a:gd name="connsiteY4430" fmla="*/ 202659 h 4534608"/>
              <a:gd name="connsiteX4431" fmla="*/ 1997178 w 12191999"/>
              <a:gd name="connsiteY4431" fmla="*/ 138464 h 4534608"/>
              <a:gd name="connsiteX4432" fmla="*/ 1979651 w 12191999"/>
              <a:gd name="connsiteY4432" fmla="*/ 202659 h 4534608"/>
              <a:gd name="connsiteX4433" fmla="*/ 1863240 w 12191999"/>
              <a:gd name="connsiteY4433" fmla="*/ 144478 h 4534608"/>
              <a:gd name="connsiteX4434" fmla="*/ 1849376 w 12191999"/>
              <a:gd name="connsiteY4434" fmla="*/ 202659 h 4534608"/>
              <a:gd name="connsiteX4435" fmla="*/ 1729956 w 12191999"/>
              <a:gd name="connsiteY4435" fmla="*/ 150361 h 4534608"/>
              <a:gd name="connsiteX4436" fmla="*/ 1718970 w 12191999"/>
              <a:gd name="connsiteY4436" fmla="*/ 202659 h 4534608"/>
              <a:gd name="connsiteX4437" fmla="*/ 1597195 w 12191999"/>
              <a:gd name="connsiteY4437" fmla="*/ 155853 h 4534608"/>
              <a:gd name="connsiteX4438" fmla="*/ 1588694 w 12191999"/>
              <a:gd name="connsiteY4438" fmla="*/ 202659 h 4534608"/>
              <a:gd name="connsiteX4439" fmla="*/ 1464959 w 12191999"/>
              <a:gd name="connsiteY4439" fmla="*/ 161343 h 4534608"/>
              <a:gd name="connsiteX4440" fmla="*/ 1458420 w 12191999"/>
              <a:gd name="connsiteY4440" fmla="*/ 202659 h 4534608"/>
              <a:gd name="connsiteX4441" fmla="*/ 1332983 w 12191999"/>
              <a:gd name="connsiteY4441" fmla="*/ 166443 h 4534608"/>
              <a:gd name="connsiteX4442" fmla="*/ 1328013 w 12191999"/>
              <a:gd name="connsiteY4442" fmla="*/ 202659 h 4534608"/>
              <a:gd name="connsiteX4443" fmla="*/ 1200877 w 12191999"/>
              <a:gd name="connsiteY4443" fmla="*/ 171149 h 4534608"/>
              <a:gd name="connsiteX4444" fmla="*/ 1197214 w 12191999"/>
              <a:gd name="connsiteY4444" fmla="*/ 202659 h 4534608"/>
              <a:gd name="connsiteX4445" fmla="*/ 1069037 w 12191999"/>
              <a:gd name="connsiteY4445" fmla="*/ 175726 h 4534608"/>
              <a:gd name="connsiteX4446" fmla="*/ 1066421 w 12191999"/>
              <a:gd name="connsiteY4446" fmla="*/ 202659 h 4534608"/>
              <a:gd name="connsiteX4447" fmla="*/ 938239 w 12191999"/>
              <a:gd name="connsiteY4447" fmla="*/ 179779 h 4534608"/>
              <a:gd name="connsiteX4448" fmla="*/ 936278 w 12191999"/>
              <a:gd name="connsiteY4448" fmla="*/ 202659 h 4534608"/>
              <a:gd name="connsiteX4449" fmla="*/ 807050 w 12191999"/>
              <a:gd name="connsiteY4449" fmla="*/ 183832 h 4534608"/>
              <a:gd name="connsiteX4450" fmla="*/ 805873 w 12191999"/>
              <a:gd name="connsiteY4450" fmla="*/ 202659 h 4534608"/>
              <a:gd name="connsiteX4451" fmla="*/ 676383 w 12191999"/>
              <a:gd name="connsiteY4451" fmla="*/ 187492 h 4534608"/>
              <a:gd name="connsiteX4452" fmla="*/ 675597 w 12191999"/>
              <a:gd name="connsiteY4452" fmla="*/ 202659 h 4534608"/>
              <a:gd name="connsiteX4453" fmla="*/ 545715 w 12191999"/>
              <a:gd name="connsiteY4453" fmla="*/ 191022 h 4534608"/>
              <a:gd name="connsiteX4454" fmla="*/ 545715 w 12191999"/>
              <a:gd name="connsiteY4454" fmla="*/ 202659 h 4534608"/>
              <a:gd name="connsiteX4455" fmla="*/ 415570 w 12191999"/>
              <a:gd name="connsiteY4455" fmla="*/ 194160 h 4534608"/>
              <a:gd name="connsiteX4456" fmla="*/ 415570 w 12191999"/>
              <a:gd name="connsiteY4456" fmla="*/ 202659 h 4534608"/>
              <a:gd name="connsiteX4457" fmla="*/ 285426 w 12191999"/>
              <a:gd name="connsiteY4457" fmla="*/ 197168 h 4534608"/>
              <a:gd name="connsiteX4458" fmla="*/ 285426 w 12191999"/>
              <a:gd name="connsiteY4458" fmla="*/ 202659 h 4534608"/>
              <a:gd name="connsiteX4459" fmla="*/ 154631 w 12191999"/>
              <a:gd name="connsiteY4459" fmla="*/ 200043 h 4534608"/>
              <a:gd name="connsiteX4460" fmla="*/ 154631 w 12191999"/>
              <a:gd name="connsiteY4460" fmla="*/ 202659 h 4534608"/>
              <a:gd name="connsiteX4461" fmla="*/ 0 w 12191999"/>
              <a:gd name="connsiteY4461" fmla="*/ 202659 h 4534608"/>
              <a:gd name="connsiteX4462" fmla="*/ 0 w 12191999"/>
              <a:gd name="connsiteY4462" fmla="*/ 529 h 4534608"/>
              <a:gd name="connsiteX4463" fmla="*/ 154501 w 12191999"/>
              <a:gd name="connsiteY4463" fmla="*/ 529 h 4534608"/>
              <a:gd name="connsiteX4464" fmla="*/ 154501 w 12191999"/>
              <a:gd name="connsiteY4464" fmla="*/ 2620 h 4534608"/>
              <a:gd name="connsiteX4465" fmla="*/ 242397 w 12191999"/>
              <a:gd name="connsiteY4465" fmla="*/ 6280 h 4534608"/>
              <a:gd name="connsiteX4466" fmla="*/ 252207 w 12191999"/>
              <a:gd name="connsiteY4466" fmla="*/ 6280 h 4534608"/>
              <a:gd name="connsiteX4467" fmla="*/ 252207 w 12191999"/>
              <a:gd name="connsiteY4467" fmla="*/ 529 h 4534608"/>
              <a:gd name="connsiteX4468" fmla="*/ 394905 w 12191999"/>
              <a:gd name="connsiteY4468" fmla="*/ 9812 h 4534608"/>
              <a:gd name="connsiteX4469" fmla="*/ 394905 w 12191999"/>
              <a:gd name="connsiteY4469" fmla="*/ 529 h 4534608"/>
              <a:gd name="connsiteX4470" fmla="*/ 537344 w 12191999"/>
              <a:gd name="connsiteY4470" fmla="*/ 13602 h 4534608"/>
              <a:gd name="connsiteX4471" fmla="*/ 538128 w 12191999"/>
              <a:gd name="connsiteY4471" fmla="*/ 529 h 4534608"/>
              <a:gd name="connsiteX4472" fmla="*/ 680045 w 12191999"/>
              <a:gd name="connsiteY4472" fmla="*/ 17133 h 4534608"/>
              <a:gd name="connsiteX4473" fmla="*/ 681353 w 12191999"/>
              <a:gd name="connsiteY4473" fmla="*/ 529 h 4534608"/>
              <a:gd name="connsiteX4474" fmla="*/ 822616 w 12191999"/>
              <a:gd name="connsiteY4474" fmla="*/ 21187 h 4534608"/>
              <a:gd name="connsiteX4475" fmla="*/ 824578 w 12191999"/>
              <a:gd name="connsiteY4475" fmla="*/ 529 h 4534608"/>
              <a:gd name="connsiteX4476" fmla="*/ 964922 w 12191999"/>
              <a:gd name="connsiteY4476" fmla="*/ 25370 h 4534608"/>
              <a:gd name="connsiteX4477" fmla="*/ 967799 w 12191999"/>
              <a:gd name="connsiteY4477" fmla="*/ 529 h 4534608"/>
              <a:gd name="connsiteX4478" fmla="*/ 1106968 w 12191999"/>
              <a:gd name="connsiteY4478" fmla="*/ 29945 h 4534608"/>
              <a:gd name="connsiteX4479" fmla="*/ 1110888 w 12191999"/>
              <a:gd name="connsiteY4479" fmla="*/ 529 h 4534608"/>
              <a:gd name="connsiteX4480" fmla="*/ 1248748 w 12191999"/>
              <a:gd name="connsiteY4480" fmla="*/ 34783 h 4534608"/>
              <a:gd name="connsiteX4481" fmla="*/ 1254113 w 12191999"/>
              <a:gd name="connsiteY4481" fmla="*/ 529 h 4534608"/>
              <a:gd name="connsiteX4482" fmla="*/ 1390141 w 12191999"/>
              <a:gd name="connsiteY4482" fmla="*/ 39752 h 4534608"/>
              <a:gd name="connsiteX4483" fmla="*/ 1397336 w 12191999"/>
              <a:gd name="connsiteY4483" fmla="*/ 529 h 4534608"/>
              <a:gd name="connsiteX4484" fmla="*/ 1531928 w 12191999"/>
              <a:gd name="connsiteY4484" fmla="*/ 45243 h 4534608"/>
              <a:gd name="connsiteX4485" fmla="*/ 1541345 w 12191999"/>
              <a:gd name="connsiteY4485" fmla="*/ 529 h 4534608"/>
              <a:gd name="connsiteX4486" fmla="*/ 1672144 w 12191999"/>
              <a:gd name="connsiteY4486" fmla="*/ 50866 h 4534608"/>
              <a:gd name="connsiteX4487" fmla="*/ 1684177 w 12191999"/>
              <a:gd name="connsiteY4487" fmla="*/ 529 h 4534608"/>
              <a:gd name="connsiteX4488" fmla="*/ 1811966 w 12191999"/>
              <a:gd name="connsiteY4488" fmla="*/ 56749 h 4534608"/>
              <a:gd name="connsiteX4489" fmla="*/ 6057943 w 12191999"/>
              <a:gd name="connsiteY4489" fmla="*/ 0 h 4534608"/>
              <a:gd name="connsiteX4490" fmla="*/ 6094175 w 12191999"/>
              <a:gd name="connsiteY4490" fmla="*/ 78446 h 4534608"/>
              <a:gd name="connsiteX4491" fmla="*/ 6201168 w 12191999"/>
              <a:gd name="connsiteY4491" fmla="*/ 0 h 4534608"/>
              <a:gd name="connsiteX4492" fmla="*/ 6230729 w 12191999"/>
              <a:gd name="connsiteY4492" fmla="*/ 73609 h 4534608"/>
              <a:gd name="connsiteX4493" fmla="*/ 6344261 w 12191999"/>
              <a:gd name="connsiteY4493" fmla="*/ 0 h 4534608"/>
              <a:gd name="connsiteX4494" fmla="*/ 6368327 w 12191999"/>
              <a:gd name="connsiteY4494" fmla="*/ 67986 h 4534608"/>
              <a:gd name="connsiteX4495" fmla="*/ 6487486 w 12191999"/>
              <a:gd name="connsiteY4495" fmla="*/ 0 h 4534608"/>
              <a:gd name="connsiteX4496" fmla="*/ 6506843 w 12191999"/>
              <a:gd name="connsiteY4496" fmla="*/ 62103 h 4534608"/>
              <a:gd name="connsiteX4497" fmla="*/ 6630841 w 12191999"/>
              <a:gd name="connsiteY4497" fmla="*/ 523 h 4534608"/>
              <a:gd name="connsiteX4498" fmla="*/ 6646144 w 12191999"/>
              <a:gd name="connsiteY4498" fmla="*/ 56743 h 4534608"/>
              <a:gd name="connsiteX4499" fmla="*/ 6774064 w 12191999"/>
              <a:gd name="connsiteY4499" fmla="*/ 523 h 4534608"/>
              <a:gd name="connsiteX4500" fmla="*/ 6786097 w 12191999"/>
              <a:gd name="connsiteY4500" fmla="*/ 50860 h 4534608"/>
              <a:gd name="connsiteX4501" fmla="*/ 6916896 w 12191999"/>
              <a:gd name="connsiteY4501" fmla="*/ 523 h 4534608"/>
              <a:gd name="connsiteX4502" fmla="*/ 6926183 w 12191999"/>
              <a:gd name="connsiteY4502" fmla="*/ 45238 h 4534608"/>
              <a:gd name="connsiteX4503" fmla="*/ 7060383 w 12191999"/>
              <a:gd name="connsiteY4503" fmla="*/ 523 h 4534608"/>
              <a:gd name="connsiteX4504" fmla="*/ 7067445 w 12191999"/>
              <a:gd name="connsiteY4504" fmla="*/ 39746 h 4534608"/>
              <a:gd name="connsiteX4505" fmla="*/ 7203476 w 12191999"/>
              <a:gd name="connsiteY4505" fmla="*/ 523 h 4534608"/>
              <a:gd name="connsiteX4506" fmla="*/ 7208969 w 12191999"/>
              <a:gd name="connsiteY4506" fmla="*/ 34778 h 4534608"/>
              <a:gd name="connsiteX4507" fmla="*/ 7346701 w 12191999"/>
              <a:gd name="connsiteY4507" fmla="*/ 523 h 4534608"/>
              <a:gd name="connsiteX4508" fmla="*/ 7350756 w 12191999"/>
              <a:gd name="connsiteY4508" fmla="*/ 29940 h 4534608"/>
              <a:gd name="connsiteX4509" fmla="*/ 7489924 w 12191999"/>
              <a:gd name="connsiteY4509" fmla="*/ 523 h 4534608"/>
              <a:gd name="connsiteX4510" fmla="*/ 7492803 w 12191999"/>
              <a:gd name="connsiteY4510" fmla="*/ 25365 h 4534608"/>
              <a:gd name="connsiteX4511" fmla="*/ 7633149 w 12191999"/>
              <a:gd name="connsiteY4511" fmla="*/ 523 h 4534608"/>
              <a:gd name="connsiteX4512" fmla="*/ 7635111 w 12191999"/>
              <a:gd name="connsiteY4512" fmla="*/ 21181 h 4534608"/>
              <a:gd name="connsiteX4513" fmla="*/ 7776374 w 12191999"/>
              <a:gd name="connsiteY4513" fmla="*/ 523 h 4534608"/>
              <a:gd name="connsiteX4514" fmla="*/ 7777681 w 12191999"/>
              <a:gd name="connsiteY4514" fmla="*/ 17128 h 4534608"/>
              <a:gd name="connsiteX4515" fmla="*/ 7919336 w 12191999"/>
              <a:gd name="connsiteY4515" fmla="*/ 261 h 4534608"/>
              <a:gd name="connsiteX4516" fmla="*/ 7920251 w 12191999"/>
              <a:gd name="connsiteY4516" fmla="*/ 13335 h 4534608"/>
              <a:gd name="connsiteX4517" fmla="*/ 8063215 w 12191999"/>
              <a:gd name="connsiteY4517" fmla="*/ 523 h 4534608"/>
              <a:gd name="connsiteX4518" fmla="*/ 8063215 w 12191999"/>
              <a:gd name="connsiteY4518" fmla="*/ 9806 h 4534608"/>
              <a:gd name="connsiteX4519" fmla="*/ 8206046 w 12191999"/>
              <a:gd name="connsiteY4519" fmla="*/ 523 h 4534608"/>
              <a:gd name="connsiteX4520" fmla="*/ 8206046 w 12191999"/>
              <a:gd name="connsiteY4520" fmla="*/ 6144 h 4534608"/>
              <a:gd name="connsiteX4521" fmla="*/ 8215202 w 12191999"/>
              <a:gd name="connsiteY4521" fmla="*/ 6144 h 4534608"/>
              <a:gd name="connsiteX4522" fmla="*/ 8303100 w 12191999"/>
              <a:gd name="connsiteY4522" fmla="*/ 2484 h 4534608"/>
              <a:gd name="connsiteX4523" fmla="*/ 8303100 w 12191999"/>
              <a:gd name="connsiteY4523" fmla="*/ 523 h 4534608"/>
              <a:gd name="connsiteX4524" fmla="*/ 12190037 w 12191999"/>
              <a:gd name="connsiteY4524" fmla="*/ 523 h 4534608"/>
              <a:gd name="connsiteX4525" fmla="*/ 12190037 w 12191999"/>
              <a:gd name="connsiteY4525" fmla="*/ 202654 h 4534608"/>
              <a:gd name="connsiteX4526" fmla="*/ 8301529 w 12191999"/>
              <a:gd name="connsiteY4526" fmla="*/ 202654 h 4534608"/>
              <a:gd name="connsiteX4527" fmla="*/ 8304145 w 12191999"/>
              <a:gd name="connsiteY4527" fmla="*/ 199907 h 4534608"/>
              <a:gd name="connsiteX4528" fmla="*/ 8173347 w 12191999"/>
              <a:gd name="connsiteY4528" fmla="*/ 202522 h 4534608"/>
              <a:gd name="connsiteX4529" fmla="*/ 8173347 w 12191999"/>
              <a:gd name="connsiteY4529" fmla="*/ 197032 h 4534608"/>
              <a:gd name="connsiteX4530" fmla="*/ 8042548 w 12191999"/>
              <a:gd name="connsiteY4530" fmla="*/ 202522 h 4534608"/>
              <a:gd name="connsiteX4531" fmla="*/ 8042548 w 12191999"/>
              <a:gd name="connsiteY4531" fmla="*/ 194024 h 4534608"/>
              <a:gd name="connsiteX4532" fmla="*/ 7911749 w 12191999"/>
              <a:gd name="connsiteY4532" fmla="*/ 202522 h 4534608"/>
              <a:gd name="connsiteX4533" fmla="*/ 7911749 w 12191999"/>
              <a:gd name="connsiteY4533" fmla="*/ 190886 h 4534608"/>
              <a:gd name="connsiteX4534" fmla="*/ 7781867 w 12191999"/>
              <a:gd name="connsiteY4534" fmla="*/ 202522 h 4534608"/>
              <a:gd name="connsiteX4535" fmla="*/ 7781083 w 12191999"/>
              <a:gd name="connsiteY4535" fmla="*/ 187356 h 4534608"/>
              <a:gd name="connsiteX4536" fmla="*/ 7651461 w 12191999"/>
              <a:gd name="connsiteY4536" fmla="*/ 202522 h 4534608"/>
              <a:gd name="connsiteX4537" fmla="*/ 7650284 w 12191999"/>
              <a:gd name="connsiteY4537" fmla="*/ 183696 h 4534608"/>
              <a:gd name="connsiteX4538" fmla="*/ 7521186 w 12191999"/>
              <a:gd name="connsiteY4538" fmla="*/ 202522 h 4534608"/>
              <a:gd name="connsiteX4539" fmla="*/ 7519355 w 12191999"/>
              <a:gd name="connsiteY4539" fmla="*/ 179773 h 4534608"/>
              <a:gd name="connsiteX4540" fmla="*/ 7390911 w 12191999"/>
              <a:gd name="connsiteY4540" fmla="*/ 202915 h 4534608"/>
              <a:gd name="connsiteX4541" fmla="*/ 7388295 w 12191999"/>
              <a:gd name="connsiteY4541" fmla="*/ 175981 h 4534608"/>
              <a:gd name="connsiteX4542" fmla="*/ 7260504 w 12191999"/>
              <a:gd name="connsiteY4542" fmla="*/ 202915 h 4534608"/>
              <a:gd name="connsiteX4543" fmla="*/ 7256973 w 12191999"/>
              <a:gd name="connsiteY4543" fmla="*/ 171406 h 4534608"/>
              <a:gd name="connsiteX4544" fmla="*/ 7130229 w 12191999"/>
              <a:gd name="connsiteY4544" fmla="*/ 202915 h 4534608"/>
              <a:gd name="connsiteX4545" fmla="*/ 7125390 w 12191999"/>
              <a:gd name="connsiteY4545" fmla="*/ 166699 h 4534608"/>
              <a:gd name="connsiteX4546" fmla="*/ 6999693 w 12191999"/>
              <a:gd name="connsiteY4546" fmla="*/ 202654 h 4534608"/>
              <a:gd name="connsiteX4547" fmla="*/ 6993152 w 12191999"/>
              <a:gd name="connsiteY4547" fmla="*/ 161338 h 4534608"/>
              <a:gd name="connsiteX4548" fmla="*/ 6869416 w 12191999"/>
              <a:gd name="connsiteY4548" fmla="*/ 202654 h 4534608"/>
              <a:gd name="connsiteX4549" fmla="*/ 6860785 w 12191999"/>
              <a:gd name="connsiteY4549" fmla="*/ 155847 h 4534608"/>
              <a:gd name="connsiteX4550" fmla="*/ 6739534 w 12191999"/>
              <a:gd name="connsiteY4550" fmla="*/ 202392 h 4534608"/>
              <a:gd name="connsiteX4551" fmla="*/ 6728548 w 12191999"/>
              <a:gd name="connsiteY4551" fmla="*/ 150094 h 4534608"/>
              <a:gd name="connsiteX4552" fmla="*/ 6609259 w 12191999"/>
              <a:gd name="connsiteY4552" fmla="*/ 202392 h 4534608"/>
              <a:gd name="connsiteX4553" fmla="*/ 6595263 w 12191999"/>
              <a:gd name="connsiteY4553" fmla="*/ 144211 h 4534608"/>
              <a:gd name="connsiteX4554" fmla="*/ 6478983 w 12191999"/>
              <a:gd name="connsiteY4554" fmla="*/ 202392 h 4534608"/>
              <a:gd name="connsiteX4555" fmla="*/ 6461456 w 12191999"/>
              <a:gd name="connsiteY4555" fmla="*/ 138196 h 4534608"/>
              <a:gd name="connsiteX4556" fmla="*/ 6348578 w 12191999"/>
              <a:gd name="connsiteY4556" fmla="*/ 202392 h 4534608"/>
              <a:gd name="connsiteX4557" fmla="*/ 6326733 w 12191999"/>
              <a:gd name="connsiteY4557" fmla="*/ 132052 h 4534608"/>
              <a:gd name="connsiteX4558" fmla="*/ 6218303 w 12191999"/>
              <a:gd name="connsiteY4558" fmla="*/ 202392 h 4534608"/>
              <a:gd name="connsiteX4559" fmla="*/ 6191358 w 12191999"/>
              <a:gd name="connsiteY4559" fmla="*/ 126168 h 4534608"/>
              <a:gd name="connsiteX4560" fmla="*/ 6088026 w 12191999"/>
              <a:gd name="connsiteY4560" fmla="*/ 202392 h 4534608"/>
              <a:gd name="connsiteX4561" fmla="*/ 6055066 w 12191999"/>
              <a:gd name="connsiteY4561" fmla="*/ 120415 h 4534608"/>
              <a:gd name="connsiteX4562" fmla="*/ 5957752 w 12191999"/>
              <a:gd name="connsiteY4562" fmla="*/ 202392 h 4534608"/>
              <a:gd name="connsiteX4563" fmla="*/ 5918512 w 12191999"/>
              <a:gd name="connsiteY4563" fmla="*/ 117670 h 4534608"/>
              <a:gd name="connsiteX4564" fmla="*/ 4623868 w 12191999"/>
              <a:gd name="connsiteY4564" fmla="*/ 0 h 4534608"/>
              <a:gd name="connsiteX4565" fmla="*/ 4684428 w 12191999"/>
              <a:gd name="connsiteY4565" fmla="*/ 19612 h 4534608"/>
              <a:gd name="connsiteX4566" fmla="*/ 4652253 w 12191999"/>
              <a:gd name="connsiteY4566" fmla="*/ 202654 h 4534608"/>
              <a:gd name="connsiteX4567" fmla="*/ 4591692 w 12191999"/>
              <a:gd name="connsiteY4567" fmla="*/ 183042 h 4534608"/>
              <a:gd name="connsiteX4568" fmla="*/ 4337943 w 12191999"/>
              <a:gd name="connsiteY4568" fmla="*/ 0 h 4534608"/>
              <a:gd name="connsiteX4569" fmla="*/ 4403342 w 12191999"/>
              <a:gd name="connsiteY4569" fmla="*/ 6537 h 4534608"/>
              <a:gd name="connsiteX4570" fmla="*/ 4392617 w 12191999"/>
              <a:gd name="connsiteY4570" fmla="*/ 202654 h 4534608"/>
              <a:gd name="connsiteX4571" fmla="*/ 4327218 w 12191999"/>
              <a:gd name="connsiteY4571" fmla="*/ 196117 h 4534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Lst>
            <a:rect l="l" t="t" r="r" b="b"/>
            <a:pathLst>
              <a:path w="12191999" h="4534608">
                <a:moveTo>
                  <a:pt x="6055850" y="4332345"/>
                </a:moveTo>
                <a:lnTo>
                  <a:pt x="6092081" y="4411315"/>
                </a:lnTo>
                <a:lnTo>
                  <a:pt x="6199073" y="4332345"/>
                </a:lnTo>
                <a:lnTo>
                  <a:pt x="6228764" y="4406085"/>
                </a:lnTo>
                <a:lnTo>
                  <a:pt x="6342298" y="4332345"/>
                </a:lnTo>
                <a:lnTo>
                  <a:pt x="6366234" y="4400332"/>
                </a:lnTo>
                <a:lnTo>
                  <a:pt x="6485523" y="4332345"/>
                </a:lnTo>
                <a:lnTo>
                  <a:pt x="6504750" y="4394449"/>
                </a:lnTo>
                <a:lnTo>
                  <a:pt x="6628616" y="4332345"/>
                </a:lnTo>
                <a:lnTo>
                  <a:pt x="6644051" y="4388566"/>
                </a:lnTo>
                <a:lnTo>
                  <a:pt x="6771840" y="4332345"/>
                </a:lnTo>
                <a:lnTo>
                  <a:pt x="6783874" y="4382813"/>
                </a:lnTo>
                <a:lnTo>
                  <a:pt x="6915065" y="4332345"/>
                </a:lnTo>
                <a:lnTo>
                  <a:pt x="6924482" y="4377191"/>
                </a:lnTo>
                <a:lnTo>
                  <a:pt x="7058289" y="4332345"/>
                </a:lnTo>
                <a:lnTo>
                  <a:pt x="7065483" y="4371831"/>
                </a:lnTo>
                <a:lnTo>
                  <a:pt x="7201513" y="4332345"/>
                </a:lnTo>
                <a:lnTo>
                  <a:pt x="7206876" y="4366600"/>
                </a:lnTo>
                <a:lnTo>
                  <a:pt x="7344606" y="4332345"/>
                </a:lnTo>
                <a:lnTo>
                  <a:pt x="7348662" y="4361764"/>
                </a:lnTo>
                <a:lnTo>
                  <a:pt x="7487831" y="4332345"/>
                </a:lnTo>
                <a:lnTo>
                  <a:pt x="7490708" y="4357317"/>
                </a:lnTo>
                <a:lnTo>
                  <a:pt x="7631056" y="4332345"/>
                </a:lnTo>
                <a:lnTo>
                  <a:pt x="7633018" y="4353003"/>
                </a:lnTo>
                <a:lnTo>
                  <a:pt x="7774281" y="4332345"/>
                </a:lnTo>
                <a:lnTo>
                  <a:pt x="7775587" y="4348950"/>
                </a:lnTo>
                <a:lnTo>
                  <a:pt x="7917504" y="4332345"/>
                </a:lnTo>
                <a:lnTo>
                  <a:pt x="7918289" y="4345158"/>
                </a:lnTo>
                <a:lnTo>
                  <a:pt x="8060597" y="4332345"/>
                </a:lnTo>
                <a:lnTo>
                  <a:pt x="8061122" y="4341628"/>
                </a:lnTo>
                <a:lnTo>
                  <a:pt x="8203822" y="4332345"/>
                </a:lnTo>
                <a:lnTo>
                  <a:pt x="8204084" y="4338229"/>
                </a:lnTo>
                <a:lnTo>
                  <a:pt x="8213109" y="4337968"/>
                </a:lnTo>
                <a:lnTo>
                  <a:pt x="8301005" y="4334306"/>
                </a:lnTo>
                <a:lnTo>
                  <a:pt x="8301005" y="4332345"/>
                </a:lnTo>
                <a:lnTo>
                  <a:pt x="12189515" y="4332345"/>
                </a:lnTo>
                <a:lnTo>
                  <a:pt x="12189515" y="4534608"/>
                </a:lnTo>
                <a:lnTo>
                  <a:pt x="8301005" y="4534608"/>
                </a:lnTo>
                <a:lnTo>
                  <a:pt x="8301005" y="4531863"/>
                </a:lnTo>
                <a:lnTo>
                  <a:pt x="8170730" y="4534608"/>
                </a:lnTo>
                <a:lnTo>
                  <a:pt x="8170599" y="4529117"/>
                </a:lnTo>
                <a:lnTo>
                  <a:pt x="8040324" y="4534608"/>
                </a:lnTo>
                <a:lnTo>
                  <a:pt x="8040194" y="4526110"/>
                </a:lnTo>
                <a:lnTo>
                  <a:pt x="7910049" y="4534608"/>
                </a:lnTo>
                <a:lnTo>
                  <a:pt x="7909656" y="4522842"/>
                </a:lnTo>
                <a:lnTo>
                  <a:pt x="7779774" y="4534608"/>
                </a:lnTo>
                <a:lnTo>
                  <a:pt x="7778989" y="4519442"/>
                </a:lnTo>
                <a:lnTo>
                  <a:pt x="7649499" y="4534608"/>
                </a:lnTo>
                <a:lnTo>
                  <a:pt x="7648191" y="4515650"/>
                </a:lnTo>
                <a:lnTo>
                  <a:pt x="7519093" y="4534608"/>
                </a:lnTo>
                <a:lnTo>
                  <a:pt x="7517261" y="4511728"/>
                </a:lnTo>
                <a:lnTo>
                  <a:pt x="7388816" y="4534608"/>
                </a:lnTo>
                <a:lnTo>
                  <a:pt x="7386200" y="4507544"/>
                </a:lnTo>
                <a:lnTo>
                  <a:pt x="7258541" y="4534608"/>
                </a:lnTo>
                <a:lnTo>
                  <a:pt x="7254880" y="4503099"/>
                </a:lnTo>
                <a:lnTo>
                  <a:pt x="7128135" y="4534608"/>
                </a:lnTo>
                <a:lnTo>
                  <a:pt x="7123296" y="4498261"/>
                </a:lnTo>
                <a:lnTo>
                  <a:pt x="6997860" y="4534608"/>
                </a:lnTo>
                <a:lnTo>
                  <a:pt x="6991320" y="4493162"/>
                </a:lnTo>
                <a:lnTo>
                  <a:pt x="6867585" y="4534608"/>
                </a:lnTo>
                <a:lnTo>
                  <a:pt x="6859083" y="4487801"/>
                </a:lnTo>
                <a:lnTo>
                  <a:pt x="6737310" y="4534608"/>
                </a:lnTo>
                <a:lnTo>
                  <a:pt x="6726322" y="4482179"/>
                </a:lnTo>
                <a:lnTo>
                  <a:pt x="6606904" y="4534608"/>
                </a:lnTo>
                <a:lnTo>
                  <a:pt x="6593040" y="4476295"/>
                </a:lnTo>
                <a:lnTo>
                  <a:pt x="6476628" y="4534608"/>
                </a:lnTo>
                <a:lnTo>
                  <a:pt x="6459101" y="4470282"/>
                </a:lnTo>
                <a:lnTo>
                  <a:pt x="6346352" y="4534608"/>
                </a:lnTo>
                <a:lnTo>
                  <a:pt x="6324509" y="4464137"/>
                </a:lnTo>
                <a:lnTo>
                  <a:pt x="6215947" y="4534608"/>
                </a:lnTo>
                <a:lnTo>
                  <a:pt x="6189002" y="4458254"/>
                </a:lnTo>
                <a:lnTo>
                  <a:pt x="6085672" y="4534608"/>
                </a:lnTo>
                <a:lnTo>
                  <a:pt x="6052710" y="4452631"/>
                </a:lnTo>
                <a:lnTo>
                  <a:pt x="5955396" y="4534608"/>
                </a:lnTo>
                <a:lnTo>
                  <a:pt x="5916418" y="4449754"/>
                </a:lnTo>
                <a:close/>
                <a:moveTo>
                  <a:pt x="5912625" y="4332345"/>
                </a:moveTo>
                <a:lnTo>
                  <a:pt x="5953696" y="4410662"/>
                </a:lnTo>
                <a:lnTo>
                  <a:pt x="5825120" y="4534608"/>
                </a:lnTo>
                <a:lnTo>
                  <a:pt x="5784049" y="4456292"/>
                </a:lnTo>
                <a:close/>
                <a:moveTo>
                  <a:pt x="5769534" y="4332345"/>
                </a:moveTo>
                <a:lnTo>
                  <a:pt x="5812697" y="4404125"/>
                </a:lnTo>
                <a:lnTo>
                  <a:pt x="5694716" y="4534608"/>
                </a:lnTo>
                <a:lnTo>
                  <a:pt x="5651552" y="4462829"/>
                </a:lnTo>
                <a:close/>
                <a:moveTo>
                  <a:pt x="5626305" y="4332345"/>
                </a:moveTo>
                <a:lnTo>
                  <a:pt x="5671693" y="4397587"/>
                </a:lnTo>
                <a:lnTo>
                  <a:pt x="5564438" y="4534608"/>
                </a:lnTo>
                <a:lnTo>
                  <a:pt x="5519050" y="4469366"/>
                </a:lnTo>
                <a:close/>
                <a:moveTo>
                  <a:pt x="5483083" y="4332345"/>
                </a:moveTo>
                <a:lnTo>
                  <a:pt x="5530694" y="4391050"/>
                </a:lnTo>
                <a:lnTo>
                  <a:pt x="5434164" y="4534608"/>
                </a:lnTo>
                <a:lnTo>
                  <a:pt x="5386553" y="4475904"/>
                </a:lnTo>
                <a:close/>
                <a:moveTo>
                  <a:pt x="5339858" y="4332345"/>
                </a:moveTo>
                <a:lnTo>
                  <a:pt x="5389562" y="4384512"/>
                </a:lnTo>
                <a:lnTo>
                  <a:pt x="5303757" y="4534608"/>
                </a:lnTo>
                <a:lnTo>
                  <a:pt x="5254053" y="4482441"/>
                </a:lnTo>
                <a:close/>
                <a:moveTo>
                  <a:pt x="5196635" y="4332345"/>
                </a:moveTo>
                <a:lnTo>
                  <a:pt x="5248563" y="4377975"/>
                </a:lnTo>
                <a:lnTo>
                  <a:pt x="5173483" y="4534608"/>
                </a:lnTo>
                <a:lnTo>
                  <a:pt x="5121556" y="4488848"/>
                </a:lnTo>
                <a:close/>
                <a:moveTo>
                  <a:pt x="5053542" y="4332345"/>
                </a:moveTo>
                <a:lnTo>
                  <a:pt x="5107562" y="4371568"/>
                </a:lnTo>
                <a:lnTo>
                  <a:pt x="5043208" y="4534608"/>
                </a:lnTo>
                <a:lnTo>
                  <a:pt x="4989187" y="4495385"/>
                </a:lnTo>
                <a:close/>
                <a:moveTo>
                  <a:pt x="4910318" y="4332345"/>
                </a:moveTo>
                <a:lnTo>
                  <a:pt x="4966429" y="4365032"/>
                </a:lnTo>
                <a:lnTo>
                  <a:pt x="4912934" y="4534608"/>
                </a:lnTo>
                <a:lnTo>
                  <a:pt x="4856690" y="4501921"/>
                </a:lnTo>
                <a:close/>
                <a:moveTo>
                  <a:pt x="4767072" y="4332345"/>
                </a:moveTo>
                <a:lnTo>
                  <a:pt x="4825410" y="4358495"/>
                </a:lnTo>
                <a:lnTo>
                  <a:pt x="4782507" y="4534608"/>
                </a:lnTo>
                <a:lnTo>
                  <a:pt x="4724171" y="4508459"/>
                </a:lnTo>
                <a:close/>
                <a:moveTo>
                  <a:pt x="4623867" y="4332345"/>
                </a:moveTo>
                <a:lnTo>
                  <a:pt x="4684428" y="4351957"/>
                </a:lnTo>
                <a:lnTo>
                  <a:pt x="4652251" y="4534608"/>
                </a:lnTo>
                <a:lnTo>
                  <a:pt x="4591691" y="4514996"/>
                </a:lnTo>
                <a:close/>
                <a:moveTo>
                  <a:pt x="4480647" y="4332345"/>
                </a:moveTo>
                <a:lnTo>
                  <a:pt x="4543432" y="4345420"/>
                </a:lnTo>
                <a:lnTo>
                  <a:pt x="4521981" y="4534608"/>
                </a:lnTo>
                <a:lnTo>
                  <a:pt x="4459197" y="4521534"/>
                </a:lnTo>
                <a:close/>
                <a:moveTo>
                  <a:pt x="4337550" y="4332345"/>
                </a:moveTo>
                <a:lnTo>
                  <a:pt x="4402296" y="4338883"/>
                </a:lnTo>
                <a:lnTo>
                  <a:pt x="4391570" y="4534608"/>
                </a:lnTo>
                <a:lnTo>
                  <a:pt x="4326825" y="4528071"/>
                </a:lnTo>
                <a:close/>
                <a:moveTo>
                  <a:pt x="4194332" y="4332345"/>
                </a:moveTo>
                <a:lnTo>
                  <a:pt x="4196426" y="4332345"/>
                </a:lnTo>
                <a:lnTo>
                  <a:pt x="4261296" y="4332345"/>
                </a:lnTo>
                <a:lnTo>
                  <a:pt x="4263390" y="4332345"/>
                </a:lnTo>
                <a:lnTo>
                  <a:pt x="4263390" y="4534478"/>
                </a:lnTo>
                <a:lnTo>
                  <a:pt x="4261296" y="4534478"/>
                </a:lnTo>
                <a:lnTo>
                  <a:pt x="4196426" y="4534478"/>
                </a:lnTo>
                <a:lnTo>
                  <a:pt x="4194332" y="4534478"/>
                </a:lnTo>
                <a:close/>
                <a:moveTo>
                  <a:pt x="4120170" y="4332345"/>
                </a:moveTo>
                <a:lnTo>
                  <a:pt x="4130896" y="4528071"/>
                </a:lnTo>
                <a:lnTo>
                  <a:pt x="4066018" y="4534608"/>
                </a:lnTo>
                <a:lnTo>
                  <a:pt x="4055294" y="4338883"/>
                </a:lnTo>
                <a:close/>
                <a:moveTo>
                  <a:pt x="3976947" y="4332345"/>
                </a:moveTo>
                <a:lnTo>
                  <a:pt x="3998396" y="4521534"/>
                </a:lnTo>
                <a:lnTo>
                  <a:pt x="3935741" y="4534608"/>
                </a:lnTo>
                <a:lnTo>
                  <a:pt x="3914293" y="4345420"/>
                </a:lnTo>
                <a:close/>
                <a:moveTo>
                  <a:pt x="3833720" y="4332345"/>
                </a:moveTo>
                <a:lnTo>
                  <a:pt x="3865897" y="4514996"/>
                </a:lnTo>
                <a:lnTo>
                  <a:pt x="3805467" y="4534608"/>
                </a:lnTo>
                <a:lnTo>
                  <a:pt x="3773292" y="4351957"/>
                </a:lnTo>
                <a:close/>
                <a:moveTo>
                  <a:pt x="3690629" y="4332345"/>
                </a:moveTo>
                <a:lnTo>
                  <a:pt x="3733396" y="4508459"/>
                </a:lnTo>
                <a:lnTo>
                  <a:pt x="3675062" y="4534608"/>
                </a:lnTo>
                <a:lnTo>
                  <a:pt x="3632158" y="4358495"/>
                </a:lnTo>
                <a:close/>
                <a:moveTo>
                  <a:pt x="3547400" y="4332345"/>
                </a:moveTo>
                <a:lnTo>
                  <a:pt x="3601030" y="4501921"/>
                </a:lnTo>
                <a:lnTo>
                  <a:pt x="3544786" y="4534608"/>
                </a:lnTo>
                <a:lnTo>
                  <a:pt x="3491159" y="4365032"/>
                </a:lnTo>
                <a:close/>
                <a:moveTo>
                  <a:pt x="3404180" y="4332345"/>
                </a:moveTo>
                <a:lnTo>
                  <a:pt x="3468533" y="4495385"/>
                </a:lnTo>
                <a:lnTo>
                  <a:pt x="3414513" y="4534608"/>
                </a:lnTo>
                <a:lnTo>
                  <a:pt x="3350159" y="4371568"/>
                </a:lnTo>
                <a:close/>
                <a:moveTo>
                  <a:pt x="3260954" y="4332345"/>
                </a:moveTo>
                <a:lnTo>
                  <a:pt x="3336034" y="4488848"/>
                </a:lnTo>
                <a:lnTo>
                  <a:pt x="3284105" y="4534608"/>
                </a:lnTo>
                <a:lnTo>
                  <a:pt x="3209157" y="4377975"/>
                </a:lnTo>
                <a:close/>
                <a:moveTo>
                  <a:pt x="3117730" y="4332345"/>
                </a:moveTo>
                <a:lnTo>
                  <a:pt x="3203536" y="4482441"/>
                </a:lnTo>
                <a:lnTo>
                  <a:pt x="3153831" y="4534608"/>
                </a:lnTo>
                <a:lnTo>
                  <a:pt x="3068027" y="4384512"/>
                </a:lnTo>
                <a:close/>
                <a:moveTo>
                  <a:pt x="2974635" y="4332345"/>
                </a:moveTo>
                <a:lnTo>
                  <a:pt x="3071033" y="4475904"/>
                </a:lnTo>
                <a:lnTo>
                  <a:pt x="3023555" y="4534608"/>
                </a:lnTo>
                <a:lnTo>
                  <a:pt x="2927026" y="4391050"/>
                </a:lnTo>
                <a:close/>
                <a:moveTo>
                  <a:pt x="2831413" y="4332345"/>
                </a:moveTo>
                <a:lnTo>
                  <a:pt x="2938666" y="4469366"/>
                </a:lnTo>
                <a:lnTo>
                  <a:pt x="2893280" y="4534608"/>
                </a:lnTo>
                <a:lnTo>
                  <a:pt x="2786026" y="4397587"/>
                </a:lnTo>
                <a:close/>
                <a:moveTo>
                  <a:pt x="2688188" y="4332345"/>
                </a:moveTo>
                <a:lnTo>
                  <a:pt x="2806169" y="4462829"/>
                </a:lnTo>
                <a:lnTo>
                  <a:pt x="2762871" y="4534608"/>
                </a:lnTo>
                <a:lnTo>
                  <a:pt x="2645025" y="4404125"/>
                </a:lnTo>
                <a:close/>
                <a:moveTo>
                  <a:pt x="2544961" y="4332345"/>
                </a:moveTo>
                <a:lnTo>
                  <a:pt x="2673669" y="4456292"/>
                </a:lnTo>
                <a:lnTo>
                  <a:pt x="2632599" y="4534608"/>
                </a:lnTo>
                <a:lnTo>
                  <a:pt x="2503890" y="4410662"/>
                </a:lnTo>
                <a:close/>
                <a:moveTo>
                  <a:pt x="0" y="4332345"/>
                </a:moveTo>
                <a:lnTo>
                  <a:pt x="156594" y="4332345"/>
                </a:lnTo>
                <a:lnTo>
                  <a:pt x="156594" y="4334306"/>
                </a:lnTo>
                <a:lnTo>
                  <a:pt x="244621" y="4337968"/>
                </a:lnTo>
                <a:lnTo>
                  <a:pt x="253646" y="4338229"/>
                </a:lnTo>
                <a:lnTo>
                  <a:pt x="253777" y="4332345"/>
                </a:lnTo>
                <a:lnTo>
                  <a:pt x="396605" y="4341628"/>
                </a:lnTo>
                <a:lnTo>
                  <a:pt x="396998" y="4332345"/>
                </a:lnTo>
                <a:lnTo>
                  <a:pt x="539437" y="4345158"/>
                </a:lnTo>
                <a:lnTo>
                  <a:pt x="540222" y="4332345"/>
                </a:lnTo>
                <a:lnTo>
                  <a:pt x="682139" y="4348950"/>
                </a:lnTo>
                <a:lnTo>
                  <a:pt x="683447" y="4332345"/>
                </a:lnTo>
                <a:lnTo>
                  <a:pt x="824579" y="4353003"/>
                </a:lnTo>
                <a:lnTo>
                  <a:pt x="826671" y="4332345"/>
                </a:lnTo>
                <a:lnTo>
                  <a:pt x="966885" y="4357317"/>
                </a:lnTo>
                <a:lnTo>
                  <a:pt x="969762" y="4332345"/>
                </a:lnTo>
                <a:lnTo>
                  <a:pt x="1109062" y="4361764"/>
                </a:lnTo>
                <a:lnTo>
                  <a:pt x="1112981" y="4332345"/>
                </a:lnTo>
                <a:lnTo>
                  <a:pt x="1250844" y="4366600"/>
                </a:lnTo>
                <a:lnTo>
                  <a:pt x="1256206" y="4332345"/>
                </a:lnTo>
                <a:lnTo>
                  <a:pt x="1392235" y="4371831"/>
                </a:lnTo>
                <a:lnTo>
                  <a:pt x="1399430" y="4332345"/>
                </a:lnTo>
                <a:lnTo>
                  <a:pt x="1533237" y="4377191"/>
                </a:lnTo>
                <a:lnTo>
                  <a:pt x="1542654" y="4332345"/>
                </a:lnTo>
                <a:lnTo>
                  <a:pt x="1673714" y="4382813"/>
                </a:lnTo>
                <a:lnTo>
                  <a:pt x="1685747" y="4332345"/>
                </a:lnTo>
                <a:lnTo>
                  <a:pt x="1813669" y="4388566"/>
                </a:lnTo>
                <a:lnTo>
                  <a:pt x="1828972" y="4332345"/>
                </a:lnTo>
                <a:lnTo>
                  <a:pt x="1952969" y="4394449"/>
                </a:lnTo>
                <a:lnTo>
                  <a:pt x="1972197" y="4332345"/>
                </a:lnTo>
                <a:lnTo>
                  <a:pt x="2091354" y="4400332"/>
                </a:lnTo>
                <a:lnTo>
                  <a:pt x="2115422" y="4332345"/>
                </a:lnTo>
                <a:lnTo>
                  <a:pt x="2228955" y="4406085"/>
                </a:lnTo>
                <a:lnTo>
                  <a:pt x="2258513" y="4332345"/>
                </a:lnTo>
                <a:lnTo>
                  <a:pt x="2365509" y="4411315"/>
                </a:lnTo>
                <a:lnTo>
                  <a:pt x="2401740" y="4332345"/>
                </a:lnTo>
                <a:lnTo>
                  <a:pt x="2541172" y="4449754"/>
                </a:lnTo>
                <a:lnTo>
                  <a:pt x="2502324" y="4534608"/>
                </a:lnTo>
                <a:lnTo>
                  <a:pt x="2405010" y="4452631"/>
                </a:lnTo>
                <a:lnTo>
                  <a:pt x="2371916" y="4534608"/>
                </a:lnTo>
                <a:lnTo>
                  <a:pt x="2268586" y="4458254"/>
                </a:lnTo>
                <a:lnTo>
                  <a:pt x="2241639" y="4534608"/>
                </a:lnTo>
                <a:lnTo>
                  <a:pt x="2133210" y="4464137"/>
                </a:lnTo>
                <a:lnTo>
                  <a:pt x="2111367" y="4534608"/>
                </a:lnTo>
                <a:lnTo>
                  <a:pt x="1998618" y="4470282"/>
                </a:lnTo>
                <a:lnTo>
                  <a:pt x="1981091" y="4534608"/>
                </a:lnTo>
                <a:lnTo>
                  <a:pt x="1864680" y="4476295"/>
                </a:lnTo>
                <a:lnTo>
                  <a:pt x="1850685" y="4534608"/>
                </a:lnTo>
                <a:lnTo>
                  <a:pt x="1731396" y="4482179"/>
                </a:lnTo>
                <a:lnTo>
                  <a:pt x="1720409" y="4534608"/>
                </a:lnTo>
                <a:lnTo>
                  <a:pt x="1598636" y="4487801"/>
                </a:lnTo>
                <a:lnTo>
                  <a:pt x="1590135" y="4534608"/>
                </a:lnTo>
                <a:lnTo>
                  <a:pt x="1466268" y="4493162"/>
                </a:lnTo>
                <a:lnTo>
                  <a:pt x="1459729" y="4534608"/>
                </a:lnTo>
                <a:lnTo>
                  <a:pt x="1334423" y="4498261"/>
                </a:lnTo>
                <a:lnTo>
                  <a:pt x="1329452" y="4534608"/>
                </a:lnTo>
                <a:lnTo>
                  <a:pt x="1202840" y="4503099"/>
                </a:lnTo>
                <a:lnTo>
                  <a:pt x="1199177" y="4534608"/>
                </a:lnTo>
                <a:lnTo>
                  <a:pt x="1071392" y="4507544"/>
                </a:lnTo>
                <a:lnTo>
                  <a:pt x="1068907" y="4534608"/>
                </a:lnTo>
                <a:lnTo>
                  <a:pt x="940333" y="4511728"/>
                </a:lnTo>
                <a:lnTo>
                  <a:pt x="938501" y="4534608"/>
                </a:lnTo>
                <a:lnTo>
                  <a:pt x="809406" y="4515650"/>
                </a:lnTo>
                <a:lnTo>
                  <a:pt x="808229" y="4534608"/>
                </a:lnTo>
                <a:lnTo>
                  <a:pt x="678607" y="4519442"/>
                </a:lnTo>
                <a:lnTo>
                  <a:pt x="677953" y="4534608"/>
                </a:lnTo>
                <a:lnTo>
                  <a:pt x="548070" y="4522842"/>
                </a:lnTo>
                <a:lnTo>
                  <a:pt x="547546" y="4534608"/>
                </a:lnTo>
                <a:lnTo>
                  <a:pt x="417403" y="4526110"/>
                </a:lnTo>
                <a:lnTo>
                  <a:pt x="417271" y="4534608"/>
                </a:lnTo>
                <a:lnTo>
                  <a:pt x="286996" y="4529117"/>
                </a:lnTo>
                <a:lnTo>
                  <a:pt x="286996" y="4534608"/>
                </a:lnTo>
                <a:lnTo>
                  <a:pt x="156594" y="4531863"/>
                </a:lnTo>
                <a:lnTo>
                  <a:pt x="156594" y="4534608"/>
                </a:lnTo>
                <a:lnTo>
                  <a:pt x="0" y="4534608"/>
                </a:lnTo>
                <a:close/>
                <a:moveTo>
                  <a:pt x="6055850" y="4075824"/>
                </a:moveTo>
                <a:lnTo>
                  <a:pt x="6092081" y="4154793"/>
                </a:lnTo>
                <a:lnTo>
                  <a:pt x="6199073" y="4075824"/>
                </a:lnTo>
                <a:lnTo>
                  <a:pt x="6228764" y="4149564"/>
                </a:lnTo>
                <a:lnTo>
                  <a:pt x="6342298" y="4075824"/>
                </a:lnTo>
                <a:lnTo>
                  <a:pt x="6366234" y="4143811"/>
                </a:lnTo>
                <a:lnTo>
                  <a:pt x="6485523" y="4075824"/>
                </a:lnTo>
                <a:lnTo>
                  <a:pt x="6504750" y="4137928"/>
                </a:lnTo>
                <a:lnTo>
                  <a:pt x="6628616" y="4075824"/>
                </a:lnTo>
                <a:lnTo>
                  <a:pt x="6644051" y="4132045"/>
                </a:lnTo>
                <a:lnTo>
                  <a:pt x="6771840" y="4075824"/>
                </a:lnTo>
                <a:lnTo>
                  <a:pt x="6783874" y="4126292"/>
                </a:lnTo>
                <a:lnTo>
                  <a:pt x="6915065" y="4075824"/>
                </a:lnTo>
                <a:lnTo>
                  <a:pt x="6924482" y="4120669"/>
                </a:lnTo>
                <a:lnTo>
                  <a:pt x="7058289" y="4075824"/>
                </a:lnTo>
                <a:lnTo>
                  <a:pt x="7065483" y="4115310"/>
                </a:lnTo>
                <a:lnTo>
                  <a:pt x="7201513" y="4075824"/>
                </a:lnTo>
                <a:lnTo>
                  <a:pt x="7206876" y="4110079"/>
                </a:lnTo>
                <a:lnTo>
                  <a:pt x="7344606" y="4075824"/>
                </a:lnTo>
                <a:lnTo>
                  <a:pt x="7348662" y="4105373"/>
                </a:lnTo>
                <a:lnTo>
                  <a:pt x="7487831" y="4075824"/>
                </a:lnTo>
                <a:lnTo>
                  <a:pt x="7490708" y="4100796"/>
                </a:lnTo>
                <a:lnTo>
                  <a:pt x="7631056" y="4075824"/>
                </a:lnTo>
                <a:lnTo>
                  <a:pt x="7633018" y="4096482"/>
                </a:lnTo>
                <a:lnTo>
                  <a:pt x="7774281" y="4075824"/>
                </a:lnTo>
                <a:lnTo>
                  <a:pt x="7775587" y="4092429"/>
                </a:lnTo>
                <a:lnTo>
                  <a:pt x="7917504" y="4075824"/>
                </a:lnTo>
                <a:lnTo>
                  <a:pt x="7918289" y="4088767"/>
                </a:lnTo>
                <a:lnTo>
                  <a:pt x="8060597" y="4075824"/>
                </a:lnTo>
                <a:lnTo>
                  <a:pt x="8061122" y="4085237"/>
                </a:lnTo>
                <a:lnTo>
                  <a:pt x="8203822" y="4075824"/>
                </a:lnTo>
                <a:lnTo>
                  <a:pt x="8204084" y="4081708"/>
                </a:lnTo>
                <a:lnTo>
                  <a:pt x="8213109" y="4081447"/>
                </a:lnTo>
                <a:lnTo>
                  <a:pt x="8301005" y="4077785"/>
                </a:lnTo>
                <a:lnTo>
                  <a:pt x="8301005" y="4075824"/>
                </a:lnTo>
                <a:lnTo>
                  <a:pt x="12189515" y="4075824"/>
                </a:lnTo>
                <a:lnTo>
                  <a:pt x="12189515" y="4278087"/>
                </a:lnTo>
                <a:lnTo>
                  <a:pt x="8301005" y="4278087"/>
                </a:lnTo>
                <a:lnTo>
                  <a:pt x="8301005" y="4275342"/>
                </a:lnTo>
                <a:lnTo>
                  <a:pt x="8170730" y="4278087"/>
                </a:lnTo>
                <a:lnTo>
                  <a:pt x="8170599" y="4272596"/>
                </a:lnTo>
                <a:lnTo>
                  <a:pt x="8040324" y="4278087"/>
                </a:lnTo>
                <a:lnTo>
                  <a:pt x="8040194" y="4269589"/>
                </a:lnTo>
                <a:lnTo>
                  <a:pt x="7910049" y="4278087"/>
                </a:lnTo>
                <a:lnTo>
                  <a:pt x="7909656" y="4266321"/>
                </a:lnTo>
                <a:lnTo>
                  <a:pt x="7779774" y="4278087"/>
                </a:lnTo>
                <a:lnTo>
                  <a:pt x="7778989" y="4262921"/>
                </a:lnTo>
                <a:lnTo>
                  <a:pt x="7649499" y="4278087"/>
                </a:lnTo>
                <a:lnTo>
                  <a:pt x="7648191" y="4259260"/>
                </a:lnTo>
                <a:lnTo>
                  <a:pt x="7519093" y="4278087"/>
                </a:lnTo>
                <a:lnTo>
                  <a:pt x="7517261" y="4255207"/>
                </a:lnTo>
                <a:lnTo>
                  <a:pt x="7388816" y="4278087"/>
                </a:lnTo>
                <a:lnTo>
                  <a:pt x="7386200" y="4251023"/>
                </a:lnTo>
                <a:lnTo>
                  <a:pt x="7258541" y="4278087"/>
                </a:lnTo>
                <a:lnTo>
                  <a:pt x="7254880" y="4246578"/>
                </a:lnTo>
                <a:lnTo>
                  <a:pt x="7128135" y="4278087"/>
                </a:lnTo>
                <a:lnTo>
                  <a:pt x="7123296" y="4241740"/>
                </a:lnTo>
                <a:lnTo>
                  <a:pt x="6997860" y="4278087"/>
                </a:lnTo>
                <a:lnTo>
                  <a:pt x="6991320" y="4236641"/>
                </a:lnTo>
                <a:lnTo>
                  <a:pt x="6867585" y="4278087"/>
                </a:lnTo>
                <a:lnTo>
                  <a:pt x="6859083" y="4231280"/>
                </a:lnTo>
                <a:lnTo>
                  <a:pt x="6737310" y="4278087"/>
                </a:lnTo>
                <a:lnTo>
                  <a:pt x="6726322" y="4225658"/>
                </a:lnTo>
                <a:lnTo>
                  <a:pt x="6606904" y="4278087"/>
                </a:lnTo>
                <a:lnTo>
                  <a:pt x="6593040" y="4219774"/>
                </a:lnTo>
                <a:lnTo>
                  <a:pt x="6476628" y="4278087"/>
                </a:lnTo>
                <a:lnTo>
                  <a:pt x="6459101" y="4213761"/>
                </a:lnTo>
                <a:lnTo>
                  <a:pt x="6346352" y="4278087"/>
                </a:lnTo>
                <a:lnTo>
                  <a:pt x="6324509" y="4207747"/>
                </a:lnTo>
                <a:lnTo>
                  <a:pt x="6215947" y="4278087"/>
                </a:lnTo>
                <a:lnTo>
                  <a:pt x="6189002" y="4201731"/>
                </a:lnTo>
                <a:lnTo>
                  <a:pt x="6085672" y="4278087"/>
                </a:lnTo>
                <a:lnTo>
                  <a:pt x="6052710" y="4196110"/>
                </a:lnTo>
                <a:lnTo>
                  <a:pt x="5955396" y="4278087"/>
                </a:lnTo>
                <a:lnTo>
                  <a:pt x="5916418" y="4193233"/>
                </a:lnTo>
                <a:close/>
                <a:moveTo>
                  <a:pt x="5912625" y="4075824"/>
                </a:moveTo>
                <a:lnTo>
                  <a:pt x="5953696" y="4154141"/>
                </a:lnTo>
                <a:lnTo>
                  <a:pt x="5825120" y="4278087"/>
                </a:lnTo>
                <a:lnTo>
                  <a:pt x="5784049" y="4199771"/>
                </a:lnTo>
                <a:close/>
                <a:moveTo>
                  <a:pt x="5769534" y="4075824"/>
                </a:moveTo>
                <a:lnTo>
                  <a:pt x="5812697" y="4147603"/>
                </a:lnTo>
                <a:lnTo>
                  <a:pt x="5694716" y="4278087"/>
                </a:lnTo>
                <a:lnTo>
                  <a:pt x="5651552" y="4206308"/>
                </a:lnTo>
                <a:close/>
                <a:moveTo>
                  <a:pt x="5626305" y="4075824"/>
                </a:moveTo>
                <a:lnTo>
                  <a:pt x="5671693" y="4141066"/>
                </a:lnTo>
                <a:lnTo>
                  <a:pt x="5564438" y="4278087"/>
                </a:lnTo>
                <a:lnTo>
                  <a:pt x="5519050" y="4212845"/>
                </a:lnTo>
                <a:close/>
                <a:moveTo>
                  <a:pt x="5483083" y="4075824"/>
                </a:moveTo>
                <a:lnTo>
                  <a:pt x="5530694" y="4134529"/>
                </a:lnTo>
                <a:lnTo>
                  <a:pt x="5434164" y="4278087"/>
                </a:lnTo>
                <a:lnTo>
                  <a:pt x="5386553" y="4219383"/>
                </a:lnTo>
                <a:close/>
                <a:moveTo>
                  <a:pt x="5339858" y="4075824"/>
                </a:moveTo>
                <a:lnTo>
                  <a:pt x="5389562" y="4127991"/>
                </a:lnTo>
                <a:lnTo>
                  <a:pt x="5303757" y="4278087"/>
                </a:lnTo>
                <a:lnTo>
                  <a:pt x="5254053" y="4225920"/>
                </a:lnTo>
                <a:close/>
                <a:moveTo>
                  <a:pt x="5196635" y="4075824"/>
                </a:moveTo>
                <a:lnTo>
                  <a:pt x="5248563" y="4121454"/>
                </a:lnTo>
                <a:lnTo>
                  <a:pt x="5173483" y="4278087"/>
                </a:lnTo>
                <a:lnTo>
                  <a:pt x="5121556" y="4232458"/>
                </a:lnTo>
                <a:close/>
                <a:moveTo>
                  <a:pt x="5053542" y="4075824"/>
                </a:moveTo>
                <a:lnTo>
                  <a:pt x="5107562" y="4115047"/>
                </a:lnTo>
                <a:lnTo>
                  <a:pt x="5043208" y="4278087"/>
                </a:lnTo>
                <a:lnTo>
                  <a:pt x="4989187" y="4238864"/>
                </a:lnTo>
                <a:close/>
                <a:moveTo>
                  <a:pt x="4910318" y="4075824"/>
                </a:moveTo>
                <a:lnTo>
                  <a:pt x="4966429" y="4108511"/>
                </a:lnTo>
                <a:lnTo>
                  <a:pt x="4912934" y="4278087"/>
                </a:lnTo>
                <a:lnTo>
                  <a:pt x="4856690" y="4245400"/>
                </a:lnTo>
                <a:close/>
                <a:moveTo>
                  <a:pt x="4767091" y="4075824"/>
                </a:moveTo>
                <a:lnTo>
                  <a:pt x="4825429" y="4101974"/>
                </a:lnTo>
                <a:lnTo>
                  <a:pt x="4782526" y="4278087"/>
                </a:lnTo>
                <a:lnTo>
                  <a:pt x="4724190" y="4251938"/>
                </a:lnTo>
                <a:close/>
                <a:moveTo>
                  <a:pt x="4623867" y="4075824"/>
                </a:moveTo>
                <a:lnTo>
                  <a:pt x="4684428" y="4095436"/>
                </a:lnTo>
                <a:lnTo>
                  <a:pt x="4652251" y="4278087"/>
                </a:lnTo>
                <a:lnTo>
                  <a:pt x="4591691" y="4258475"/>
                </a:lnTo>
                <a:close/>
                <a:moveTo>
                  <a:pt x="4480643" y="4075824"/>
                </a:moveTo>
                <a:lnTo>
                  <a:pt x="4543428" y="4088899"/>
                </a:lnTo>
                <a:lnTo>
                  <a:pt x="4521977" y="4278087"/>
                </a:lnTo>
                <a:lnTo>
                  <a:pt x="4459193" y="4265013"/>
                </a:lnTo>
                <a:close/>
                <a:moveTo>
                  <a:pt x="4337550" y="4075824"/>
                </a:moveTo>
                <a:lnTo>
                  <a:pt x="4402296" y="4082362"/>
                </a:lnTo>
                <a:lnTo>
                  <a:pt x="4391570" y="4278087"/>
                </a:lnTo>
                <a:lnTo>
                  <a:pt x="4326825" y="4271550"/>
                </a:lnTo>
                <a:close/>
                <a:moveTo>
                  <a:pt x="4194332" y="4075824"/>
                </a:moveTo>
                <a:lnTo>
                  <a:pt x="4196426" y="4075824"/>
                </a:lnTo>
                <a:lnTo>
                  <a:pt x="4261296" y="4075824"/>
                </a:lnTo>
                <a:lnTo>
                  <a:pt x="4263390" y="4075824"/>
                </a:lnTo>
                <a:lnTo>
                  <a:pt x="4263390" y="4277957"/>
                </a:lnTo>
                <a:lnTo>
                  <a:pt x="4261296" y="4277957"/>
                </a:lnTo>
                <a:lnTo>
                  <a:pt x="4196426" y="4277957"/>
                </a:lnTo>
                <a:lnTo>
                  <a:pt x="4194332" y="4277957"/>
                </a:lnTo>
                <a:close/>
                <a:moveTo>
                  <a:pt x="4120170" y="4075824"/>
                </a:moveTo>
                <a:lnTo>
                  <a:pt x="4130896" y="4271550"/>
                </a:lnTo>
                <a:lnTo>
                  <a:pt x="4066018" y="4278087"/>
                </a:lnTo>
                <a:lnTo>
                  <a:pt x="4055294" y="4082362"/>
                </a:lnTo>
                <a:close/>
                <a:moveTo>
                  <a:pt x="3976947" y="4075824"/>
                </a:moveTo>
                <a:lnTo>
                  <a:pt x="3998396" y="4265013"/>
                </a:lnTo>
                <a:lnTo>
                  <a:pt x="3935741" y="4278087"/>
                </a:lnTo>
                <a:lnTo>
                  <a:pt x="3914293" y="4088899"/>
                </a:lnTo>
                <a:close/>
                <a:moveTo>
                  <a:pt x="3833720" y="4075824"/>
                </a:moveTo>
                <a:lnTo>
                  <a:pt x="3865897" y="4258475"/>
                </a:lnTo>
                <a:lnTo>
                  <a:pt x="3805467" y="4278087"/>
                </a:lnTo>
                <a:lnTo>
                  <a:pt x="3773292" y="4095436"/>
                </a:lnTo>
                <a:close/>
                <a:moveTo>
                  <a:pt x="3690629" y="4075824"/>
                </a:moveTo>
                <a:lnTo>
                  <a:pt x="3733396" y="4251938"/>
                </a:lnTo>
                <a:lnTo>
                  <a:pt x="3675062" y="4278087"/>
                </a:lnTo>
                <a:lnTo>
                  <a:pt x="3632158" y="4101974"/>
                </a:lnTo>
                <a:close/>
                <a:moveTo>
                  <a:pt x="3547400" y="4075824"/>
                </a:moveTo>
                <a:lnTo>
                  <a:pt x="3601030" y="4245400"/>
                </a:lnTo>
                <a:lnTo>
                  <a:pt x="3544786" y="4278087"/>
                </a:lnTo>
                <a:lnTo>
                  <a:pt x="3491159" y="4108511"/>
                </a:lnTo>
                <a:close/>
                <a:moveTo>
                  <a:pt x="3404180" y="4075824"/>
                </a:moveTo>
                <a:lnTo>
                  <a:pt x="3468533" y="4238864"/>
                </a:lnTo>
                <a:lnTo>
                  <a:pt x="3414513" y="4278087"/>
                </a:lnTo>
                <a:lnTo>
                  <a:pt x="3350159" y="4115047"/>
                </a:lnTo>
                <a:close/>
                <a:moveTo>
                  <a:pt x="3260954" y="4075824"/>
                </a:moveTo>
                <a:lnTo>
                  <a:pt x="3336034" y="4232458"/>
                </a:lnTo>
                <a:lnTo>
                  <a:pt x="3284105" y="4278087"/>
                </a:lnTo>
                <a:lnTo>
                  <a:pt x="3209157" y="4121454"/>
                </a:lnTo>
                <a:close/>
                <a:moveTo>
                  <a:pt x="3117730" y="4075824"/>
                </a:moveTo>
                <a:lnTo>
                  <a:pt x="3203536" y="4225920"/>
                </a:lnTo>
                <a:lnTo>
                  <a:pt x="3153831" y="4278087"/>
                </a:lnTo>
                <a:lnTo>
                  <a:pt x="3068027" y="4127991"/>
                </a:lnTo>
                <a:close/>
                <a:moveTo>
                  <a:pt x="2974635" y="4075824"/>
                </a:moveTo>
                <a:lnTo>
                  <a:pt x="3071033" y="4219383"/>
                </a:lnTo>
                <a:lnTo>
                  <a:pt x="3023555" y="4278087"/>
                </a:lnTo>
                <a:lnTo>
                  <a:pt x="2927026" y="4134529"/>
                </a:lnTo>
                <a:close/>
                <a:moveTo>
                  <a:pt x="2831413" y="4075824"/>
                </a:moveTo>
                <a:lnTo>
                  <a:pt x="2938666" y="4212845"/>
                </a:lnTo>
                <a:lnTo>
                  <a:pt x="2893280" y="4278087"/>
                </a:lnTo>
                <a:lnTo>
                  <a:pt x="2786026" y="4141066"/>
                </a:lnTo>
                <a:close/>
                <a:moveTo>
                  <a:pt x="2688188" y="4075824"/>
                </a:moveTo>
                <a:lnTo>
                  <a:pt x="2806169" y="4206308"/>
                </a:lnTo>
                <a:lnTo>
                  <a:pt x="2762871" y="4278087"/>
                </a:lnTo>
                <a:lnTo>
                  <a:pt x="2645025" y="4147603"/>
                </a:lnTo>
                <a:close/>
                <a:moveTo>
                  <a:pt x="2544961" y="4075824"/>
                </a:moveTo>
                <a:lnTo>
                  <a:pt x="2673669" y="4199771"/>
                </a:lnTo>
                <a:lnTo>
                  <a:pt x="2632599" y="4278087"/>
                </a:lnTo>
                <a:lnTo>
                  <a:pt x="2503890" y="4154141"/>
                </a:lnTo>
                <a:close/>
                <a:moveTo>
                  <a:pt x="0" y="4075824"/>
                </a:moveTo>
                <a:lnTo>
                  <a:pt x="156594" y="4075824"/>
                </a:lnTo>
                <a:lnTo>
                  <a:pt x="156594" y="4077785"/>
                </a:lnTo>
                <a:lnTo>
                  <a:pt x="244621" y="4081447"/>
                </a:lnTo>
                <a:lnTo>
                  <a:pt x="253646" y="4081708"/>
                </a:lnTo>
                <a:lnTo>
                  <a:pt x="253777" y="4075824"/>
                </a:lnTo>
                <a:lnTo>
                  <a:pt x="396605" y="4085237"/>
                </a:lnTo>
                <a:lnTo>
                  <a:pt x="396998" y="4075824"/>
                </a:lnTo>
                <a:lnTo>
                  <a:pt x="539437" y="4088767"/>
                </a:lnTo>
                <a:lnTo>
                  <a:pt x="540222" y="4075824"/>
                </a:lnTo>
                <a:lnTo>
                  <a:pt x="682139" y="4092429"/>
                </a:lnTo>
                <a:lnTo>
                  <a:pt x="683447" y="4075824"/>
                </a:lnTo>
                <a:lnTo>
                  <a:pt x="824579" y="4096482"/>
                </a:lnTo>
                <a:lnTo>
                  <a:pt x="826671" y="4075824"/>
                </a:lnTo>
                <a:lnTo>
                  <a:pt x="966885" y="4100796"/>
                </a:lnTo>
                <a:lnTo>
                  <a:pt x="969762" y="4075824"/>
                </a:lnTo>
                <a:lnTo>
                  <a:pt x="1109062" y="4105373"/>
                </a:lnTo>
                <a:lnTo>
                  <a:pt x="1112981" y="4075824"/>
                </a:lnTo>
                <a:lnTo>
                  <a:pt x="1250844" y="4110079"/>
                </a:lnTo>
                <a:lnTo>
                  <a:pt x="1256206" y="4075824"/>
                </a:lnTo>
                <a:lnTo>
                  <a:pt x="1392235" y="4115310"/>
                </a:lnTo>
                <a:lnTo>
                  <a:pt x="1399430" y="4075824"/>
                </a:lnTo>
                <a:lnTo>
                  <a:pt x="1533237" y="4120669"/>
                </a:lnTo>
                <a:lnTo>
                  <a:pt x="1542654" y="4075824"/>
                </a:lnTo>
                <a:lnTo>
                  <a:pt x="1673714" y="4126292"/>
                </a:lnTo>
                <a:lnTo>
                  <a:pt x="1685747" y="4075824"/>
                </a:lnTo>
                <a:lnTo>
                  <a:pt x="1813669" y="4132045"/>
                </a:lnTo>
                <a:lnTo>
                  <a:pt x="1828972" y="4075824"/>
                </a:lnTo>
                <a:lnTo>
                  <a:pt x="1952969" y="4137928"/>
                </a:lnTo>
                <a:lnTo>
                  <a:pt x="1972197" y="4075824"/>
                </a:lnTo>
                <a:lnTo>
                  <a:pt x="2091354" y="4143811"/>
                </a:lnTo>
                <a:lnTo>
                  <a:pt x="2115422" y="4075824"/>
                </a:lnTo>
                <a:lnTo>
                  <a:pt x="2228955" y="4149564"/>
                </a:lnTo>
                <a:lnTo>
                  <a:pt x="2258513" y="4075824"/>
                </a:lnTo>
                <a:lnTo>
                  <a:pt x="2365509" y="4154793"/>
                </a:lnTo>
                <a:lnTo>
                  <a:pt x="2401740" y="4075824"/>
                </a:lnTo>
                <a:lnTo>
                  <a:pt x="2541172" y="4193233"/>
                </a:lnTo>
                <a:lnTo>
                  <a:pt x="2502324" y="4278087"/>
                </a:lnTo>
                <a:lnTo>
                  <a:pt x="2405010" y="4196110"/>
                </a:lnTo>
                <a:lnTo>
                  <a:pt x="2371916" y="4278087"/>
                </a:lnTo>
                <a:lnTo>
                  <a:pt x="2268586" y="4201731"/>
                </a:lnTo>
                <a:lnTo>
                  <a:pt x="2241639" y="4278087"/>
                </a:lnTo>
                <a:lnTo>
                  <a:pt x="2133210" y="4207747"/>
                </a:lnTo>
                <a:lnTo>
                  <a:pt x="2111367" y="4278087"/>
                </a:lnTo>
                <a:lnTo>
                  <a:pt x="1998618" y="4213761"/>
                </a:lnTo>
                <a:lnTo>
                  <a:pt x="1981091" y="4278087"/>
                </a:lnTo>
                <a:lnTo>
                  <a:pt x="1864680" y="4219774"/>
                </a:lnTo>
                <a:lnTo>
                  <a:pt x="1850685" y="4278087"/>
                </a:lnTo>
                <a:lnTo>
                  <a:pt x="1731396" y="4225658"/>
                </a:lnTo>
                <a:lnTo>
                  <a:pt x="1720409" y="4278087"/>
                </a:lnTo>
                <a:lnTo>
                  <a:pt x="1598636" y="4231280"/>
                </a:lnTo>
                <a:lnTo>
                  <a:pt x="1590135" y="4278087"/>
                </a:lnTo>
                <a:lnTo>
                  <a:pt x="1466268" y="4236641"/>
                </a:lnTo>
                <a:lnTo>
                  <a:pt x="1459729" y="4278087"/>
                </a:lnTo>
                <a:lnTo>
                  <a:pt x="1334423" y="4241740"/>
                </a:lnTo>
                <a:lnTo>
                  <a:pt x="1329452" y="4278087"/>
                </a:lnTo>
                <a:lnTo>
                  <a:pt x="1202840" y="4246578"/>
                </a:lnTo>
                <a:lnTo>
                  <a:pt x="1199177" y="4278087"/>
                </a:lnTo>
                <a:lnTo>
                  <a:pt x="1071392" y="4251023"/>
                </a:lnTo>
                <a:lnTo>
                  <a:pt x="1068907" y="4278087"/>
                </a:lnTo>
                <a:lnTo>
                  <a:pt x="940333" y="4255207"/>
                </a:lnTo>
                <a:lnTo>
                  <a:pt x="938501" y="4278087"/>
                </a:lnTo>
                <a:lnTo>
                  <a:pt x="809406" y="4259260"/>
                </a:lnTo>
                <a:lnTo>
                  <a:pt x="808229" y="4278087"/>
                </a:lnTo>
                <a:lnTo>
                  <a:pt x="678607" y="4262921"/>
                </a:lnTo>
                <a:lnTo>
                  <a:pt x="677953" y="4278087"/>
                </a:lnTo>
                <a:lnTo>
                  <a:pt x="548070" y="4266321"/>
                </a:lnTo>
                <a:lnTo>
                  <a:pt x="547546" y="4278087"/>
                </a:lnTo>
                <a:lnTo>
                  <a:pt x="417403" y="4269589"/>
                </a:lnTo>
                <a:lnTo>
                  <a:pt x="417271" y="4278087"/>
                </a:lnTo>
                <a:lnTo>
                  <a:pt x="286996" y="4272596"/>
                </a:lnTo>
                <a:lnTo>
                  <a:pt x="286996" y="4278087"/>
                </a:lnTo>
                <a:lnTo>
                  <a:pt x="156594" y="4275342"/>
                </a:lnTo>
                <a:lnTo>
                  <a:pt x="156594" y="4278087"/>
                </a:lnTo>
                <a:lnTo>
                  <a:pt x="0" y="4278087"/>
                </a:lnTo>
                <a:close/>
                <a:moveTo>
                  <a:pt x="4767106" y="3819311"/>
                </a:moveTo>
                <a:lnTo>
                  <a:pt x="4825444" y="3845461"/>
                </a:lnTo>
                <a:lnTo>
                  <a:pt x="4782541" y="4021574"/>
                </a:lnTo>
                <a:lnTo>
                  <a:pt x="4724205" y="3995425"/>
                </a:lnTo>
                <a:close/>
                <a:moveTo>
                  <a:pt x="4194332" y="3819304"/>
                </a:moveTo>
                <a:lnTo>
                  <a:pt x="4196426" y="3819304"/>
                </a:lnTo>
                <a:lnTo>
                  <a:pt x="4261296" y="3819304"/>
                </a:lnTo>
                <a:lnTo>
                  <a:pt x="4263390" y="3819304"/>
                </a:lnTo>
                <a:lnTo>
                  <a:pt x="4263390" y="4021437"/>
                </a:lnTo>
                <a:lnTo>
                  <a:pt x="4261296" y="4021437"/>
                </a:lnTo>
                <a:lnTo>
                  <a:pt x="4196426" y="4021437"/>
                </a:lnTo>
                <a:lnTo>
                  <a:pt x="4194332" y="4021437"/>
                </a:lnTo>
                <a:close/>
                <a:moveTo>
                  <a:pt x="6055850" y="3819301"/>
                </a:moveTo>
                <a:lnTo>
                  <a:pt x="6092081" y="3898402"/>
                </a:lnTo>
                <a:lnTo>
                  <a:pt x="6199073" y="3819301"/>
                </a:lnTo>
                <a:lnTo>
                  <a:pt x="6228764" y="3893041"/>
                </a:lnTo>
                <a:lnTo>
                  <a:pt x="6342298" y="3819301"/>
                </a:lnTo>
                <a:lnTo>
                  <a:pt x="6366234" y="3887288"/>
                </a:lnTo>
                <a:lnTo>
                  <a:pt x="6485523" y="3819301"/>
                </a:lnTo>
                <a:lnTo>
                  <a:pt x="6504750" y="3881405"/>
                </a:lnTo>
                <a:lnTo>
                  <a:pt x="6628616" y="3819301"/>
                </a:lnTo>
                <a:lnTo>
                  <a:pt x="6644051" y="3875522"/>
                </a:lnTo>
                <a:lnTo>
                  <a:pt x="6771840" y="3819301"/>
                </a:lnTo>
                <a:lnTo>
                  <a:pt x="6783874" y="3869769"/>
                </a:lnTo>
                <a:lnTo>
                  <a:pt x="6915065" y="3819301"/>
                </a:lnTo>
                <a:lnTo>
                  <a:pt x="6924482" y="3864146"/>
                </a:lnTo>
                <a:lnTo>
                  <a:pt x="7058289" y="3819301"/>
                </a:lnTo>
                <a:lnTo>
                  <a:pt x="7065483" y="3858787"/>
                </a:lnTo>
                <a:lnTo>
                  <a:pt x="7201513" y="3819301"/>
                </a:lnTo>
                <a:lnTo>
                  <a:pt x="7206876" y="3853688"/>
                </a:lnTo>
                <a:lnTo>
                  <a:pt x="7344606" y="3819301"/>
                </a:lnTo>
                <a:lnTo>
                  <a:pt x="7348662" y="3848850"/>
                </a:lnTo>
                <a:lnTo>
                  <a:pt x="7487831" y="3819301"/>
                </a:lnTo>
                <a:lnTo>
                  <a:pt x="7490708" y="3844273"/>
                </a:lnTo>
                <a:lnTo>
                  <a:pt x="7631056" y="3819301"/>
                </a:lnTo>
                <a:lnTo>
                  <a:pt x="7633018" y="3839959"/>
                </a:lnTo>
                <a:lnTo>
                  <a:pt x="7774281" y="3819301"/>
                </a:lnTo>
                <a:lnTo>
                  <a:pt x="7775587" y="3835906"/>
                </a:lnTo>
                <a:lnTo>
                  <a:pt x="7917504" y="3819301"/>
                </a:lnTo>
                <a:lnTo>
                  <a:pt x="7918289" y="3832115"/>
                </a:lnTo>
                <a:lnTo>
                  <a:pt x="8060597" y="3819301"/>
                </a:lnTo>
                <a:lnTo>
                  <a:pt x="8061122" y="3828714"/>
                </a:lnTo>
                <a:lnTo>
                  <a:pt x="8203822" y="3819301"/>
                </a:lnTo>
                <a:lnTo>
                  <a:pt x="8204084" y="3825185"/>
                </a:lnTo>
                <a:lnTo>
                  <a:pt x="8213109" y="3824924"/>
                </a:lnTo>
                <a:lnTo>
                  <a:pt x="8301005" y="3821262"/>
                </a:lnTo>
                <a:lnTo>
                  <a:pt x="8301005" y="3819301"/>
                </a:lnTo>
                <a:lnTo>
                  <a:pt x="12189515" y="3819301"/>
                </a:lnTo>
                <a:lnTo>
                  <a:pt x="12189515" y="4021564"/>
                </a:lnTo>
                <a:lnTo>
                  <a:pt x="8301005" y="4021564"/>
                </a:lnTo>
                <a:lnTo>
                  <a:pt x="8301005" y="4018950"/>
                </a:lnTo>
                <a:lnTo>
                  <a:pt x="8170730" y="4021564"/>
                </a:lnTo>
                <a:lnTo>
                  <a:pt x="8170599" y="4016074"/>
                </a:lnTo>
                <a:lnTo>
                  <a:pt x="8040324" y="4021564"/>
                </a:lnTo>
                <a:lnTo>
                  <a:pt x="8040194" y="4013066"/>
                </a:lnTo>
                <a:lnTo>
                  <a:pt x="7910049" y="4021564"/>
                </a:lnTo>
                <a:lnTo>
                  <a:pt x="7909656" y="4009798"/>
                </a:lnTo>
                <a:lnTo>
                  <a:pt x="7779774" y="4021564"/>
                </a:lnTo>
                <a:lnTo>
                  <a:pt x="7778989" y="4006398"/>
                </a:lnTo>
                <a:lnTo>
                  <a:pt x="7649499" y="4021564"/>
                </a:lnTo>
                <a:lnTo>
                  <a:pt x="7648191" y="4002737"/>
                </a:lnTo>
                <a:lnTo>
                  <a:pt x="7519093" y="4021564"/>
                </a:lnTo>
                <a:lnTo>
                  <a:pt x="7517261" y="3998683"/>
                </a:lnTo>
                <a:lnTo>
                  <a:pt x="7388816" y="4021564"/>
                </a:lnTo>
                <a:lnTo>
                  <a:pt x="7386200" y="3994501"/>
                </a:lnTo>
                <a:lnTo>
                  <a:pt x="7258541" y="4021564"/>
                </a:lnTo>
                <a:lnTo>
                  <a:pt x="7254880" y="3990055"/>
                </a:lnTo>
                <a:lnTo>
                  <a:pt x="7128135" y="4021564"/>
                </a:lnTo>
                <a:lnTo>
                  <a:pt x="7123296" y="3985217"/>
                </a:lnTo>
                <a:lnTo>
                  <a:pt x="6997860" y="4021564"/>
                </a:lnTo>
                <a:lnTo>
                  <a:pt x="6991320" y="3980118"/>
                </a:lnTo>
                <a:lnTo>
                  <a:pt x="6867585" y="4021564"/>
                </a:lnTo>
                <a:lnTo>
                  <a:pt x="6859083" y="3974757"/>
                </a:lnTo>
                <a:lnTo>
                  <a:pt x="6737310" y="4021564"/>
                </a:lnTo>
                <a:lnTo>
                  <a:pt x="6726322" y="3969136"/>
                </a:lnTo>
                <a:lnTo>
                  <a:pt x="6606904" y="4021564"/>
                </a:lnTo>
                <a:lnTo>
                  <a:pt x="6593040" y="3963251"/>
                </a:lnTo>
                <a:lnTo>
                  <a:pt x="6476628" y="4021564"/>
                </a:lnTo>
                <a:lnTo>
                  <a:pt x="6459101" y="3957237"/>
                </a:lnTo>
                <a:lnTo>
                  <a:pt x="6346352" y="4021564"/>
                </a:lnTo>
                <a:lnTo>
                  <a:pt x="6324509" y="3951224"/>
                </a:lnTo>
                <a:lnTo>
                  <a:pt x="6215947" y="4021564"/>
                </a:lnTo>
                <a:lnTo>
                  <a:pt x="6189002" y="3945210"/>
                </a:lnTo>
                <a:lnTo>
                  <a:pt x="6085672" y="4021564"/>
                </a:lnTo>
                <a:lnTo>
                  <a:pt x="6052710" y="3939587"/>
                </a:lnTo>
                <a:lnTo>
                  <a:pt x="5955396" y="4021564"/>
                </a:lnTo>
                <a:lnTo>
                  <a:pt x="5916418" y="3936710"/>
                </a:lnTo>
                <a:close/>
                <a:moveTo>
                  <a:pt x="5912625" y="3819301"/>
                </a:moveTo>
                <a:lnTo>
                  <a:pt x="5953696" y="3897618"/>
                </a:lnTo>
                <a:lnTo>
                  <a:pt x="5825120" y="4021564"/>
                </a:lnTo>
                <a:lnTo>
                  <a:pt x="5784049" y="3943248"/>
                </a:lnTo>
                <a:close/>
                <a:moveTo>
                  <a:pt x="5769534" y="3819301"/>
                </a:moveTo>
                <a:lnTo>
                  <a:pt x="5812697" y="3891080"/>
                </a:lnTo>
                <a:lnTo>
                  <a:pt x="5694716" y="4021564"/>
                </a:lnTo>
                <a:lnTo>
                  <a:pt x="5651552" y="3949785"/>
                </a:lnTo>
                <a:close/>
                <a:moveTo>
                  <a:pt x="5626305" y="3819301"/>
                </a:moveTo>
                <a:lnTo>
                  <a:pt x="5671693" y="3884543"/>
                </a:lnTo>
                <a:lnTo>
                  <a:pt x="5564438" y="4021564"/>
                </a:lnTo>
                <a:lnTo>
                  <a:pt x="5519050" y="3956322"/>
                </a:lnTo>
                <a:close/>
                <a:moveTo>
                  <a:pt x="5483083" y="3819301"/>
                </a:moveTo>
                <a:lnTo>
                  <a:pt x="5530694" y="3878006"/>
                </a:lnTo>
                <a:lnTo>
                  <a:pt x="5434164" y="4021564"/>
                </a:lnTo>
                <a:lnTo>
                  <a:pt x="5386553" y="3962860"/>
                </a:lnTo>
                <a:close/>
                <a:moveTo>
                  <a:pt x="5339858" y="3819301"/>
                </a:moveTo>
                <a:lnTo>
                  <a:pt x="5389562" y="3871468"/>
                </a:lnTo>
                <a:lnTo>
                  <a:pt x="5303757" y="4021564"/>
                </a:lnTo>
                <a:lnTo>
                  <a:pt x="5254053" y="3969397"/>
                </a:lnTo>
                <a:close/>
                <a:moveTo>
                  <a:pt x="5196635" y="3819301"/>
                </a:moveTo>
                <a:lnTo>
                  <a:pt x="5248563" y="3865061"/>
                </a:lnTo>
                <a:lnTo>
                  <a:pt x="5173483" y="4021564"/>
                </a:lnTo>
                <a:lnTo>
                  <a:pt x="5121556" y="3975934"/>
                </a:lnTo>
                <a:close/>
                <a:moveTo>
                  <a:pt x="5053542" y="3819301"/>
                </a:moveTo>
                <a:lnTo>
                  <a:pt x="5107562" y="3858524"/>
                </a:lnTo>
                <a:lnTo>
                  <a:pt x="5043208" y="4021564"/>
                </a:lnTo>
                <a:lnTo>
                  <a:pt x="4989187" y="3982341"/>
                </a:lnTo>
                <a:close/>
                <a:moveTo>
                  <a:pt x="4910318" y="3819301"/>
                </a:moveTo>
                <a:lnTo>
                  <a:pt x="4966429" y="3851988"/>
                </a:lnTo>
                <a:lnTo>
                  <a:pt x="4912934" y="4021564"/>
                </a:lnTo>
                <a:lnTo>
                  <a:pt x="4856690" y="3988877"/>
                </a:lnTo>
                <a:close/>
                <a:moveTo>
                  <a:pt x="4623867" y="3819301"/>
                </a:moveTo>
                <a:lnTo>
                  <a:pt x="4684428" y="3838913"/>
                </a:lnTo>
                <a:lnTo>
                  <a:pt x="4652251" y="4021564"/>
                </a:lnTo>
                <a:lnTo>
                  <a:pt x="4591691" y="4001952"/>
                </a:lnTo>
                <a:close/>
                <a:moveTo>
                  <a:pt x="4480643" y="3819301"/>
                </a:moveTo>
                <a:lnTo>
                  <a:pt x="4543428" y="3832376"/>
                </a:lnTo>
                <a:lnTo>
                  <a:pt x="4521977" y="4021564"/>
                </a:lnTo>
                <a:lnTo>
                  <a:pt x="4459193" y="4008489"/>
                </a:lnTo>
                <a:close/>
                <a:moveTo>
                  <a:pt x="4337550" y="3819301"/>
                </a:moveTo>
                <a:lnTo>
                  <a:pt x="4402296" y="3825839"/>
                </a:lnTo>
                <a:lnTo>
                  <a:pt x="4391570" y="4021564"/>
                </a:lnTo>
                <a:lnTo>
                  <a:pt x="4326825" y="4015027"/>
                </a:lnTo>
                <a:close/>
                <a:moveTo>
                  <a:pt x="4120170" y="3819301"/>
                </a:moveTo>
                <a:lnTo>
                  <a:pt x="4130896" y="4015027"/>
                </a:lnTo>
                <a:lnTo>
                  <a:pt x="4066018" y="4021564"/>
                </a:lnTo>
                <a:lnTo>
                  <a:pt x="4055294" y="3825839"/>
                </a:lnTo>
                <a:close/>
                <a:moveTo>
                  <a:pt x="3976947" y="3819301"/>
                </a:moveTo>
                <a:lnTo>
                  <a:pt x="3998396" y="4008489"/>
                </a:lnTo>
                <a:lnTo>
                  <a:pt x="3935741" y="4021564"/>
                </a:lnTo>
                <a:lnTo>
                  <a:pt x="3914293" y="3832376"/>
                </a:lnTo>
                <a:close/>
                <a:moveTo>
                  <a:pt x="3833720" y="3819301"/>
                </a:moveTo>
                <a:lnTo>
                  <a:pt x="3865897" y="4001952"/>
                </a:lnTo>
                <a:lnTo>
                  <a:pt x="3805467" y="4021564"/>
                </a:lnTo>
                <a:lnTo>
                  <a:pt x="3773292" y="3838913"/>
                </a:lnTo>
                <a:close/>
                <a:moveTo>
                  <a:pt x="3690627" y="3819301"/>
                </a:moveTo>
                <a:lnTo>
                  <a:pt x="3733396" y="3995415"/>
                </a:lnTo>
                <a:lnTo>
                  <a:pt x="3675062" y="4021564"/>
                </a:lnTo>
                <a:lnTo>
                  <a:pt x="3632158" y="3845451"/>
                </a:lnTo>
                <a:close/>
                <a:moveTo>
                  <a:pt x="3547400" y="3819301"/>
                </a:moveTo>
                <a:lnTo>
                  <a:pt x="3601030" y="3988877"/>
                </a:lnTo>
                <a:lnTo>
                  <a:pt x="3544786" y="4021564"/>
                </a:lnTo>
                <a:lnTo>
                  <a:pt x="3491159" y="3851988"/>
                </a:lnTo>
                <a:close/>
                <a:moveTo>
                  <a:pt x="3404180" y="3819301"/>
                </a:moveTo>
                <a:lnTo>
                  <a:pt x="3468533" y="3982341"/>
                </a:lnTo>
                <a:lnTo>
                  <a:pt x="3414513" y="4021564"/>
                </a:lnTo>
                <a:lnTo>
                  <a:pt x="3350159" y="3858524"/>
                </a:lnTo>
                <a:close/>
                <a:moveTo>
                  <a:pt x="3260954" y="3819301"/>
                </a:moveTo>
                <a:lnTo>
                  <a:pt x="3336034" y="3975934"/>
                </a:lnTo>
                <a:lnTo>
                  <a:pt x="3284105" y="4021564"/>
                </a:lnTo>
                <a:lnTo>
                  <a:pt x="3209157" y="3865061"/>
                </a:lnTo>
                <a:close/>
                <a:moveTo>
                  <a:pt x="3117730" y="3819301"/>
                </a:moveTo>
                <a:lnTo>
                  <a:pt x="3203536" y="3969397"/>
                </a:lnTo>
                <a:lnTo>
                  <a:pt x="3153831" y="4021564"/>
                </a:lnTo>
                <a:lnTo>
                  <a:pt x="3068027" y="3871468"/>
                </a:lnTo>
                <a:close/>
                <a:moveTo>
                  <a:pt x="2974635" y="3819301"/>
                </a:moveTo>
                <a:lnTo>
                  <a:pt x="3071033" y="3962860"/>
                </a:lnTo>
                <a:lnTo>
                  <a:pt x="3023555" y="4021564"/>
                </a:lnTo>
                <a:lnTo>
                  <a:pt x="2927026" y="3878006"/>
                </a:lnTo>
                <a:close/>
                <a:moveTo>
                  <a:pt x="2831413" y="3819301"/>
                </a:moveTo>
                <a:lnTo>
                  <a:pt x="2938666" y="3956322"/>
                </a:lnTo>
                <a:lnTo>
                  <a:pt x="2893280" y="4021564"/>
                </a:lnTo>
                <a:lnTo>
                  <a:pt x="2786026" y="3884543"/>
                </a:lnTo>
                <a:close/>
                <a:moveTo>
                  <a:pt x="2688188" y="3819301"/>
                </a:moveTo>
                <a:lnTo>
                  <a:pt x="2806169" y="3949785"/>
                </a:lnTo>
                <a:lnTo>
                  <a:pt x="2762871" y="4021564"/>
                </a:lnTo>
                <a:lnTo>
                  <a:pt x="2645025" y="3891080"/>
                </a:lnTo>
                <a:close/>
                <a:moveTo>
                  <a:pt x="2544961" y="3819301"/>
                </a:moveTo>
                <a:lnTo>
                  <a:pt x="2673669" y="3943248"/>
                </a:lnTo>
                <a:lnTo>
                  <a:pt x="2632599" y="4021564"/>
                </a:lnTo>
                <a:lnTo>
                  <a:pt x="2503890" y="3897618"/>
                </a:lnTo>
                <a:close/>
                <a:moveTo>
                  <a:pt x="0" y="3819301"/>
                </a:moveTo>
                <a:lnTo>
                  <a:pt x="156594" y="3819301"/>
                </a:lnTo>
                <a:lnTo>
                  <a:pt x="156594" y="3821262"/>
                </a:lnTo>
                <a:lnTo>
                  <a:pt x="244621" y="3824924"/>
                </a:lnTo>
                <a:lnTo>
                  <a:pt x="253647" y="3825185"/>
                </a:lnTo>
                <a:lnTo>
                  <a:pt x="253777" y="3819301"/>
                </a:lnTo>
                <a:lnTo>
                  <a:pt x="396605" y="3828714"/>
                </a:lnTo>
                <a:lnTo>
                  <a:pt x="396998" y="3819301"/>
                </a:lnTo>
                <a:lnTo>
                  <a:pt x="539437" y="3832115"/>
                </a:lnTo>
                <a:lnTo>
                  <a:pt x="540222" y="3819301"/>
                </a:lnTo>
                <a:lnTo>
                  <a:pt x="682139" y="3835906"/>
                </a:lnTo>
                <a:lnTo>
                  <a:pt x="683447" y="3819301"/>
                </a:lnTo>
                <a:lnTo>
                  <a:pt x="824579" y="3839959"/>
                </a:lnTo>
                <a:lnTo>
                  <a:pt x="826671" y="3819301"/>
                </a:lnTo>
                <a:lnTo>
                  <a:pt x="966885" y="3844273"/>
                </a:lnTo>
                <a:lnTo>
                  <a:pt x="969762" y="3819301"/>
                </a:lnTo>
                <a:lnTo>
                  <a:pt x="1109062" y="3848850"/>
                </a:lnTo>
                <a:lnTo>
                  <a:pt x="1112981" y="3819301"/>
                </a:lnTo>
                <a:lnTo>
                  <a:pt x="1250844" y="3853688"/>
                </a:lnTo>
                <a:lnTo>
                  <a:pt x="1256206" y="3819301"/>
                </a:lnTo>
                <a:lnTo>
                  <a:pt x="1392235" y="3858787"/>
                </a:lnTo>
                <a:lnTo>
                  <a:pt x="1399430" y="3819301"/>
                </a:lnTo>
                <a:lnTo>
                  <a:pt x="1533237" y="3864146"/>
                </a:lnTo>
                <a:lnTo>
                  <a:pt x="1542654" y="3819301"/>
                </a:lnTo>
                <a:lnTo>
                  <a:pt x="1673714" y="3869769"/>
                </a:lnTo>
                <a:lnTo>
                  <a:pt x="1685747" y="3819301"/>
                </a:lnTo>
                <a:lnTo>
                  <a:pt x="1813669" y="3875522"/>
                </a:lnTo>
                <a:lnTo>
                  <a:pt x="1828972" y="3819301"/>
                </a:lnTo>
                <a:lnTo>
                  <a:pt x="1952969" y="3881405"/>
                </a:lnTo>
                <a:lnTo>
                  <a:pt x="1972197" y="3819301"/>
                </a:lnTo>
                <a:lnTo>
                  <a:pt x="2091354" y="3887288"/>
                </a:lnTo>
                <a:lnTo>
                  <a:pt x="2115422" y="3819301"/>
                </a:lnTo>
                <a:lnTo>
                  <a:pt x="2228955" y="3893041"/>
                </a:lnTo>
                <a:lnTo>
                  <a:pt x="2258513" y="3819301"/>
                </a:lnTo>
                <a:lnTo>
                  <a:pt x="2365509" y="3898402"/>
                </a:lnTo>
                <a:lnTo>
                  <a:pt x="2401740" y="3819301"/>
                </a:lnTo>
                <a:lnTo>
                  <a:pt x="2541172" y="3936710"/>
                </a:lnTo>
                <a:lnTo>
                  <a:pt x="2502324" y="4021564"/>
                </a:lnTo>
                <a:lnTo>
                  <a:pt x="2405010" y="3939587"/>
                </a:lnTo>
                <a:lnTo>
                  <a:pt x="2371916" y="4021564"/>
                </a:lnTo>
                <a:lnTo>
                  <a:pt x="2268586" y="3945210"/>
                </a:lnTo>
                <a:lnTo>
                  <a:pt x="2241639" y="4021564"/>
                </a:lnTo>
                <a:lnTo>
                  <a:pt x="2133210" y="3951224"/>
                </a:lnTo>
                <a:lnTo>
                  <a:pt x="2111367" y="4021564"/>
                </a:lnTo>
                <a:lnTo>
                  <a:pt x="1998618" y="3957237"/>
                </a:lnTo>
                <a:lnTo>
                  <a:pt x="1981091" y="4021564"/>
                </a:lnTo>
                <a:lnTo>
                  <a:pt x="1864680" y="3963251"/>
                </a:lnTo>
                <a:lnTo>
                  <a:pt x="1850685" y="4021564"/>
                </a:lnTo>
                <a:lnTo>
                  <a:pt x="1731396" y="3969136"/>
                </a:lnTo>
                <a:lnTo>
                  <a:pt x="1720409" y="4021564"/>
                </a:lnTo>
                <a:lnTo>
                  <a:pt x="1598636" y="3974757"/>
                </a:lnTo>
                <a:lnTo>
                  <a:pt x="1590135" y="4021564"/>
                </a:lnTo>
                <a:lnTo>
                  <a:pt x="1466268" y="3980118"/>
                </a:lnTo>
                <a:lnTo>
                  <a:pt x="1459729" y="4021564"/>
                </a:lnTo>
                <a:lnTo>
                  <a:pt x="1334423" y="3985217"/>
                </a:lnTo>
                <a:lnTo>
                  <a:pt x="1329452" y="4021564"/>
                </a:lnTo>
                <a:lnTo>
                  <a:pt x="1202840" y="3990055"/>
                </a:lnTo>
                <a:lnTo>
                  <a:pt x="1199177" y="4021564"/>
                </a:lnTo>
                <a:lnTo>
                  <a:pt x="1071392" y="3994501"/>
                </a:lnTo>
                <a:lnTo>
                  <a:pt x="1068907" y="4021564"/>
                </a:lnTo>
                <a:lnTo>
                  <a:pt x="940333" y="3998683"/>
                </a:lnTo>
                <a:lnTo>
                  <a:pt x="938501" y="4021564"/>
                </a:lnTo>
                <a:lnTo>
                  <a:pt x="809406" y="4002737"/>
                </a:lnTo>
                <a:lnTo>
                  <a:pt x="808229" y="4021564"/>
                </a:lnTo>
                <a:lnTo>
                  <a:pt x="678607" y="4006398"/>
                </a:lnTo>
                <a:lnTo>
                  <a:pt x="677953" y="4021564"/>
                </a:lnTo>
                <a:lnTo>
                  <a:pt x="548070" y="4009798"/>
                </a:lnTo>
                <a:lnTo>
                  <a:pt x="547546" y="4021564"/>
                </a:lnTo>
                <a:lnTo>
                  <a:pt x="417403" y="4013066"/>
                </a:lnTo>
                <a:lnTo>
                  <a:pt x="417271" y="4021564"/>
                </a:lnTo>
                <a:lnTo>
                  <a:pt x="286996" y="4016074"/>
                </a:lnTo>
                <a:lnTo>
                  <a:pt x="286996" y="4021564"/>
                </a:lnTo>
                <a:lnTo>
                  <a:pt x="156594" y="4018950"/>
                </a:lnTo>
                <a:lnTo>
                  <a:pt x="156594" y="4021564"/>
                </a:lnTo>
                <a:lnTo>
                  <a:pt x="0" y="4021564"/>
                </a:lnTo>
                <a:close/>
                <a:moveTo>
                  <a:pt x="6055850" y="3562783"/>
                </a:moveTo>
                <a:lnTo>
                  <a:pt x="6092081" y="3641754"/>
                </a:lnTo>
                <a:lnTo>
                  <a:pt x="6199073" y="3562783"/>
                </a:lnTo>
                <a:lnTo>
                  <a:pt x="6228764" y="3636523"/>
                </a:lnTo>
                <a:lnTo>
                  <a:pt x="6342298" y="3562783"/>
                </a:lnTo>
                <a:lnTo>
                  <a:pt x="6366234" y="3630770"/>
                </a:lnTo>
                <a:lnTo>
                  <a:pt x="6485523" y="3562783"/>
                </a:lnTo>
                <a:lnTo>
                  <a:pt x="6504750" y="3624887"/>
                </a:lnTo>
                <a:lnTo>
                  <a:pt x="6628616" y="3562783"/>
                </a:lnTo>
                <a:lnTo>
                  <a:pt x="6644051" y="3619004"/>
                </a:lnTo>
                <a:lnTo>
                  <a:pt x="6771840" y="3562783"/>
                </a:lnTo>
                <a:lnTo>
                  <a:pt x="6783874" y="3613251"/>
                </a:lnTo>
                <a:lnTo>
                  <a:pt x="6915065" y="3562783"/>
                </a:lnTo>
                <a:lnTo>
                  <a:pt x="6924482" y="3607628"/>
                </a:lnTo>
                <a:lnTo>
                  <a:pt x="7058289" y="3562783"/>
                </a:lnTo>
                <a:lnTo>
                  <a:pt x="7065483" y="3602269"/>
                </a:lnTo>
                <a:lnTo>
                  <a:pt x="7201513" y="3562783"/>
                </a:lnTo>
                <a:lnTo>
                  <a:pt x="7206876" y="3597170"/>
                </a:lnTo>
                <a:lnTo>
                  <a:pt x="7344606" y="3562783"/>
                </a:lnTo>
                <a:lnTo>
                  <a:pt x="7348662" y="3592332"/>
                </a:lnTo>
                <a:lnTo>
                  <a:pt x="7487831" y="3562783"/>
                </a:lnTo>
                <a:lnTo>
                  <a:pt x="7490708" y="3587755"/>
                </a:lnTo>
                <a:lnTo>
                  <a:pt x="7631056" y="3562783"/>
                </a:lnTo>
                <a:lnTo>
                  <a:pt x="7633018" y="3583441"/>
                </a:lnTo>
                <a:lnTo>
                  <a:pt x="7774281" y="3562783"/>
                </a:lnTo>
                <a:lnTo>
                  <a:pt x="7775587" y="3579388"/>
                </a:lnTo>
                <a:lnTo>
                  <a:pt x="7917504" y="3562783"/>
                </a:lnTo>
                <a:lnTo>
                  <a:pt x="7918289" y="3575727"/>
                </a:lnTo>
                <a:lnTo>
                  <a:pt x="8060597" y="3562783"/>
                </a:lnTo>
                <a:lnTo>
                  <a:pt x="8061122" y="3572196"/>
                </a:lnTo>
                <a:lnTo>
                  <a:pt x="8203822" y="3562783"/>
                </a:lnTo>
                <a:lnTo>
                  <a:pt x="8204084" y="3568667"/>
                </a:lnTo>
                <a:lnTo>
                  <a:pt x="8213109" y="3568406"/>
                </a:lnTo>
                <a:lnTo>
                  <a:pt x="8301005" y="3564744"/>
                </a:lnTo>
                <a:lnTo>
                  <a:pt x="8301005" y="3562783"/>
                </a:lnTo>
                <a:lnTo>
                  <a:pt x="12189515" y="3562783"/>
                </a:lnTo>
                <a:lnTo>
                  <a:pt x="12189515" y="3765046"/>
                </a:lnTo>
                <a:lnTo>
                  <a:pt x="8301005" y="3765046"/>
                </a:lnTo>
                <a:lnTo>
                  <a:pt x="8301005" y="3762432"/>
                </a:lnTo>
                <a:lnTo>
                  <a:pt x="8170730" y="3765046"/>
                </a:lnTo>
                <a:lnTo>
                  <a:pt x="8170599" y="3759556"/>
                </a:lnTo>
                <a:lnTo>
                  <a:pt x="8040324" y="3765046"/>
                </a:lnTo>
                <a:lnTo>
                  <a:pt x="8040194" y="3756548"/>
                </a:lnTo>
                <a:lnTo>
                  <a:pt x="7910049" y="3765046"/>
                </a:lnTo>
                <a:lnTo>
                  <a:pt x="7909656" y="3753280"/>
                </a:lnTo>
                <a:lnTo>
                  <a:pt x="7779774" y="3765046"/>
                </a:lnTo>
                <a:lnTo>
                  <a:pt x="7778989" y="3749880"/>
                </a:lnTo>
                <a:lnTo>
                  <a:pt x="7649499" y="3765046"/>
                </a:lnTo>
                <a:lnTo>
                  <a:pt x="7648191" y="3746219"/>
                </a:lnTo>
                <a:lnTo>
                  <a:pt x="7519093" y="3765046"/>
                </a:lnTo>
                <a:lnTo>
                  <a:pt x="7517261" y="3742165"/>
                </a:lnTo>
                <a:lnTo>
                  <a:pt x="7388816" y="3765046"/>
                </a:lnTo>
                <a:lnTo>
                  <a:pt x="7386200" y="3737982"/>
                </a:lnTo>
                <a:lnTo>
                  <a:pt x="7258541" y="3765046"/>
                </a:lnTo>
                <a:lnTo>
                  <a:pt x="7254880" y="3733537"/>
                </a:lnTo>
                <a:lnTo>
                  <a:pt x="7128135" y="3765046"/>
                </a:lnTo>
                <a:lnTo>
                  <a:pt x="7123296" y="3728699"/>
                </a:lnTo>
                <a:lnTo>
                  <a:pt x="6997860" y="3765046"/>
                </a:lnTo>
                <a:lnTo>
                  <a:pt x="6991320" y="3723600"/>
                </a:lnTo>
                <a:lnTo>
                  <a:pt x="6867585" y="3765046"/>
                </a:lnTo>
                <a:lnTo>
                  <a:pt x="6859083" y="3718239"/>
                </a:lnTo>
                <a:lnTo>
                  <a:pt x="6737310" y="3765046"/>
                </a:lnTo>
                <a:lnTo>
                  <a:pt x="6726322" y="3712618"/>
                </a:lnTo>
                <a:lnTo>
                  <a:pt x="6606904" y="3765046"/>
                </a:lnTo>
                <a:lnTo>
                  <a:pt x="6593040" y="3706733"/>
                </a:lnTo>
                <a:lnTo>
                  <a:pt x="6476628" y="3765046"/>
                </a:lnTo>
                <a:lnTo>
                  <a:pt x="6459101" y="3700719"/>
                </a:lnTo>
                <a:lnTo>
                  <a:pt x="6346352" y="3765046"/>
                </a:lnTo>
                <a:lnTo>
                  <a:pt x="6324509" y="3694706"/>
                </a:lnTo>
                <a:lnTo>
                  <a:pt x="6215947" y="3765046"/>
                </a:lnTo>
                <a:lnTo>
                  <a:pt x="6189002" y="3688692"/>
                </a:lnTo>
                <a:lnTo>
                  <a:pt x="6085672" y="3765046"/>
                </a:lnTo>
                <a:lnTo>
                  <a:pt x="6052710" y="3683069"/>
                </a:lnTo>
                <a:lnTo>
                  <a:pt x="5955396" y="3765046"/>
                </a:lnTo>
                <a:lnTo>
                  <a:pt x="5916418" y="3680192"/>
                </a:lnTo>
                <a:close/>
                <a:moveTo>
                  <a:pt x="5912625" y="3562783"/>
                </a:moveTo>
                <a:lnTo>
                  <a:pt x="5953696" y="3641100"/>
                </a:lnTo>
                <a:lnTo>
                  <a:pt x="5825120" y="3765046"/>
                </a:lnTo>
                <a:lnTo>
                  <a:pt x="5784049" y="3686730"/>
                </a:lnTo>
                <a:close/>
                <a:moveTo>
                  <a:pt x="5769534" y="3562783"/>
                </a:moveTo>
                <a:lnTo>
                  <a:pt x="5812697" y="3634562"/>
                </a:lnTo>
                <a:lnTo>
                  <a:pt x="5694716" y="3765046"/>
                </a:lnTo>
                <a:lnTo>
                  <a:pt x="5651552" y="3693267"/>
                </a:lnTo>
                <a:close/>
                <a:moveTo>
                  <a:pt x="5626305" y="3562783"/>
                </a:moveTo>
                <a:lnTo>
                  <a:pt x="5671693" y="3628025"/>
                </a:lnTo>
                <a:lnTo>
                  <a:pt x="5564438" y="3765046"/>
                </a:lnTo>
                <a:lnTo>
                  <a:pt x="5519050" y="3699804"/>
                </a:lnTo>
                <a:close/>
                <a:moveTo>
                  <a:pt x="5483083" y="3562783"/>
                </a:moveTo>
                <a:lnTo>
                  <a:pt x="5530694" y="3621488"/>
                </a:lnTo>
                <a:lnTo>
                  <a:pt x="5434164" y="3765046"/>
                </a:lnTo>
                <a:lnTo>
                  <a:pt x="5386553" y="3706342"/>
                </a:lnTo>
                <a:close/>
                <a:moveTo>
                  <a:pt x="5339858" y="3562783"/>
                </a:moveTo>
                <a:lnTo>
                  <a:pt x="5389562" y="3614950"/>
                </a:lnTo>
                <a:lnTo>
                  <a:pt x="5303757" y="3765046"/>
                </a:lnTo>
                <a:lnTo>
                  <a:pt x="5254053" y="3712879"/>
                </a:lnTo>
                <a:close/>
                <a:moveTo>
                  <a:pt x="5196635" y="3562783"/>
                </a:moveTo>
                <a:lnTo>
                  <a:pt x="5248563" y="3608543"/>
                </a:lnTo>
                <a:lnTo>
                  <a:pt x="5173483" y="3765046"/>
                </a:lnTo>
                <a:lnTo>
                  <a:pt x="5121556" y="3719416"/>
                </a:lnTo>
                <a:close/>
                <a:moveTo>
                  <a:pt x="5053542" y="3562783"/>
                </a:moveTo>
                <a:lnTo>
                  <a:pt x="5107562" y="3602006"/>
                </a:lnTo>
                <a:lnTo>
                  <a:pt x="5043208" y="3765046"/>
                </a:lnTo>
                <a:lnTo>
                  <a:pt x="4989187" y="3725823"/>
                </a:lnTo>
                <a:close/>
                <a:moveTo>
                  <a:pt x="4910318" y="3562783"/>
                </a:moveTo>
                <a:lnTo>
                  <a:pt x="4966429" y="3595470"/>
                </a:lnTo>
                <a:lnTo>
                  <a:pt x="4912934" y="3765046"/>
                </a:lnTo>
                <a:lnTo>
                  <a:pt x="4856690" y="3732359"/>
                </a:lnTo>
                <a:close/>
                <a:moveTo>
                  <a:pt x="4767091" y="3562783"/>
                </a:moveTo>
                <a:lnTo>
                  <a:pt x="4825429" y="3588933"/>
                </a:lnTo>
                <a:lnTo>
                  <a:pt x="4782526" y="3765046"/>
                </a:lnTo>
                <a:lnTo>
                  <a:pt x="4724190" y="3738897"/>
                </a:lnTo>
                <a:close/>
                <a:moveTo>
                  <a:pt x="4623867" y="3562783"/>
                </a:moveTo>
                <a:lnTo>
                  <a:pt x="4684428" y="3582395"/>
                </a:lnTo>
                <a:lnTo>
                  <a:pt x="4652251" y="3765046"/>
                </a:lnTo>
                <a:lnTo>
                  <a:pt x="4591691" y="3745434"/>
                </a:lnTo>
                <a:close/>
                <a:moveTo>
                  <a:pt x="4480643" y="3562783"/>
                </a:moveTo>
                <a:lnTo>
                  <a:pt x="4543428" y="3575858"/>
                </a:lnTo>
                <a:lnTo>
                  <a:pt x="4521977" y="3765046"/>
                </a:lnTo>
                <a:lnTo>
                  <a:pt x="4459193" y="3751971"/>
                </a:lnTo>
                <a:close/>
                <a:moveTo>
                  <a:pt x="4337550" y="3562783"/>
                </a:moveTo>
                <a:lnTo>
                  <a:pt x="4402296" y="3569321"/>
                </a:lnTo>
                <a:lnTo>
                  <a:pt x="4391570" y="3765046"/>
                </a:lnTo>
                <a:lnTo>
                  <a:pt x="4326825" y="3758509"/>
                </a:lnTo>
                <a:close/>
                <a:moveTo>
                  <a:pt x="4194332" y="3562783"/>
                </a:moveTo>
                <a:lnTo>
                  <a:pt x="4196426" y="3562783"/>
                </a:lnTo>
                <a:lnTo>
                  <a:pt x="4261296" y="3562783"/>
                </a:lnTo>
                <a:lnTo>
                  <a:pt x="4263390" y="3562783"/>
                </a:lnTo>
                <a:lnTo>
                  <a:pt x="4263390" y="3764916"/>
                </a:lnTo>
                <a:lnTo>
                  <a:pt x="4261296" y="3764916"/>
                </a:lnTo>
                <a:lnTo>
                  <a:pt x="4196426" y="3764916"/>
                </a:lnTo>
                <a:lnTo>
                  <a:pt x="4194332" y="3764916"/>
                </a:lnTo>
                <a:close/>
                <a:moveTo>
                  <a:pt x="4120170" y="3562783"/>
                </a:moveTo>
                <a:lnTo>
                  <a:pt x="4130896" y="3758509"/>
                </a:lnTo>
                <a:lnTo>
                  <a:pt x="4066018" y="3765046"/>
                </a:lnTo>
                <a:lnTo>
                  <a:pt x="4055294" y="3569321"/>
                </a:lnTo>
                <a:close/>
                <a:moveTo>
                  <a:pt x="3976947" y="3562783"/>
                </a:moveTo>
                <a:lnTo>
                  <a:pt x="3998396" y="3751971"/>
                </a:lnTo>
                <a:lnTo>
                  <a:pt x="3935741" y="3765046"/>
                </a:lnTo>
                <a:lnTo>
                  <a:pt x="3914293" y="3575858"/>
                </a:lnTo>
                <a:close/>
                <a:moveTo>
                  <a:pt x="3833720" y="3562783"/>
                </a:moveTo>
                <a:lnTo>
                  <a:pt x="3865897" y="3745434"/>
                </a:lnTo>
                <a:lnTo>
                  <a:pt x="3805467" y="3765046"/>
                </a:lnTo>
                <a:lnTo>
                  <a:pt x="3773292" y="3582395"/>
                </a:lnTo>
                <a:close/>
                <a:moveTo>
                  <a:pt x="3690629" y="3562783"/>
                </a:moveTo>
                <a:lnTo>
                  <a:pt x="3733396" y="3738897"/>
                </a:lnTo>
                <a:lnTo>
                  <a:pt x="3675062" y="3765046"/>
                </a:lnTo>
                <a:lnTo>
                  <a:pt x="3632158" y="3588933"/>
                </a:lnTo>
                <a:close/>
                <a:moveTo>
                  <a:pt x="3547400" y="3562783"/>
                </a:moveTo>
                <a:lnTo>
                  <a:pt x="3601030" y="3732359"/>
                </a:lnTo>
                <a:lnTo>
                  <a:pt x="3544786" y="3765046"/>
                </a:lnTo>
                <a:lnTo>
                  <a:pt x="3491159" y="3595470"/>
                </a:lnTo>
                <a:close/>
                <a:moveTo>
                  <a:pt x="3404180" y="3562783"/>
                </a:moveTo>
                <a:lnTo>
                  <a:pt x="3468533" y="3725823"/>
                </a:lnTo>
                <a:lnTo>
                  <a:pt x="3414513" y="3765046"/>
                </a:lnTo>
                <a:lnTo>
                  <a:pt x="3350159" y="3602006"/>
                </a:lnTo>
                <a:close/>
                <a:moveTo>
                  <a:pt x="3260954" y="3562783"/>
                </a:moveTo>
                <a:lnTo>
                  <a:pt x="3336034" y="3719416"/>
                </a:lnTo>
                <a:lnTo>
                  <a:pt x="3284105" y="3765046"/>
                </a:lnTo>
                <a:lnTo>
                  <a:pt x="3209157" y="3608543"/>
                </a:lnTo>
                <a:close/>
                <a:moveTo>
                  <a:pt x="3117730" y="3562783"/>
                </a:moveTo>
                <a:lnTo>
                  <a:pt x="3203536" y="3712879"/>
                </a:lnTo>
                <a:lnTo>
                  <a:pt x="3153831" y="3765046"/>
                </a:lnTo>
                <a:lnTo>
                  <a:pt x="3068027" y="3614950"/>
                </a:lnTo>
                <a:close/>
                <a:moveTo>
                  <a:pt x="2974635" y="3562783"/>
                </a:moveTo>
                <a:lnTo>
                  <a:pt x="3071033" y="3706342"/>
                </a:lnTo>
                <a:lnTo>
                  <a:pt x="3023555" y="3765046"/>
                </a:lnTo>
                <a:lnTo>
                  <a:pt x="2927026" y="3621488"/>
                </a:lnTo>
                <a:close/>
                <a:moveTo>
                  <a:pt x="2831413" y="3562783"/>
                </a:moveTo>
                <a:lnTo>
                  <a:pt x="2938666" y="3699804"/>
                </a:lnTo>
                <a:lnTo>
                  <a:pt x="2893280" y="3765046"/>
                </a:lnTo>
                <a:lnTo>
                  <a:pt x="2786026" y="3628025"/>
                </a:lnTo>
                <a:close/>
                <a:moveTo>
                  <a:pt x="2688188" y="3562783"/>
                </a:moveTo>
                <a:lnTo>
                  <a:pt x="2806169" y="3693267"/>
                </a:lnTo>
                <a:lnTo>
                  <a:pt x="2762871" y="3765046"/>
                </a:lnTo>
                <a:lnTo>
                  <a:pt x="2645025" y="3634562"/>
                </a:lnTo>
                <a:close/>
                <a:moveTo>
                  <a:pt x="2544961" y="3562783"/>
                </a:moveTo>
                <a:lnTo>
                  <a:pt x="2673669" y="3686730"/>
                </a:lnTo>
                <a:lnTo>
                  <a:pt x="2632599" y="3765046"/>
                </a:lnTo>
                <a:lnTo>
                  <a:pt x="2503890" y="3641100"/>
                </a:lnTo>
                <a:close/>
                <a:moveTo>
                  <a:pt x="0" y="3562783"/>
                </a:moveTo>
                <a:lnTo>
                  <a:pt x="156594" y="3562783"/>
                </a:lnTo>
                <a:lnTo>
                  <a:pt x="156594" y="3564744"/>
                </a:lnTo>
                <a:lnTo>
                  <a:pt x="244621" y="3568406"/>
                </a:lnTo>
                <a:lnTo>
                  <a:pt x="253647" y="3568667"/>
                </a:lnTo>
                <a:lnTo>
                  <a:pt x="253777" y="3562783"/>
                </a:lnTo>
                <a:lnTo>
                  <a:pt x="396605" y="3572196"/>
                </a:lnTo>
                <a:lnTo>
                  <a:pt x="396998" y="3562783"/>
                </a:lnTo>
                <a:lnTo>
                  <a:pt x="539437" y="3575727"/>
                </a:lnTo>
                <a:lnTo>
                  <a:pt x="540222" y="3562783"/>
                </a:lnTo>
                <a:lnTo>
                  <a:pt x="682139" y="3579388"/>
                </a:lnTo>
                <a:lnTo>
                  <a:pt x="683447" y="3562783"/>
                </a:lnTo>
                <a:lnTo>
                  <a:pt x="824579" y="3583441"/>
                </a:lnTo>
                <a:lnTo>
                  <a:pt x="826671" y="3562783"/>
                </a:lnTo>
                <a:lnTo>
                  <a:pt x="966885" y="3587755"/>
                </a:lnTo>
                <a:lnTo>
                  <a:pt x="969762" y="3562783"/>
                </a:lnTo>
                <a:lnTo>
                  <a:pt x="1109062" y="3592332"/>
                </a:lnTo>
                <a:lnTo>
                  <a:pt x="1112981" y="3562783"/>
                </a:lnTo>
                <a:lnTo>
                  <a:pt x="1250844" y="3597170"/>
                </a:lnTo>
                <a:lnTo>
                  <a:pt x="1256206" y="3562783"/>
                </a:lnTo>
                <a:lnTo>
                  <a:pt x="1392235" y="3602269"/>
                </a:lnTo>
                <a:lnTo>
                  <a:pt x="1399430" y="3562783"/>
                </a:lnTo>
                <a:lnTo>
                  <a:pt x="1533237" y="3607628"/>
                </a:lnTo>
                <a:lnTo>
                  <a:pt x="1542654" y="3562783"/>
                </a:lnTo>
                <a:lnTo>
                  <a:pt x="1673714" y="3613251"/>
                </a:lnTo>
                <a:lnTo>
                  <a:pt x="1685747" y="3562783"/>
                </a:lnTo>
                <a:lnTo>
                  <a:pt x="1813669" y="3619004"/>
                </a:lnTo>
                <a:lnTo>
                  <a:pt x="1828972" y="3562783"/>
                </a:lnTo>
                <a:lnTo>
                  <a:pt x="1952838" y="3624887"/>
                </a:lnTo>
                <a:lnTo>
                  <a:pt x="1972197" y="3562783"/>
                </a:lnTo>
                <a:lnTo>
                  <a:pt x="2091354" y="3630770"/>
                </a:lnTo>
                <a:lnTo>
                  <a:pt x="2115422" y="3562783"/>
                </a:lnTo>
                <a:lnTo>
                  <a:pt x="2228955" y="3636523"/>
                </a:lnTo>
                <a:lnTo>
                  <a:pt x="2258513" y="3562783"/>
                </a:lnTo>
                <a:lnTo>
                  <a:pt x="2365509" y="3641754"/>
                </a:lnTo>
                <a:lnTo>
                  <a:pt x="2401740" y="3562783"/>
                </a:lnTo>
                <a:lnTo>
                  <a:pt x="2541172" y="3680192"/>
                </a:lnTo>
                <a:lnTo>
                  <a:pt x="2502324" y="3765046"/>
                </a:lnTo>
                <a:lnTo>
                  <a:pt x="2405010" y="3683069"/>
                </a:lnTo>
                <a:lnTo>
                  <a:pt x="2371916" y="3765046"/>
                </a:lnTo>
                <a:lnTo>
                  <a:pt x="2268586" y="3688692"/>
                </a:lnTo>
                <a:lnTo>
                  <a:pt x="2241639" y="3765046"/>
                </a:lnTo>
                <a:lnTo>
                  <a:pt x="2133210" y="3694706"/>
                </a:lnTo>
                <a:lnTo>
                  <a:pt x="2111367" y="3765046"/>
                </a:lnTo>
                <a:lnTo>
                  <a:pt x="1998618" y="3700719"/>
                </a:lnTo>
                <a:lnTo>
                  <a:pt x="1981091" y="3765046"/>
                </a:lnTo>
                <a:lnTo>
                  <a:pt x="1864680" y="3706733"/>
                </a:lnTo>
                <a:lnTo>
                  <a:pt x="1850685" y="3765046"/>
                </a:lnTo>
                <a:lnTo>
                  <a:pt x="1731396" y="3712618"/>
                </a:lnTo>
                <a:lnTo>
                  <a:pt x="1720409" y="3765046"/>
                </a:lnTo>
                <a:lnTo>
                  <a:pt x="1598636" y="3718239"/>
                </a:lnTo>
                <a:lnTo>
                  <a:pt x="1590135" y="3765046"/>
                </a:lnTo>
                <a:lnTo>
                  <a:pt x="1466268" y="3723600"/>
                </a:lnTo>
                <a:lnTo>
                  <a:pt x="1459729" y="3765046"/>
                </a:lnTo>
                <a:lnTo>
                  <a:pt x="1334423" y="3728699"/>
                </a:lnTo>
                <a:lnTo>
                  <a:pt x="1329452" y="3765046"/>
                </a:lnTo>
                <a:lnTo>
                  <a:pt x="1202840" y="3733537"/>
                </a:lnTo>
                <a:lnTo>
                  <a:pt x="1199177" y="3765046"/>
                </a:lnTo>
                <a:lnTo>
                  <a:pt x="1071392" y="3737982"/>
                </a:lnTo>
                <a:lnTo>
                  <a:pt x="1068907" y="3765046"/>
                </a:lnTo>
                <a:lnTo>
                  <a:pt x="940333" y="3742165"/>
                </a:lnTo>
                <a:lnTo>
                  <a:pt x="938501" y="3765046"/>
                </a:lnTo>
                <a:lnTo>
                  <a:pt x="809406" y="3746219"/>
                </a:lnTo>
                <a:lnTo>
                  <a:pt x="808229" y="3765046"/>
                </a:lnTo>
                <a:lnTo>
                  <a:pt x="678607" y="3749880"/>
                </a:lnTo>
                <a:lnTo>
                  <a:pt x="677953" y="3765046"/>
                </a:lnTo>
                <a:lnTo>
                  <a:pt x="548070" y="3753280"/>
                </a:lnTo>
                <a:lnTo>
                  <a:pt x="547546" y="3765046"/>
                </a:lnTo>
                <a:lnTo>
                  <a:pt x="417403" y="3756548"/>
                </a:lnTo>
                <a:lnTo>
                  <a:pt x="417271" y="3765046"/>
                </a:lnTo>
                <a:lnTo>
                  <a:pt x="286996" y="3759556"/>
                </a:lnTo>
                <a:lnTo>
                  <a:pt x="286996" y="3765046"/>
                </a:lnTo>
                <a:lnTo>
                  <a:pt x="156594" y="3762432"/>
                </a:lnTo>
                <a:lnTo>
                  <a:pt x="156594" y="3765046"/>
                </a:lnTo>
                <a:lnTo>
                  <a:pt x="0" y="3765046"/>
                </a:lnTo>
                <a:close/>
                <a:moveTo>
                  <a:pt x="6055850" y="3306263"/>
                </a:moveTo>
                <a:lnTo>
                  <a:pt x="6092081" y="3385364"/>
                </a:lnTo>
                <a:lnTo>
                  <a:pt x="6199073" y="3306263"/>
                </a:lnTo>
                <a:lnTo>
                  <a:pt x="6228764" y="3380003"/>
                </a:lnTo>
                <a:lnTo>
                  <a:pt x="6342298" y="3306263"/>
                </a:lnTo>
                <a:lnTo>
                  <a:pt x="6366234" y="3374250"/>
                </a:lnTo>
                <a:lnTo>
                  <a:pt x="6485523" y="3306263"/>
                </a:lnTo>
                <a:lnTo>
                  <a:pt x="6504750" y="3368367"/>
                </a:lnTo>
                <a:lnTo>
                  <a:pt x="6628616" y="3306263"/>
                </a:lnTo>
                <a:lnTo>
                  <a:pt x="6644051" y="3362484"/>
                </a:lnTo>
                <a:lnTo>
                  <a:pt x="6771840" y="3306263"/>
                </a:lnTo>
                <a:lnTo>
                  <a:pt x="6783874" y="3356731"/>
                </a:lnTo>
                <a:lnTo>
                  <a:pt x="6915065" y="3306263"/>
                </a:lnTo>
                <a:lnTo>
                  <a:pt x="6924482" y="3351108"/>
                </a:lnTo>
                <a:lnTo>
                  <a:pt x="7058289" y="3306263"/>
                </a:lnTo>
                <a:lnTo>
                  <a:pt x="7065483" y="3345749"/>
                </a:lnTo>
                <a:lnTo>
                  <a:pt x="7201513" y="3306263"/>
                </a:lnTo>
                <a:lnTo>
                  <a:pt x="7206876" y="3340650"/>
                </a:lnTo>
                <a:lnTo>
                  <a:pt x="7344606" y="3306263"/>
                </a:lnTo>
                <a:lnTo>
                  <a:pt x="7348662" y="3335812"/>
                </a:lnTo>
                <a:lnTo>
                  <a:pt x="7487831" y="3306263"/>
                </a:lnTo>
                <a:lnTo>
                  <a:pt x="7490708" y="3331235"/>
                </a:lnTo>
                <a:lnTo>
                  <a:pt x="7631056" y="3306263"/>
                </a:lnTo>
                <a:lnTo>
                  <a:pt x="7633018" y="3326921"/>
                </a:lnTo>
                <a:lnTo>
                  <a:pt x="7774281" y="3306263"/>
                </a:lnTo>
                <a:lnTo>
                  <a:pt x="7775587" y="3322868"/>
                </a:lnTo>
                <a:lnTo>
                  <a:pt x="7917504" y="3306263"/>
                </a:lnTo>
                <a:lnTo>
                  <a:pt x="7918289" y="3319207"/>
                </a:lnTo>
                <a:lnTo>
                  <a:pt x="8060597" y="3306263"/>
                </a:lnTo>
                <a:lnTo>
                  <a:pt x="8061122" y="3315676"/>
                </a:lnTo>
                <a:lnTo>
                  <a:pt x="8203822" y="3306263"/>
                </a:lnTo>
                <a:lnTo>
                  <a:pt x="8204084" y="3312147"/>
                </a:lnTo>
                <a:lnTo>
                  <a:pt x="8213109" y="3311886"/>
                </a:lnTo>
                <a:lnTo>
                  <a:pt x="8301005" y="3308224"/>
                </a:lnTo>
                <a:lnTo>
                  <a:pt x="8301005" y="3306263"/>
                </a:lnTo>
                <a:lnTo>
                  <a:pt x="12189515" y="3306263"/>
                </a:lnTo>
                <a:lnTo>
                  <a:pt x="12189515" y="3508526"/>
                </a:lnTo>
                <a:lnTo>
                  <a:pt x="8301005" y="3508526"/>
                </a:lnTo>
                <a:lnTo>
                  <a:pt x="8301005" y="3505912"/>
                </a:lnTo>
                <a:lnTo>
                  <a:pt x="8170730" y="3508526"/>
                </a:lnTo>
                <a:lnTo>
                  <a:pt x="8170599" y="3503036"/>
                </a:lnTo>
                <a:lnTo>
                  <a:pt x="8040324" y="3508526"/>
                </a:lnTo>
                <a:lnTo>
                  <a:pt x="8040194" y="3500028"/>
                </a:lnTo>
                <a:lnTo>
                  <a:pt x="7910049" y="3508526"/>
                </a:lnTo>
                <a:lnTo>
                  <a:pt x="7909656" y="3496760"/>
                </a:lnTo>
                <a:lnTo>
                  <a:pt x="7779774" y="3508526"/>
                </a:lnTo>
                <a:lnTo>
                  <a:pt x="7778989" y="3493360"/>
                </a:lnTo>
                <a:lnTo>
                  <a:pt x="7649499" y="3508526"/>
                </a:lnTo>
                <a:lnTo>
                  <a:pt x="7648191" y="3489699"/>
                </a:lnTo>
                <a:lnTo>
                  <a:pt x="7519093" y="3508526"/>
                </a:lnTo>
                <a:lnTo>
                  <a:pt x="7517261" y="3485645"/>
                </a:lnTo>
                <a:lnTo>
                  <a:pt x="7388816" y="3508526"/>
                </a:lnTo>
                <a:lnTo>
                  <a:pt x="7386200" y="3481462"/>
                </a:lnTo>
                <a:lnTo>
                  <a:pt x="7258541" y="3508526"/>
                </a:lnTo>
                <a:lnTo>
                  <a:pt x="7254880" y="3477017"/>
                </a:lnTo>
                <a:lnTo>
                  <a:pt x="7128135" y="3508526"/>
                </a:lnTo>
                <a:lnTo>
                  <a:pt x="7123296" y="3472179"/>
                </a:lnTo>
                <a:lnTo>
                  <a:pt x="6997860" y="3508526"/>
                </a:lnTo>
                <a:lnTo>
                  <a:pt x="6991320" y="3467080"/>
                </a:lnTo>
                <a:lnTo>
                  <a:pt x="6867585" y="3508526"/>
                </a:lnTo>
                <a:lnTo>
                  <a:pt x="6859083" y="3461719"/>
                </a:lnTo>
                <a:lnTo>
                  <a:pt x="6737310" y="3508526"/>
                </a:lnTo>
                <a:lnTo>
                  <a:pt x="6726322" y="3456097"/>
                </a:lnTo>
                <a:lnTo>
                  <a:pt x="6606904" y="3508526"/>
                </a:lnTo>
                <a:lnTo>
                  <a:pt x="6593040" y="3450213"/>
                </a:lnTo>
                <a:lnTo>
                  <a:pt x="6476628" y="3508526"/>
                </a:lnTo>
                <a:lnTo>
                  <a:pt x="6459101" y="3444199"/>
                </a:lnTo>
                <a:lnTo>
                  <a:pt x="6346352" y="3508526"/>
                </a:lnTo>
                <a:lnTo>
                  <a:pt x="6324509" y="3438186"/>
                </a:lnTo>
                <a:lnTo>
                  <a:pt x="6215947" y="3508526"/>
                </a:lnTo>
                <a:lnTo>
                  <a:pt x="6189002" y="3432172"/>
                </a:lnTo>
                <a:lnTo>
                  <a:pt x="6085672" y="3508526"/>
                </a:lnTo>
                <a:lnTo>
                  <a:pt x="6052710" y="3426549"/>
                </a:lnTo>
                <a:lnTo>
                  <a:pt x="5955396" y="3508526"/>
                </a:lnTo>
                <a:lnTo>
                  <a:pt x="5916418" y="3423672"/>
                </a:lnTo>
                <a:close/>
                <a:moveTo>
                  <a:pt x="5912625" y="3306263"/>
                </a:moveTo>
                <a:lnTo>
                  <a:pt x="5953696" y="3384580"/>
                </a:lnTo>
                <a:lnTo>
                  <a:pt x="5825120" y="3508526"/>
                </a:lnTo>
                <a:lnTo>
                  <a:pt x="5784049" y="3430210"/>
                </a:lnTo>
                <a:close/>
                <a:moveTo>
                  <a:pt x="5769534" y="3306263"/>
                </a:moveTo>
                <a:lnTo>
                  <a:pt x="5812697" y="3378042"/>
                </a:lnTo>
                <a:lnTo>
                  <a:pt x="5694716" y="3508526"/>
                </a:lnTo>
                <a:lnTo>
                  <a:pt x="5651552" y="3436747"/>
                </a:lnTo>
                <a:close/>
                <a:moveTo>
                  <a:pt x="5626305" y="3306263"/>
                </a:moveTo>
                <a:lnTo>
                  <a:pt x="5671693" y="3371505"/>
                </a:lnTo>
                <a:lnTo>
                  <a:pt x="5564438" y="3508526"/>
                </a:lnTo>
                <a:lnTo>
                  <a:pt x="5519050" y="3443284"/>
                </a:lnTo>
                <a:close/>
                <a:moveTo>
                  <a:pt x="5483083" y="3306263"/>
                </a:moveTo>
                <a:lnTo>
                  <a:pt x="5530694" y="3364968"/>
                </a:lnTo>
                <a:lnTo>
                  <a:pt x="5434164" y="3508526"/>
                </a:lnTo>
                <a:lnTo>
                  <a:pt x="5386553" y="3449822"/>
                </a:lnTo>
                <a:close/>
                <a:moveTo>
                  <a:pt x="5339858" y="3306263"/>
                </a:moveTo>
                <a:lnTo>
                  <a:pt x="5389562" y="3358430"/>
                </a:lnTo>
                <a:lnTo>
                  <a:pt x="5303757" y="3508526"/>
                </a:lnTo>
                <a:lnTo>
                  <a:pt x="5254053" y="3456359"/>
                </a:lnTo>
                <a:close/>
                <a:moveTo>
                  <a:pt x="5196635" y="3306263"/>
                </a:moveTo>
                <a:lnTo>
                  <a:pt x="5248563" y="3352023"/>
                </a:lnTo>
                <a:lnTo>
                  <a:pt x="5173483" y="3508526"/>
                </a:lnTo>
                <a:lnTo>
                  <a:pt x="5121556" y="3462896"/>
                </a:lnTo>
                <a:close/>
                <a:moveTo>
                  <a:pt x="5053542" y="3306263"/>
                </a:moveTo>
                <a:lnTo>
                  <a:pt x="5107562" y="3345486"/>
                </a:lnTo>
                <a:lnTo>
                  <a:pt x="5043208" y="3508526"/>
                </a:lnTo>
                <a:lnTo>
                  <a:pt x="4989187" y="3469303"/>
                </a:lnTo>
                <a:close/>
                <a:moveTo>
                  <a:pt x="4910318" y="3306263"/>
                </a:moveTo>
                <a:lnTo>
                  <a:pt x="4966429" y="3338950"/>
                </a:lnTo>
                <a:lnTo>
                  <a:pt x="4912934" y="3508526"/>
                </a:lnTo>
                <a:lnTo>
                  <a:pt x="4856690" y="3475839"/>
                </a:lnTo>
                <a:close/>
                <a:moveTo>
                  <a:pt x="4767091" y="3306263"/>
                </a:moveTo>
                <a:lnTo>
                  <a:pt x="4825429" y="3332413"/>
                </a:lnTo>
                <a:lnTo>
                  <a:pt x="4782526" y="3508526"/>
                </a:lnTo>
                <a:lnTo>
                  <a:pt x="4724190" y="3482377"/>
                </a:lnTo>
                <a:close/>
                <a:moveTo>
                  <a:pt x="4623872" y="3306263"/>
                </a:moveTo>
                <a:lnTo>
                  <a:pt x="4684433" y="3325875"/>
                </a:lnTo>
                <a:lnTo>
                  <a:pt x="4652256" y="3508526"/>
                </a:lnTo>
                <a:lnTo>
                  <a:pt x="4591696" y="3488914"/>
                </a:lnTo>
                <a:close/>
                <a:moveTo>
                  <a:pt x="4480643" y="3306263"/>
                </a:moveTo>
                <a:lnTo>
                  <a:pt x="4543428" y="3319338"/>
                </a:lnTo>
                <a:lnTo>
                  <a:pt x="4521977" y="3508526"/>
                </a:lnTo>
                <a:lnTo>
                  <a:pt x="4459193" y="3495451"/>
                </a:lnTo>
                <a:close/>
                <a:moveTo>
                  <a:pt x="4337550" y="3306263"/>
                </a:moveTo>
                <a:lnTo>
                  <a:pt x="4402296" y="3312801"/>
                </a:lnTo>
                <a:lnTo>
                  <a:pt x="4391570" y="3508526"/>
                </a:lnTo>
                <a:lnTo>
                  <a:pt x="4326825" y="3501989"/>
                </a:lnTo>
                <a:close/>
                <a:moveTo>
                  <a:pt x="4194332" y="3306263"/>
                </a:moveTo>
                <a:lnTo>
                  <a:pt x="4196426" y="3306263"/>
                </a:lnTo>
                <a:lnTo>
                  <a:pt x="4261296" y="3306263"/>
                </a:lnTo>
                <a:lnTo>
                  <a:pt x="4263390" y="3306263"/>
                </a:lnTo>
                <a:lnTo>
                  <a:pt x="4263390" y="3508396"/>
                </a:lnTo>
                <a:lnTo>
                  <a:pt x="4261296" y="3508396"/>
                </a:lnTo>
                <a:lnTo>
                  <a:pt x="4196426" y="3508396"/>
                </a:lnTo>
                <a:lnTo>
                  <a:pt x="4194332" y="3508396"/>
                </a:lnTo>
                <a:close/>
                <a:moveTo>
                  <a:pt x="4120170" y="3306263"/>
                </a:moveTo>
                <a:lnTo>
                  <a:pt x="4130896" y="3501989"/>
                </a:lnTo>
                <a:lnTo>
                  <a:pt x="4066018" y="3508526"/>
                </a:lnTo>
                <a:lnTo>
                  <a:pt x="4055294" y="3312801"/>
                </a:lnTo>
                <a:close/>
                <a:moveTo>
                  <a:pt x="3976947" y="3306263"/>
                </a:moveTo>
                <a:lnTo>
                  <a:pt x="3998396" y="3495451"/>
                </a:lnTo>
                <a:lnTo>
                  <a:pt x="3935741" y="3508526"/>
                </a:lnTo>
                <a:lnTo>
                  <a:pt x="3914293" y="3319338"/>
                </a:lnTo>
                <a:close/>
                <a:moveTo>
                  <a:pt x="3833720" y="3306263"/>
                </a:moveTo>
                <a:lnTo>
                  <a:pt x="3865897" y="3488914"/>
                </a:lnTo>
                <a:lnTo>
                  <a:pt x="3805467" y="3508526"/>
                </a:lnTo>
                <a:lnTo>
                  <a:pt x="3773292" y="3325875"/>
                </a:lnTo>
                <a:close/>
                <a:moveTo>
                  <a:pt x="3690629" y="3306263"/>
                </a:moveTo>
                <a:lnTo>
                  <a:pt x="3733396" y="3482377"/>
                </a:lnTo>
                <a:lnTo>
                  <a:pt x="3675062" y="3508526"/>
                </a:lnTo>
                <a:lnTo>
                  <a:pt x="3632158" y="3332413"/>
                </a:lnTo>
                <a:close/>
                <a:moveTo>
                  <a:pt x="3547400" y="3306263"/>
                </a:moveTo>
                <a:lnTo>
                  <a:pt x="3601030" y="3475839"/>
                </a:lnTo>
                <a:lnTo>
                  <a:pt x="3544786" y="3508526"/>
                </a:lnTo>
                <a:lnTo>
                  <a:pt x="3491159" y="3338950"/>
                </a:lnTo>
                <a:close/>
                <a:moveTo>
                  <a:pt x="3404180" y="3306263"/>
                </a:moveTo>
                <a:lnTo>
                  <a:pt x="3468533" y="3469303"/>
                </a:lnTo>
                <a:lnTo>
                  <a:pt x="3414513" y="3508526"/>
                </a:lnTo>
                <a:lnTo>
                  <a:pt x="3350159" y="3345486"/>
                </a:lnTo>
                <a:close/>
                <a:moveTo>
                  <a:pt x="3260954" y="3306263"/>
                </a:moveTo>
                <a:lnTo>
                  <a:pt x="3336034" y="3462896"/>
                </a:lnTo>
                <a:lnTo>
                  <a:pt x="3284105" y="3508526"/>
                </a:lnTo>
                <a:lnTo>
                  <a:pt x="3209157" y="3352023"/>
                </a:lnTo>
                <a:close/>
                <a:moveTo>
                  <a:pt x="3117730" y="3306263"/>
                </a:moveTo>
                <a:lnTo>
                  <a:pt x="3203536" y="3456359"/>
                </a:lnTo>
                <a:lnTo>
                  <a:pt x="3153831" y="3508526"/>
                </a:lnTo>
                <a:lnTo>
                  <a:pt x="3068027" y="3358430"/>
                </a:lnTo>
                <a:close/>
                <a:moveTo>
                  <a:pt x="2974635" y="3306263"/>
                </a:moveTo>
                <a:lnTo>
                  <a:pt x="3071033" y="3449822"/>
                </a:lnTo>
                <a:lnTo>
                  <a:pt x="3023555" y="3508526"/>
                </a:lnTo>
                <a:lnTo>
                  <a:pt x="2927026" y="3364968"/>
                </a:lnTo>
                <a:close/>
                <a:moveTo>
                  <a:pt x="2831413" y="3306263"/>
                </a:moveTo>
                <a:lnTo>
                  <a:pt x="2938666" y="3443284"/>
                </a:lnTo>
                <a:lnTo>
                  <a:pt x="2893280" y="3508526"/>
                </a:lnTo>
                <a:lnTo>
                  <a:pt x="2786026" y="3371505"/>
                </a:lnTo>
                <a:close/>
                <a:moveTo>
                  <a:pt x="2688188" y="3306263"/>
                </a:moveTo>
                <a:lnTo>
                  <a:pt x="2806169" y="3436747"/>
                </a:lnTo>
                <a:lnTo>
                  <a:pt x="2762871" y="3508526"/>
                </a:lnTo>
                <a:lnTo>
                  <a:pt x="2645025" y="3378042"/>
                </a:lnTo>
                <a:close/>
                <a:moveTo>
                  <a:pt x="2544961" y="3306263"/>
                </a:moveTo>
                <a:lnTo>
                  <a:pt x="2673669" y="3430210"/>
                </a:lnTo>
                <a:lnTo>
                  <a:pt x="2632599" y="3508526"/>
                </a:lnTo>
                <a:lnTo>
                  <a:pt x="2503890" y="3384580"/>
                </a:lnTo>
                <a:close/>
                <a:moveTo>
                  <a:pt x="0" y="3306263"/>
                </a:moveTo>
                <a:lnTo>
                  <a:pt x="156594" y="3306263"/>
                </a:lnTo>
                <a:lnTo>
                  <a:pt x="156594" y="3308224"/>
                </a:lnTo>
                <a:lnTo>
                  <a:pt x="244621" y="3311886"/>
                </a:lnTo>
                <a:lnTo>
                  <a:pt x="253647" y="3312147"/>
                </a:lnTo>
                <a:lnTo>
                  <a:pt x="253777" y="3306263"/>
                </a:lnTo>
                <a:lnTo>
                  <a:pt x="396605" y="3315676"/>
                </a:lnTo>
                <a:lnTo>
                  <a:pt x="396998" y="3306263"/>
                </a:lnTo>
                <a:lnTo>
                  <a:pt x="539437" y="3319207"/>
                </a:lnTo>
                <a:lnTo>
                  <a:pt x="540222" y="3306263"/>
                </a:lnTo>
                <a:lnTo>
                  <a:pt x="682139" y="3322868"/>
                </a:lnTo>
                <a:lnTo>
                  <a:pt x="683447" y="3306263"/>
                </a:lnTo>
                <a:lnTo>
                  <a:pt x="824579" y="3326921"/>
                </a:lnTo>
                <a:lnTo>
                  <a:pt x="826671" y="3306263"/>
                </a:lnTo>
                <a:lnTo>
                  <a:pt x="966885" y="3331235"/>
                </a:lnTo>
                <a:lnTo>
                  <a:pt x="969762" y="3306263"/>
                </a:lnTo>
                <a:lnTo>
                  <a:pt x="1109062" y="3335812"/>
                </a:lnTo>
                <a:lnTo>
                  <a:pt x="1112981" y="3306263"/>
                </a:lnTo>
                <a:lnTo>
                  <a:pt x="1250844" y="3340650"/>
                </a:lnTo>
                <a:lnTo>
                  <a:pt x="1256206" y="3306263"/>
                </a:lnTo>
                <a:lnTo>
                  <a:pt x="1392235" y="3345749"/>
                </a:lnTo>
                <a:lnTo>
                  <a:pt x="1399430" y="3306263"/>
                </a:lnTo>
                <a:lnTo>
                  <a:pt x="1533237" y="3351108"/>
                </a:lnTo>
                <a:lnTo>
                  <a:pt x="1542654" y="3306263"/>
                </a:lnTo>
                <a:lnTo>
                  <a:pt x="1673714" y="3356731"/>
                </a:lnTo>
                <a:lnTo>
                  <a:pt x="1685747" y="3306263"/>
                </a:lnTo>
                <a:lnTo>
                  <a:pt x="1813669" y="3362484"/>
                </a:lnTo>
                <a:lnTo>
                  <a:pt x="1828972" y="3306263"/>
                </a:lnTo>
                <a:lnTo>
                  <a:pt x="1952969" y="3368367"/>
                </a:lnTo>
                <a:lnTo>
                  <a:pt x="1972197" y="3306263"/>
                </a:lnTo>
                <a:lnTo>
                  <a:pt x="2091354" y="3374250"/>
                </a:lnTo>
                <a:lnTo>
                  <a:pt x="2115422" y="3306263"/>
                </a:lnTo>
                <a:lnTo>
                  <a:pt x="2228955" y="3380003"/>
                </a:lnTo>
                <a:lnTo>
                  <a:pt x="2258513" y="3306263"/>
                </a:lnTo>
                <a:lnTo>
                  <a:pt x="2365509" y="3385364"/>
                </a:lnTo>
                <a:lnTo>
                  <a:pt x="2401740" y="3306263"/>
                </a:lnTo>
                <a:lnTo>
                  <a:pt x="2541172" y="3423672"/>
                </a:lnTo>
                <a:lnTo>
                  <a:pt x="2502324" y="3508526"/>
                </a:lnTo>
                <a:lnTo>
                  <a:pt x="2405010" y="3426549"/>
                </a:lnTo>
                <a:lnTo>
                  <a:pt x="2371916" y="3508526"/>
                </a:lnTo>
                <a:lnTo>
                  <a:pt x="2268586" y="3432172"/>
                </a:lnTo>
                <a:lnTo>
                  <a:pt x="2241639" y="3508526"/>
                </a:lnTo>
                <a:lnTo>
                  <a:pt x="2133210" y="3438186"/>
                </a:lnTo>
                <a:lnTo>
                  <a:pt x="2111367" y="3508526"/>
                </a:lnTo>
                <a:lnTo>
                  <a:pt x="1998618" y="3444199"/>
                </a:lnTo>
                <a:lnTo>
                  <a:pt x="1981091" y="3508526"/>
                </a:lnTo>
                <a:lnTo>
                  <a:pt x="1864680" y="3450213"/>
                </a:lnTo>
                <a:lnTo>
                  <a:pt x="1850685" y="3508526"/>
                </a:lnTo>
                <a:lnTo>
                  <a:pt x="1731396" y="3456097"/>
                </a:lnTo>
                <a:lnTo>
                  <a:pt x="1720409" y="3508526"/>
                </a:lnTo>
                <a:lnTo>
                  <a:pt x="1598636" y="3461719"/>
                </a:lnTo>
                <a:lnTo>
                  <a:pt x="1590135" y="3508526"/>
                </a:lnTo>
                <a:lnTo>
                  <a:pt x="1466268" y="3467080"/>
                </a:lnTo>
                <a:lnTo>
                  <a:pt x="1459729" y="3508526"/>
                </a:lnTo>
                <a:lnTo>
                  <a:pt x="1334423" y="3472179"/>
                </a:lnTo>
                <a:lnTo>
                  <a:pt x="1329452" y="3508526"/>
                </a:lnTo>
                <a:lnTo>
                  <a:pt x="1202840" y="3477017"/>
                </a:lnTo>
                <a:lnTo>
                  <a:pt x="1199177" y="3508526"/>
                </a:lnTo>
                <a:lnTo>
                  <a:pt x="1071392" y="3481462"/>
                </a:lnTo>
                <a:lnTo>
                  <a:pt x="1068907" y="3508526"/>
                </a:lnTo>
                <a:lnTo>
                  <a:pt x="940333" y="3485645"/>
                </a:lnTo>
                <a:lnTo>
                  <a:pt x="938501" y="3508526"/>
                </a:lnTo>
                <a:lnTo>
                  <a:pt x="809406" y="3489699"/>
                </a:lnTo>
                <a:lnTo>
                  <a:pt x="808229" y="3508526"/>
                </a:lnTo>
                <a:lnTo>
                  <a:pt x="678607" y="3493360"/>
                </a:lnTo>
                <a:lnTo>
                  <a:pt x="677953" y="3508526"/>
                </a:lnTo>
                <a:lnTo>
                  <a:pt x="548070" y="3496760"/>
                </a:lnTo>
                <a:lnTo>
                  <a:pt x="547546" y="3508526"/>
                </a:lnTo>
                <a:lnTo>
                  <a:pt x="417403" y="3500028"/>
                </a:lnTo>
                <a:lnTo>
                  <a:pt x="417271" y="3508526"/>
                </a:lnTo>
                <a:lnTo>
                  <a:pt x="286996" y="3503036"/>
                </a:lnTo>
                <a:lnTo>
                  <a:pt x="286996" y="3508526"/>
                </a:lnTo>
                <a:lnTo>
                  <a:pt x="156594" y="3505912"/>
                </a:lnTo>
                <a:lnTo>
                  <a:pt x="156594" y="3508526"/>
                </a:lnTo>
                <a:lnTo>
                  <a:pt x="0" y="3508526"/>
                </a:lnTo>
                <a:close/>
                <a:moveTo>
                  <a:pt x="4194332" y="3049873"/>
                </a:moveTo>
                <a:lnTo>
                  <a:pt x="4196426" y="3049873"/>
                </a:lnTo>
                <a:lnTo>
                  <a:pt x="4261296" y="3049873"/>
                </a:lnTo>
                <a:lnTo>
                  <a:pt x="4263390" y="3049873"/>
                </a:lnTo>
                <a:lnTo>
                  <a:pt x="4263390" y="3252005"/>
                </a:lnTo>
                <a:lnTo>
                  <a:pt x="4261296" y="3252005"/>
                </a:lnTo>
                <a:lnTo>
                  <a:pt x="4196426" y="3252005"/>
                </a:lnTo>
                <a:lnTo>
                  <a:pt x="4194332" y="3252005"/>
                </a:lnTo>
                <a:close/>
                <a:moveTo>
                  <a:pt x="6055850" y="3049742"/>
                </a:moveTo>
                <a:lnTo>
                  <a:pt x="6092081" y="3128843"/>
                </a:lnTo>
                <a:lnTo>
                  <a:pt x="6199073" y="3049742"/>
                </a:lnTo>
                <a:lnTo>
                  <a:pt x="6228764" y="3123482"/>
                </a:lnTo>
                <a:lnTo>
                  <a:pt x="6342298" y="3049742"/>
                </a:lnTo>
                <a:lnTo>
                  <a:pt x="6366234" y="3117729"/>
                </a:lnTo>
                <a:lnTo>
                  <a:pt x="6485523" y="3049742"/>
                </a:lnTo>
                <a:lnTo>
                  <a:pt x="6504750" y="3111846"/>
                </a:lnTo>
                <a:lnTo>
                  <a:pt x="6628616" y="3049742"/>
                </a:lnTo>
                <a:lnTo>
                  <a:pt x="6644051" y="3105962"/>
                </a:lnTo>
                <a:lnTo>
                  <a:pt x="6771840" y="3049742"/>
                </a:lnTo>
                <a:lnTo>
                  <a:pt x="6783874" y="3100209"/>
                </a:lnTo>
                <a:lnTo>
                  <a:pt x="6915065" y="3049742"/>
                </a:lnTo>
                <a:lnTo>
                  <a:pt x="6924482" y="3094587"/>
                </a:lnTo>
                <a:lnTo>
                  <a:pt x="7058289" y="3049742"/>
                </a:lnTo>
                <a:lnTo>
                  <a:pt x="7065483" y="3089227"/>
                </a:lnTo>
                <a:lnTo>
                  <a:pt x="7201513" y="3049742"/>
                </a:lnTo>
                <a:lnTo>
                  <a:pt x="7206876" y="3084128"/>
                </a:lnTo>
                <a:lnTo>
                  <a:pt x="7344606" y="3049742"/>
                </a:lnTo>
                <a:lnTo>
                  <a:pt x="7348662" y="3079291"/>
                </a:lnTo>
                <a:lnTo>
                  <a:pt x="7487831" y="3049742"/>
                </a:lnTo>
                <a:lnTo>
                  <a:pt x="7490708" y="3074714"/>
                </a:lnTo>
                <a:lnTo>
                  <a:pt x="7631056" y="3049742"/>
                </a:lnTo>
                <a:lnTo>
                  <a:pt x="7633018" y="3070400"/>
                </a:lnTo>
                <a:lnTo>
                  <a:pt x="7774281" y="3049742"/>
                </a:lnTo>
                <a:lnTo>
                  <a:pt x="7775587" y="3066346"/>
                </a:lnTo>
                <a:lnTo>
                  <a:pt x="7917504" y="3049742"/>
                </a:lnTo>
                <a:lnTo>
                  <a:pt x="7918289" y="3062686"/>
                </a:lnTo>
                <a:lnTo>
                  <a:pt x="8060597" y="3049742"/>
                </a:lnTo>
                <a:lnTo>
                  <a:pt x="8061122" y="3059155"/>
                </a:lnTo>
                <a:lnTo>
                  <a:pt x="8203822" y="3049742"/>
                </a:lnTo>
                <a:lnTo>
                  <a:pt x="8204084" y="3055625"/>
                </a:lnTo>
                <a:lnTo>
                  <a:pt x="8213109" y="3055495"/>
                </a:lnTo>
                <a:lnTo>
                  <a:pt x="8301005" y="3051703"/>
                </a:lnTo>
                <a:lnTo>
                  <a:pt x="8301005" y="3049742"/>
                </a:lnTo>
                <a:lnTo>
                  <a:pt x="12189515" y="3049742"/>
                </a:lnTo>
                <a:lnTo>
                  <a:pt x="12189515" y="3252005"/>
                </a:lnTo>
                <a:lnTo>
                  <a:pt x="8301005" y="3252005"/>
                </a:lnTo>
                <a:lnTo>
                  <a:pt x="8301005" y="3249390"/>
                </a:lnTo>
                <a:lnTo>
                  <a:pt x="8170730" y="3252005"/>
                </a:lnTo>
                <a:lnTo>
                  <a:pt x="8170599" y="3246513"/>
                </a:lnTo>
                <a:lnTo>
                  <a:pt x="8040324" y="3252005"/>
                </a:lnTo>
                <a:lnTo>
                  <a:pt x="8040194" y="3243507"/>
                </a:lnTo>
                <a:lnTo>
                  <a:pt x="7910049" y="3252005"/>
                </a:lnTo>
                <a:lnTo>
                  <a:pt x="7909656" y="3240238"/>
                </a:lnTo>
                <a:lnTo>
                  <a:pt x="7779774" y="3252005"/>
                </a:lnTo>
                <a:lnTo>
                  <a:pt x="7778989" y="3236839"/>
                </a:lnTo>
                <a:lnTo>
                  <a:pt x="7649499" y="3252005"/>
                </a:lnTo>
                <a:lnTo>
                  <a:pt x="7648191" y="3233177"/>
                </a:lnTo>
                <a:lnTo>
                  <a:pt x="7519093" y="3252005"/>
                </a:lnTo>
                <a:lnTo>
                  <a:pt x="7517261" y="3229124"/>
                </a:lnTo>
                <a:lnTo>
                  <a:pt x="7388816" y="3252005"/>
                </a:lnTo>
                <a:lnTo>
                  <a:pt x="7386200" y="3224940"/>
                </a:lnTo>
                <a:lnTo>
                  <a:pt x="7258541" y="3252005"/>
                </a:lnTo>
                <a:lnTo>
                  <a:pt x="7254880" y="3220496"/>
                </a:lnTo>
                <a:lnTo>
                  <a:pt x="7128135" y="3252005"/>
                </a:lnTo>
                <a:lnTo>
                  <a:pt x="7123296" y="3215658"/>
                </a:lnTo>
                <a:lnTo>
                  <a:pt x="6997860" y="3252005"/>
                </a:lnTo>
                <a:lnTo>
                  <a:pt x="6991320" y="3210559"/>
                </a:lnTo>
                <a:lnTo>
                  <a:pt x="6867585" y="3252005"/>
                </a:lnTo>
                <a:lnTo>
                  <a:pt x="6859083" y="3205198"/>
                </a:lnTo>
                <a:lnTo>
                  <a:pt x="6737310" y="3252005"/>
                </a:lnTo>
                <a:lnTo>
                  <a:pt x="6726322" y="3199575"/>
                </a:lnTo>
                <a:lnTo>
                  <a:pt x="6606904" y="3252005"/>
                </a:lnTo>
                <a:lnTo>
                  <a:pt x="6593040" y="3193692"/>
                </a:lnTo>
                <a:lnTo>
                  <a:pt x="6476628" y="3252005"/>
                </a:lnTo>
                <a:lnTo>
                  <a:pt x="6459101" y="3187678"/>
                </a:lnTo>
                <a:lnTo>
                  <a:pt x="6346352" y="3252005"/>
                </a:lnTo>
                <a:lnTo>
                  <a:pt x="6324509" y="3181664"/>
                </a:lnTo>
                <a:lnTo>
                  <a:pt x="6215947" y="3252005"/>
                </a:lnTo>
                <a:lnTo>
                  <a:pt x="6189002" y="3175650"/>
                </a:lnTo>
                <a:lnTo>
                  <a:pt x="6085672" y="3252005"/>
                </a:lnTo>
                <a:lnTo>
                  <a:pt x="6052710" y="3170028"/>
                </a:lnTo>
                <a:lnTo>
                  <a:pt x="5955396" y="3252005"/>
                </a:lnTo>
                <a:lnTo>
                  <a:pt x="5916418" y="3167151"/>
                </a:lnTo>
                <a:close/>
                <a:moveTo>
                  <a:pt x="5912625" y="3049742"/>
                </a:moveTo>
                <a:lnTo>
                  <a:pt x="5953696" y="3128059"/>
                </a:lnTo>
                <a:lnTo>
                  <a:pt x="5825120" y="3252005"/>
                </a:lnTo>
                <a:lnTo>
                  <a:pt x="5784049" y="3173688"/>
                </a:lnTo>
                <a:close/>
                <a:moveTo>
                  <a:pt x="5769534" y="3049742"/>
                </a:moveTo>
                <a:lnTo>
                  <a:pt x="5812697" y="3121521"/>
                </a:lnTo>
                <a:lnTo>
                  <a:pt x="5694716" y="3252005"/>
                </a:lnTo>
                <a:lnTo>
                  <a:pt x="5651552" y="3180226"/>
                </a:lnTo>
                <a:close/>
                <a:moveTo>
                  <a:pt x="5626305" y="3049742"/>
                </a:moveTo>
                <a:lnTo>
                  <a:pt x="5671693" y="3114984"/>
                </a:lnTo>
                <a:lnTo>
                  <a:pt x="5564438" y="3252005"/>
                </a:lnTo>
                <a:lnTo>
                  <a:pt x="5519050" y="3186763"/>
                </a:lnTo>
                <a:close/>
                <a:moveTo>
                  <a:pt x="5483083" y="3049742"/>
                </a:moveTo>
                <a:lnTo>
                  <a:pt x="5530694" y="3108446"/>
                </a:lnTo>
                <a:lnTo>
                  <a:pt x="5434164" y="3252005"/>
                </a:lnTo>
                <a:lnTo>
                  <a:pt x="5386553" y="3193300"/>
                </a:lnTo>
                <a:close/>
                <a:moveTo>
                  <a:pt x="5339858" y="3049742"/>
                </a:moveTo>
                <a:lnTo>
                  <a:pt x="5389562" y="3102040"/>
                </a:lnTo>
                <a:lnTo>
                  <a:pt x="5303757" y="3252005"/>
                </a:lnTo>
                <a:lnTo>
                  <a:pt x="5254053" y="3199838"/>
                </a:lnTo>
                <a:close/>
                <a:moveTo>
                  <a:pt x="5196635" y="3049742"/>
                </a:moveTo>
                <a:lnTo>
                  <a:pt x="5248563" y="3095502"/>
                </a:lnTo>
                <a:lnTo>
                  <a:pt x="5173483" y="3252005"/>
                </a:lnTo>
                <a:lnTo>
                  <a:pt x="5121556" y="3206375"/>
                </a:lnTo>
                <a:close/>
                <a:moveTo>
                  <a:pt x="4910318" y="3049742"/>
                </a:moveTo>
                <a:lnTo>
                  <a:pt x="4966429" y="3082429"/>
                </a:lnTo>
                <a:lnTo>
                  <a:pt x="4912934" y="3252005"/>
                </a:lnTo>
                <a:lnTo>
                  <a:pt x="4856690" y="3219318"/>
                </a:lnTo>
                <a:close/>
                <a:moveTo>
                  <a:pt x="4767091" y="3049742"/>
                </a:moveTo>
                <a:lnTo>
                  <a:pt x="4825429" y="3075891"/>
                </a:lnTo>
                <a:lnTo>
                  <a:pt x="4782526" y="3252005"/>
                </a:lnTo>
                <a:lnTo>
                  <a:pt x="4724190" y="3225855"/>
                </a:lnTo>
                <a:close/>
                <a:moveTo>
                  <a:pt x="4623872" y="3049742"/>
                </a:moveTo>
                <a:lnTo>
                  <a:pt x="4684433" y="3069354"/>
                </a:lnTo>
                <a:lnTo>
                  <a:pt x="4652256" y="3252005"/>
                </a:lnTo>
                <a:lnTo>
                  <a:pt x="4591696" y="3232393"/>
                </a:lnTo>
                <a:close/>
                <a:moveTo>
                  <a:pt x="4480643" y="3049742"/>
                </a:moveTo>
                <a:lnTo>
                  <a:pt x="4543428" y="3062817"/>
                </a:lnTo>
                <a:lnTo>
                  <a:pt x="4521977" y="3252005"/>
                </a:lnTo>
                <a:lnTo>
                  <a:pt x="4459193" y="3238930"/>
                </a:lnTo>
                <a:close/>
                <a:moveTo>
                  <a:pt x="4337550" y="3049742"/>
                </a:moveTo>
                <a:lnTo>
                  <a:pt x="4402296" y="3056279"/>
                </a:lnTo>
                <a:lnTo>
                  <a:pt x="4391570" y="3252005"/>
                </a:lnTo>
                <a:lnTo>
                  <a:pt x="4326825" y="3245468"/>
                </a:lnTo>
                <a:close/>
                <a:moveTo>
                  <a:pt x="4120170" y="3049742"/>
                </a:moveTo>
                <a:lnTo>
                  <a:pt x="4130896" y="3245468"/>
                </a:lnTo>
                <a:lnTo>
                  <a:pt x="4066018" y="3252005"/>
                </a:lnTo>
                <a:lnTo>
                  <a:pt x="4055294" y="3056279"/>
                </a:lnTo>
                <a:close/>
                <a:moveTo>
                  <a:pt x="3976947" y="3049742"/>
                </a:moveTo>
                <a:lnTo>
                  <a:pt x="3998396" y="3238930"/>
                </a:lnTo>
                <a:lnTo>
                  <a:pt x="3935741" y="3252005"/>
                </a:lnTo>
                <a:lnTo>
                  <a:pt x="3914293" y="3062817"/>
                </a:lnTo>
                <a:close/>
                <a:moveTo>
                  <a:pt x="3833720" y="3049742"/>
                </a:moveTo>
                <a:lnTo>
                  <a:pt x="3865897" y="3232393"/>
                </a:lnTo>
                <a:lnTo>
                  <a:pt x="3805467" y="3252005"/>
                </a:lnTo>
                <a:lnTo>
                  <a:pt x="3773292" y="3069354"/>
                </a:lnTo>
                <a:close/>
                <a:moveTo>
                  <a:pt x="3690629" y="3049742"/>
                </a:moveTo>
                <a:lnTo>
                  <a:pt x="3733396" y="3225855"/>
                </a:lnTo>
                <a:lnTo>
                  <a:pt x="3675062" y="3252005"/>
                </a:lnTo>
                <a:lnTo>
                  <a:pt x="3632158" y="3075891"/>
                </a:lnTo>
                <a:close/>
                <a:moveTo>
                  <a:pt x="3547400" y="3049742"/>
                </a:moveTo>
                <a:lnTo>
                  <a:pt x="3601030" y="3219318"/>
                </a:lnTo>
                <a:lnTo>
                  <a:pt x="3544786" y="3252005"/>
                </a:lnTo>
                <a:lnTo>
                  <a:pt x="3491159" y="3082429"/>
                </a:lnTo>
                <a:close/>
                <a:moveTo>
                  <a:pt x="3404180" y="3049742"/>
                </a:moveTo>
                <a:lnTo>
                  <a:pt x="3468533" y="3212782"/>
                </a:lnTo>
                <a:lnTo>
                  <a:pt x="3414513" y="3252005"/>
                </a:lnTo>
                <a:lnTo>
                  <a:pt x="3350159" y="3088965"/>
                </a:lnTo>
                <a:close/>
                <a:moveTo>
                  <a:pt x="3260954" y="3049742"/>
                </a:moveTo>
                <a:lnTo>
                  <a:pt x="3336034" y="3206375"/>
                </a:lnTo>
                <a:lnTo>
                  <a:pt x="3284105" y="3252005"/>
                </a:lnTo>
                <a:lnTo>
                  <a:pt x="3209157" y="3095502"/>
                </a:lnTo>
                <a:close/>
                <a:moveTo>
                  <a:pt x="3117730" y="3049742"/>
                </a:moveTo>
                <a:lnTo>
                  <a:pt x="3203536" y="3199838"/>
                </a:lnTo>
                <a:lnTo>
                  <a:pt x="3153831" y="3252005"/>
                </a:lnTo>
                <a:lnTo>
                  <a:pt x="3068027" y="3102040"/>
                </a:lnTo>
                <a:close/>
                <a:moveTo>
                  <a:pt x="2974635" y="3049742"/>
                </a:moveTo>
                <a:lnTo>
                  <a:pt x="3071033" y="3193300"/>
                </a:lnTo>
                <a:lnTo>
                  <a:pt x="3023555" y="3252005"/>
                </a:lnTo>
                <a:lnTo>
                  <a:pt x="2927026" y="3108446"/>
                </a:lnTo>
                <a:close/>
                <a:moveTo>
                  <a:pt x="2831413" y="3049742"/>
                </a:moveTo>
                <a:lnTo>
                  <a:pt x="2938666" y="3186763"/>
                </a:lnTo>
                <a:lnTo>
                  <a:pt x="2893280" y="3252005"/>
                </a:lnTo>
                <a:lnTo>
                  <a:pt x="2786026" y="3114984"/>
                </a:lnTo>
                <a:close/>
                <a:moveTo>
                  <a:pt x="2688188" y="3049742"/>
                </a:moveTo>
                <a:lnTo>
                  <a:pt x="2806169" y="3180226"/>
                </a:lnTo>
                <a:lnTo>
                  <a:pt x="2762871" y="3252005"/>
                </a:lnTo>
                <a:lnTo>
                  <a:pt x="2645025" y="3121521"/>
                </a:lnTo>
                <a:close/>
                <a:moveTo>
                  <a:pt x="2544961" y="3049742"/>
                </a:moveTo>
                <a:lnTo>
                  <a:pt x="2673669" y="3173688"/>
                </a:lnTo>
                <a:lnTo>
                  <a:pt x="2632599" y="3252005"/>
                </a:lnTo>
                <a:lnTo>
                  <a:pt x="2503890" y="3128059"/>
                </a:lnTo>
                <a:close/>
                <a:moveTo>
                  <a:pt x="0" y="3049742"/>
                </a:moveTo>
                <a:lnTo>
                  <a:pt x="156593" y="3049742"/>
                </a:lnTo>
                <a:lnTo>
                  <a:pt x="156593" y="3051703"/>
                </a:lnTo>
                <a:lnTo>
                  <a:pt x="244621" y="3055495"/>
                </a:lnTo>
                <a:lnTo>
                  <a:pt x="253646" y="3055625"/>
                </a:lnTo>
                <a:lnTo>
                  <a:pt x="253777" y="3049742"/>
                </a:lnTo>
                <a:lnTo>
                  <a:pt x="396605" y="3059155"/>
                </a:lnTo>
                <a:lnTo>
                  <a:pt x="396998" y="3049742"/>
                </a:lnTo>
                <a:lnTo>
                  <a:pt x="539437" y="3062686"/>
                </a:lnTo>
                <a:lnTo>
                  <a:pt x="540222" y="3049742"/>
                </a:lnTo>
                <a:lnTo>
                  <a:pt x="682139" y="3066346"/>
                </a:lnTo>
                <a:lnTo>
                  <a:pt x="683447" y="3049742"/>
                </a:lnTo>
                <a:lnTo>
                  <a:pt x="824579" y="3070400"/>
                </a:lnTo>
                <a:lnTo>
                  <a:pt x="826671" y="3049742"/>
                </a:lnTo>
                <a:lnTo>
                  <a:pt x="966885" y="3074714"/>
                </a:lnTo>
                <a:lnTo>
                  <a:pt x="969762" y="3049742"/>
                </a:lnTo>
                <a:lnTo>
                  <a:pt x="1109062" y="3079291"/>
                </a:lnTo>
                <a:lnTo>
                  <a:pt x="1112981" y="3049742"/>
                </a:lnTo>
                <a:lnTo>
                  <a:pt x="1250844" y="3084128"/>
                </a:lnTo>
                <a:lnTo>
                  <a:pt x="1256206" y="3049742"/>
                </a:lnTo>
                <a:lnTo>
                  <a:pt x="1392235" y="3089227"/>
                </a:lnTo>
                <a:lnTo>
                  <a:pt x="1399430" y="3049742"/>
                </a:lnTo>
                <a:lnTo>
                  <a:pt x="1533237" y="3094587"/>
                </a:lnTo>
                <a:lnTo>
                  <a:pt x="1542654" y="3049742"/>
                </a:lnTo>
                <a:lnTo>
                  <a:pt x="1673714" y="3100209"/>
                </a:lnTo>
                <a:lnTo>
                  <a:pt x="1685747" y="3049742"/>
                </a:lnTo>
                <a:lnTo>
                  <a:pt x="1813669" y="3105962"/>
                </a:lnTo>
                <a:lnTo>
                  <a:pt x="1828972" y="3049742"/>
                </a:lnTo>
                <a:lnTo>
                  <a:pt x="1952838" y="3111846"/>
                </a:lnTo>
                <a:lnTo>
                  <a:pt x="1972197" y="3049742"/>
                </a:lnTo>
                <a:lnTo>
                  <a:pt x="2091354" y="3117729"/>
                </a:lnTo>
                <a:lnTo>
                  <a:pt x="2115422" y="3049742"/>
                </a:lnTo>
                <a:lnTo>
                  <a:pt x="2228955" y="3123482"/>
                </a:lnTo>
                <a:lnTo>
                  <a:pt x="2258513" y="3049742"/>
                </a:lnTo>
                <a:lnTo>
                  <a:pt x="2365509" y="3128843"/>
                </a:lnTo>
                <a:lnTo>
                  <a:pt x="2401740" y="3049742"/>
                </a:lnTo>
                <a:lnTo>
                  <a:pt x="2541172" y="3167151"/>
                </a:lnTo>
                <a:lnTo>
                  <a:pt x="2502324" y="3252005"/>
                </a:lnTo>
                <a:lnTo>
                  <a:pt x="2405010" y="3170028"/>
                </a:lnTo>
                <a:lnTo>
                  <a:pt x="2371916" y="3252005"/>
                </a:lnTo>
                <a:lnTo>
                  <a:pt x="2268586" y="3175650"/>
                </a:lnTo>
                <a:lnTo>
                  <a:pt x="2241639" y="3252005"/>
                </a:lnTo>
                <a:lnTo>
                  <a:pt x="2133210" y="3181664"/>
                </a:lnTo>
                <a:lnTo>
                  <a:pt x="2111367" y="3252005"/>
                </a:lnTo>
                <a:lnTo>
                  <a:pt x="1998618" y="3187678"/>
                </a:lnTo>
                <a:lnTo>
                  <a:pt x="1981091" y="3252005"/>
                </a:lnTo>
                <a:lnTo>
                  <a:pt x="1864680" y="3193692"/>
                </a:lnTo>
                <a:lnTo>
                  <a:pt x="1850685" y="3252005"/>
                </a:lnTo>
                <a:lnTo>
                  <a:pt x="1731396" y="3199575"/>
                </a:lnTo>
                <a:lnTo>
                  <a:pt x="1720409" y="3252005"/>
                </a:lnTo>
                <a:lnTo>
                  <a:pt x="1598636" y="3205198"/>
                </a:lnTo>
                <a:lnTo>
                  <a:pt x="1590135" y="3252005"/>
                </a:lnTo>
                <a:lnTo>
                  <a:pt x="1466268" y="3210559"/>
                </a:lnTo>
                <a:lnTo>
                  <a:pt x="1459729" y="3252005"/>
                </a:lnTo>
                <a:lnTo>
                  <a:pt x="1334423" y="3215658"/>
                </a:lnTo>
                <a:lnTo>
                  <a:pt x="1329452" y="3252005"/>
                </a:lnTo>
                <a:lnTo>
                  <a:pt x="1202840" y="3220496"/>
                </a:lnTo>
                <a:lnTo>
                  <a:pt x="1199177" y="3252005"/>
                </a:lnTo>
                <a:lnTo>
                  <a:pt x="1071392" y="3224940"/>
                </a:lnTo>
                <a:lnTo>
                  <a:pt x="1068907" y="3252005"/>
                </a:lnTo>
                <a:lnTo>
                  <a:pt x="940333" y="3229124"/>
                </a:lnTo>
                <a:lnTo>
                  <a:pt x="938501" y="3252005"/>
                </a:lnTo>
                <a:lnTo>
                  <a:pt x="809406" y="3233177"/>
                </a:lnTo>
                <a:lnTo>
                  <a:pt x="808229" y="3252005"/>
                </a:lnTo>
                <a:lnTo>
                  <a:pt x="678607" y="3236839"/>
                </a:lnTo>
                <a:lnTo>
                  <a:pt x="677953" y="3252005"/>
                </a:lnTo>
                <a:lnTo>
                  <a:pt x="548070" y="3240238"/>
                </a:lnTo>
                <a:lnTo>
                  <a:pt x="547546" y="3252005"/>
                </a:lnTo>
                <a:lnTo>
                  <a:pt x="417403" y="3243507"/>
                </a:lnTo>
                <a:lnTo>
                  <a:pt x="417271" y="3252005"/>
                </a:lnTo>
                <a:lnTo>
                  <a:pt x="286996" y="3246513"/>
                </a:lnTo>
                <a:lnTo>
                  <a:pt x="286996" y="3252005"/>
                </a:lnTo>
                <a:lnTo>
                  <a:pt x="156593" y="3249390"/>
                </a:lnTo>
                <a:lnTo>
                  <a:pt x="156593" y="3252005"/>
                </a:lnTo>
                <a:lnTo>
                  <a:pt x="0" y="3252005"/>
                </a:lnTo>
                <a:close/>
                <a:moveTo>
                  <a:pt x="5053549" y="3049741"/>
                </a:moveTo>
                <a:lnTo>
                  <a:pt x="5107569" y="3088964"/>
                </a:lnTo>
                <a:lnTo>
                  <a:pt x="5043215" y="3252004"/>
                </a:lnTo>
                <a:lnTo>
                  <a:pt x="4989194" y="3212781"/>
                </a:lnTo>
                <a:close/>
                <a:moveTo>
                  <a:pt x="2971628" y="2798581"/>
                </a:moveTo>
                <a:lnTo>
                  <a:pt x="3068157" y="2942399"/>
                </a:lnTo>
                <a:lnTo>
                  <a:pt x="3020543" y="3000973"/>
                </a:lnTo>
                <a:lnTo>
                  <a:pt x="2924017" y="2857155"/>
                </a:lnTo>
                <a:close/>
                <a:moveTo>
                  <a:pt x="2685179" y="2798581"/>
                </a:moveTo>
                <a:lnTo>
                  <a:pt x="2802897" y="2929325"/>
                </a:lnTo>
                <a:lnTo>
                  <a:pt x="2759733" y="3000973"/>
                </a:lnTo>
                <a:lnTo>
                  <a:pt x="2642014" y="2870229"/>
                </a:lnTo>
                <a:close/>
                <a:moveTo>
                  <a:pt x="3688533" y="2798188"/>
                </a:moveTo>
                <a:lnTo>
                  <a:pt x="3731435" y="2974301"/>
                </a:lnTo>
                <a:lnTo>
                  <a:pt x="3673098" y="3000319"/>
                </a:lnTo>
                <a:lnTo>
                  <a:pt x="3630198" y="2824337"/>
                </a:lnTo>
                <a:close/>
                <a:moveTo>
                  <a:pt x="3402084" y="2798188"/>
                </a:moveTo>
                <a:lnTo>
                  <a:pt x="3466438" y="2961227"/>
                </a:lnTo>
                <a:lnTo>
                  <a:pt x="3412419" y="3000451"/>
                </a:lnTo>
                <a:lnTo>
                  <a:pt x="3348062" y="2837412"/>
                </a:lnTo>
                <a:close/>
                <a:moveTo>
                  <a:pt x="5914718" y="2798059"/>
                </a:moveTo>
                <a:lnTo>
                  <a:pt x="5955789" y="2876636"/>
                </a:lnTo>
                <a:lnTo>
                  <a:pt x="5827084" y="3000452"/>
                </a:lnTo>
                <a:lnTo>
                  <a:pt x="5786014" y="2922004"/>
                </a:lnTo>
                <a:close/>
                <a:moveTo>
                  <a:pt x="5771102" y="2797929"/>
                </a:moveTo>
                <a:lnTo>
                  <a:pt x="5814397" y="2869577"/>
                </a:lnTo>
                <a:lnTo>
                  <a:pt x="5696678" y="3000320"/>
                </a:lnTo>
                <a:lnTo>
                  <a:pt x="5653383" y="2928672"/>
                </a:lnTo>
                <a:close/>
                <a:moveTo>
                  <a:pt x="5628402" y="2797929"/>
                </a:moveTo>
                <a:lnTo>
                  <a:pt x="5673788" y="2863431"/>
                </a:lnTo>
                <a:lnTo>
                  <a:pt x="5566534" y="3000320"/>
                </a:lnTo>
                <a:lnTo>
                  <a:pt x="5521146" y="2934949"/>
                </a:lnTo>
                <a:close/>
                <a:moveTo>
                  <a:pt x="5484523" y="2797929"/>
                </a:moveTo>
                <a:lnTo>
                  <a:pt x="5532002" y="2856502"/>
                </a:lnTo>
                <a:lnTo>
                  <a:pt x="5435474" y="3000320"/>
                </a:lnTo>
                <a:lnTo>
                  <a:pt x="5387994" y="2941747"/>
                </a:lnTo>
                <a:close/>
                <a:moveTo>
                  <a:pt x="4768270" y="2797929"/>
                </a:moveTo>
                <a:lnTo>
                  <a:pt x="4826606" y="2824078"/>
                </a:lnTo>
                <a:lnTo>
                  <a:pt x="4783705" y="3000059"/>
                </a:lnTo>
                <a:lnTo>
                  <a:pt x="4725368" y="2974041"/>
                </a:lnTo>
                <a:close/>
                <a:moveTo>
                  <a:pt x="3258860" y="2797797"/>
                </a:moveTo>
                <a:lnTo>
                  <a:pt x="3333939" y="2954689"/>
                </a:lnTo>
                <a:lnTo>
                  <a:pt x="3281619" y="3000319"/>
                </a:lnTo>
                <a:lnTo>
                  <a:pt x="3206538" y="2843426"/>
                </a:lnTo>
                <a:close/>
                <a:moveTo>
                  <a:pt x="2828402" y="2797797"/>
                </a:moveTo>
                <a:lnTo>
                  <a:pt x="2935657" y="2934816"/>
                </a:lnTo>
                <a:lnTo>
                  <a:pt x="2890271" y="3000188"/>
                </a:lnTo>
                <a:lnTo>
                  <a:pt x="2783015" y="2863299"/>
                </a:lnTo>
                <a:close/>
                <a:moveTo>
                  <a:pt x="4482999" y="2797536"/>
                </a:moveTo>
                <a:lnTo>
                  <a:pt x="4545651" y="2810610"/>
                </a:lnTo>
                <a:lnTo>
                  <a:pt x="4523416" y="3000059"/>
                </a:lnTo>
                <a:lnTo>
                  <a:pt x="4461548" y="2986724"/>
                </a:lnTo>
                <a:close/>
                <a:moveTo>
                  <a:pt x="4196426" y="2797536"/>
                </a:moveTo>
                <a:lnTo>
                  <a:pt x="4263388" y="2797536"/>
                </a:lnTo>
                <a:lnTo>
                  <a:pt x="4263388" y="2999666"/>
                </a:lnTo>
                <a:lnTo>
                  <a:pt x="4261294" y="2999666"/>
                </a:lnTo>
                <a:lnTo>
                  <a:pt x="4261294" y="2999797"/>
                </a:lnTo>
                <a:lnTo>
                  <a:pt x="4194332" y="2999797"/>
                </a:lnTo>
                <a:lnTo>
                  <a:pt x="4194332" y="2797666"/>
                </a:lnTo>
                <a:lnTo>
                  <a:pt x="4196426" y="2797666"/>
                </a:lnTo>
                <a:close/>
                <a:moveTo>
                  <a:pt x="4118075" y="2797534"/>
                </a:moveTo>
                <a:lnTo>
                  <a:pt x="4128801" y="2993651"/>
                </a:lnTo>
                <a:lnTo>
                  <a:pt x="4064053" y="3000188"/>
                </a:lnTo>
                <a:lnTo>
                  <a:pt x="4053330" y="2804071"/>
                </a:lnTo>
                <a:close/>
                <a:moveTo>
                  <a:pt x="3974849" y="2797534"/>
                </a:moveTo>
                <a:lnTo>
                  <a:pt x="3996303" y="2986722"/>
                </a:lnTo>
                <a:lnTo>
                  <a:pt x="3933650" y="2999665"/>
                </a:lnTo>
                <a:lnTo>
                  <a:pt x="3912199" y="2810609"/>
                </a:lnTo>
                <a:close/>
                <a:moveTo>
                  <a:pt x="3832019" y="2797534"/>
                </a:moveTo>
                <a:lnTo>
                  <a:pt x="3864196" y="2980576"/>
                </a:lnTo>
                <a:lnTo>
                  <a:pt x="3803636" y="3000188"/>
                </a:lnTo>
                <a:lnTo>
                  <a:pt x="3771460" y="2817146"/>
                </a:lnTo>
                <a:close/>
                <a:moveTo>
                  <a:pt x="2542609" y="2797534"/>
                </a:moveTo>
                <a:lnTo>
                  <a:pt x="2671314" y="2921481"/>
                </a:lnTo>
                <a:lnTo>
                  <a:pt x="2630242" y="2999927"/>
                </a:lnTo>
                <a:lnTo>
                  <a:pt x="2501668" y="2876112"/>
                </a:lnTo>
                <a:close/>
                <a:moveTo>
                  <a:pt x="5341429" y="2797405"/>
                </a:moveTo>
                <a:lnTo>
                  <a:pt x="5391132" y="2849704"/>
                </a:lnTo>
                <a:lnTo>
                  <a:pt x="5305329" y="2999666"/>
                </a:lnTo>
                <a:lnTo>
                  <a:pt x="5255626" y="2947369"/>
                </a:lnTo>
                <a:close/>
                <a:moveTo>
                  <a:pt x="5054981" y="2797405"/>
                </a:moveTo>
                <a:lnTo>
                  <a:pt x="5109001" y="2836629"/>
                </a:lnTo>
                <a:lnTo>
                  <a:pt x="5044778" y="2999666"/>
                </a:lnTo>
                <a:lnTo>
                  <a:pt x="4990628" y="2960444"/>
                </a:lnTo>
                <a:close/>
                <a:moveTo>
                  <a:pt x="4912149" y="2797405"/>
                </a:moveTo>
                <a:lnTo>
                  <a:pt x="4968392" y="2830092"/>
                </a:lnTo>
                <a:lnTo>
                  <a:pt x="4914764" y="3000059"/>
                </a:lnTo>
                <a:lnTo>
                  <a:pt x="4858652" y="2967373"/>
                </a:lnTo>
                <a:close/>
                <a:moveTo>
                  <a:pt x="4625831" y="2797405"/>
                </a:moveTo>
                <a:lnTo>
                  <a:pt x="4686390" y="2817017"/>
                </a:lnTo>
                <a:lnTo>
                  <a:pt x="4654213" y="3000059"/>
                </a:lnTo>
                <a:lnTo>
                  <a:pt x="4593654" y="2980447"/>
                </a:lnTo>
                <a:close/>
                <a:moveTo>
                  <a:pt x="3115768" y="2797404"/>
                </a:moveTo>
                <a:lnTo>
                  <a:pt x="3201571" y="2947368"/>
                </a:lnTo>
                <a:lnTo>
                  <a:pt x="3151736" y="2999665"/>
                </a:lnTo>
                <a:lnTo>
                  <a:pt x="3066064" y="2849702"/>
                </a:lnTo>
                <a:close/>
                <a:moveTo>
                  <a:pt x="7776896" y="2797275"/>
                </a:moveTo>
                <a:lnTo>
                  <a:pt x="7778336" y="2813879"/>
                </a:lnTo>
                <a:lnTo>
                  <a:pt x="7920121" y="2797275"/>
                </a:lnTo>
                <a:lnTo>
                  <a:pt x="7921036" y="2810349"/>
                </a:lnTo>
                <a:lnTo>
                  <a:pt x="8063346" y="2797275"/>
                </a:lnTo>
                <a:lnTo>
                  <a:pt x="8063346" y="2806557"/>
                </a:lnTo>
                <a:lnTo>
                  <a:pt x="8206046" y="2797275"/>
                </a:lnTo>
                <a:lnTo>
                  <a:pt x="8206046" y="2803158"/>
                </a:lnTo>
                <a:lnTo>
                  <a:pt x="8215202" y="2803158"/>
                </a:lnTo>
                <a:lnTo>
                  <a:pt x="8303100" y="2799498"/>
                </a:lnTo>
                <a:lnTo>
                  <a:pt x="8303100" y="2797536"/>
                </a:lnTo>
                <a:lnTo>
                  <a:pt x="12191607" y="2797536"/>
                </a:lnTo>
                <a:lnTo>
                  <a:pt x="12191607" y="3000059"/>
                </a:lnTo>
                <a:lnTo>
                  <a:pt x="8304406" y="3000320"/>
                </a:lnTo>
                <a:lnTo>
                  <a:pt x="8304406" y="2997706"/>
                </a:lnTo>
                <a:lnTo>
                  <a:pt x="8173609" y="3000320"/>
                </a:lnTo>
                <a:lnTo>
                  <a:pt x="8173609" y="2994961"/>
                </a:lnTo>
                <a:lnTo>
                  <a:pt x="8042810" y="3000320"/>
                </a:lnTo>
                <a:lnTo>
                  <a:pt x="8042810" y="2991953"/>
                </a:lnTo>
                <a:lnTo>
                  <a:pt x="7912012" y="3000320"/>
                </a:lnTo>
                <a:lnTo>
                  <a:pt x="7912012" y="2988684"/>
                </a:lnTo>
                <a:lnTo>
                  <a:pt x="7782128" y="3000320"/>
                </a:lnTo>
                <a:lnTo>
                  <a:pt x="7781344" y="2985285"/>
                </a:lnTo>
                <a:lnTo>
                  <a:pt x="7651722" y="3000320"/>
                </a:lnTo>
                <a:lnTo>
                  <a:pt x="7650545" y="2981493"/>
                </a:lnTo>
                <a:lnTo>
                  <a:pt x="7521447" y="3000320"/>
                </a:lnTo>
                <a:lnTo>
                  <a:pt x="7519616" y="2977572"/>
                </a:lnTo>
                <a:lnTo>
                  <a:pt x="7391172" y="3000320"/>
                </a:lnTo>
                <a:lnTo>
                  <a:pt x="7388556" y="2973388"/>
                </a:lnTo>
                <a:lnTo>
                  <a:pt x="7260766" y="3000320"/>
                </a:lnTo>
                <a:lnTo>
                  <a:pt x="7257234" y="2968811"/>
                </a:lnTo>
                <a:lnTo>
                  <a:pt x="7130491" y="3000320"/>
                </a:lnTo>
                <a:lnTo>
                  <a:pt x="7125651" y="2964104"/>
                </a:lnTo>
                <a:lnTo>
                  <a:pt x="7000215" y="3000320"/>
                </a:lnTo>
                <a:lnTo>
                  <a:pt x="6993675" y="2959005"/>
                </a:lnTo>
                <a:lnTo>
                  <a:pt x="6869941" y="3000320"/>
                </a:lnTo>
                <a:lnTo>
                  <a:pt x="6861307" y="2953646"/>
                </a:lnTo>
                <a:lnTo>
                  <a:pt x="6739534" y="3000320"/>
                </a:lnTo>
                <a:lnTo>
                  <a:pt x="6728548" y="2948023"/>
                </a:lnTo>
                <a:lnTo>
                  <a:pt x="6609259" y="3000320"/>
                </a:lnTo>
                <a:lnTo>
                  <a:pt x="6595263" y="2942140"/>
                </a:lnTo>
                <a:lnTo>
                  <a:pt x="6478983" y="3000320"/>
                </a:lnTo>
                <a:lnTo>
                  <a:pt x="6461456" y="2936126"/>
                </a:lnTo>
                <a:lnTo>
                  <a:pt x="6348578" y="3000320"/>
                </a:lnTo>
                <a:lnTo>
                  <a:pt x="6326733" y="2929980"/>
                </a:lnTo>
                <a:lnTo>
                  <a:pt x="6218303" y="3000320"/>
                </a:lnTo>
                <a:lnTo>
                  <a:pt x="6191358" y="2924097"/>
                </a:lnTo>
                <a:lnTo>
                  <a:pt x="6088026" y="3000320"/>
                </a:lnTo>
                <a:lnTo>
                  <a:pt x="6055066" y="2918475"/>
                </a:lnTo>
                <a:lnTo>
                  <a:pt x="5957752" y="3000320"/>
                </a:lnTo>
                <a:lnTo>
                  <a:pt x="5918512" y="2915599"/>
                </a:lnTo>
                <a:lnTo>
                  <a:pt x="6057943" y="2797929"/>
                </a:lnTo>
                <a:lnTo>
                  <a:pt x="6094175" y="2876375"/>
                </a:lnTo>
                <a:lnTo>
                  <a:pt x="6201168" y="2797929"/>
                </a:lnTo>
                <a:lnTo>
                  <a:pt x="6230729" y="2871668"/>
                </a:lnTo>
                <a:lnTo>
                  <a:pt x="6344261" y="2797929"/>
                </a:lnTo>
                <a:lnTo>
                  <a:pt x="6368327" y="2865915"/>
                </a:lnTo>
                <a:lnTo>
                  <a:pt x="6487486" y="2797929"/>
                </a:lnTo>
                <a:lnTo>
                  <a:pt x="6506843" y="2860032"/>
                </a:lnTo>
                <a:lnTo>
                  <a:pt x="6630841" y="2797536"/>
                </a:lnTo>
                <a:lnTo>
                  <a:pt x="6646144" y="2853757"/>
                </a:lnTo>
                <a:lnTo>
                  <a:pt x="6774064" y="2797536"/>
                </a:lnTo>
                <a:lnTo>
                  <a:pt x="6786097" y="2847872"/>
                </a:lnTo>
                <a:lnTo>
                  <a:pt x="6916896" y="2797536"/>
                </a:lnTo>
                <a:lnTo>
                  <a:pt x="6926183" y="2842382"/>
                </a:lnTo>
                <a:lnTo>
                  <a:pt x="7060383" y="2797536"/>
                </a:lnTo>
                <a:lnTo>
                  <a:pt x="7067445" y="2836760"/>
                </a:lnTo>
                <a:lnTo>
                  <a:pt x="7203476" y="2797536"/>
                </a:lnTo>
                <a:lnTo>
                  <a:pt x="7208969" y="2831791"/>
                </a:lnTo>
                <a:lnTo>
                  <a:pt x="7346701" y="2797536"/>
                </a:lnTo>
                <a:lnTo>
                  <a:pt x="7350756" y="2826954"/>
                </a:lnTo>
                <a:lnTo>
                  <a:pt x="7489924" y="2797536"/>
                </a:lnTo>
                <a:lnTo>
                  <a:pt x="7492803" y="2822509"/>
                </a:lnTo>
                <a:lnTo>
                  <a:pt x="7633149" y="2797536"/>
                </a:lnTo>
                <a:lnTo>
                  <a:pt x="7635111" y="2818193"/>
                </a:lnTo>
                <a:close/>
                <a:moveTo>
                  <a:pt x="2256680" y="2797273"/>
                </a:moveTo>
                <a:lnTo>
                  <a:pt x="2363676" y="2875720"/>
                </a:lnTo>
                <a:lnTo>
                  <a:pt x="2399907" y="2797273"/>
                </a:lnTo>
                <a:lnTo>
                  <a:pt x="2539208" y="2914943"/>
                </a:lnTo>
                <a:lnTo>
                  <a:pt x="2499966" y="2999665"/>
                </a:lnTo>
                <a:lnTo>
                  <a:pt x="2402653" y="2917819"/>
                </a:lnTo>
                <a:lnTo>
                  <a:pt x="2369692" y="2999665"/>
                </a:lnTo>
                <a:lnTo>
                  <a:pt x="2266362" y="2923441"/>
                </a:lnTo>
                <a:lnTo>
                  <a:pt x="2239287" y="2999665"/>
                </a:lnTo>
                <a:lnTo>
                  <a:pt x="2130855" y="2929325"/>
                </a:lnTo>
                <a:lnTo>
                  <a:pt x="2109011" y="2999665"/>
                </a:lnTo>
                <a:lnTo>
                  <a:pt x="1996262" y="2935470"/>
                </a:lnTo>
                <a:lnTo>
                  <a:pt x="1978736" y="2999665"/>
                </a:lnTo>
                <a:lnTo>
                  <a:pt x="1862325" y="2941484"/>
                </a:lnTo>
                <a:lnTo>
                  <a:pt x="1848460" y="2999665"/>
                </a:lnTo>
                <a:lnTo>
                  <a:pt x="1729041" y="2947368"/>
                </a:lnTo>
                <a:lnTo>
                  <a:pt x="1718054" y="2999665"/>
                </a:lnTo>
                <a:lnTo>
                  <a:pt x="1596281" y="2952990"/>
                </a:lnTo>
                <a:lnTo>
                  <a:pt x="1587779" y="2999665"/>
                </a:lnTo>
                <a:lnTo>
                  <a:pt x="1464043" y="2958350"/>
                </a:lnTo>
                <a:lnTo>
                  <a:pt x="1457503" y="2999665"/>
                </a:lnTo>
                <a:lnTo>
                  <a:pt x="1332067" y="2963450"/>
                </a:lnTo>
                <a:lnTo>
                  <a:pt x="1327098" y="2999665"/>
                </a:lnTo>
                <a:lnTo>
                  <a:pt x="1200484" y="2968156"/>
                </a:lnTo>
                <a:lnTo>
                  <a:pt x="1196822" y="2999665"/>
                </a:lnTo>
                <a:lnTo>
                  <a:pt x="1069168" y="2972732"/>
                </a:lnTo>
                <a:lnTo>
                  <a:pt x="1066552" y="2999665"/>
                </a:lnTo>
                <a:lnTo>
                  <a:pt x="937977" y="2976916"/>
                </a:lnTo>
                <a:lnTo>
                  <a:pt x="936278" y="2999665"/>
                </a:lnTo>
                <a:lnTo>
                  <a:pt x="807050" y="2980839"/>
                </a:lnTo>
                <a:lnTo>
                  <a:pt x="805873" y="2999665"/>
                </a:lnTo>
                <a:lnTo>
                  <a:pt x="676383" y="2984630"/>
                </a:lnTo>
                <a:lnTo>
                  <a:pt x="675597" y="2999665"/>
                </a:lnTo>
                <a:lnTo>
                  <a:pt x="545715" y="2988029"/>
                </a:lnTo>
                <a:lnTo>
                  <a:pt x="545715" y="2999665"/>
                </a:lnTo>
                <a:lnTo>
                  <a:pt x="415570" y="2991297"/>
                </a:lnTo>
                <a:lnTo>
                  <a:pt x="415570" y="2999665"/>
                </a:lnTo>
                <a:lnTo>
                  <a:pt x="285426" y="2994305"/>
                </a:lnTo>
                <a:lnTo>
                  <a:pt x="285426" y="2999665"/>
                </a:lnTo>
                <a:lnTo>
                  <a:pt x="154631" y="2997050"/>
                </a:lnTo>
                <a:lnTo>
                  <a:pt x="154631" y="2999665"/>
                </a:lnTo>
                <a:lnTo>
                  <a:pt x="0" y="2999691"/>
                </a:lnTo>
                <a:lnTo>
                  <a:pt x="0" y="2798188"/>
                </a:lnTo>
                <a:lnTo>
                  <a:pt x="155678" y="2798188"/>
                </a:lnTo>
                <a:lnTo>
                  <a:pt x="155678" y="2800150"/>
                </a:lnTo>
                <a:lnTo>
                  <a:pt x="243575" y="2803810"/>
                </a:lnTo>
                <a:lnTo>
                  <a:pt x="252599" y="2803810"/>
                </a:lnTo>
                <a:lnTo>
                  <a:pt x="252599" y="2797927"/>
                </a:lnTo>
                <a:lnTo>
                  <a:pt x="395296" y="2807210"/>
                </a:lnTo>
                <a:lnTo>
                  <a:pt x="395296" y="2797927"/>
                </a:lnTo>
                <a:lnTo>
                  <a:pt x="537737" y="2811002"/>
                </a:lnTo>
                <a:lnTo>
                  <a:pt x="538521" y="2797927"/>
                </a:lnTo>
                <a:lnTo>
                  <a:pt x="680438" y="2814531"/>
                </a:lnTo>
                <a:lnTo>
                  <a:pt x="681746" y="2797927"/>
                </a:lnTo>
                <a:lnTo>
                  <a:pt x="823009" y="2818585"/>
                </a:lnTo>
                <a:lnTo>
                  <a:pt x="824969" y="2797927"/>
                </a:lnTo>
                <a:lnTo>
                  <a:pt x="965314" y="2822899"/>
                </a:lnTo>
                <a:lnTo>
                  <a:pt x="968192" y="2797927"/>
                </a:lnTo>
                <a:lnTo>
                  <a:pt x="1107361" y="2827345"/>
                </a:lnTo>
                <a:lnTo>
                  <a:pt x="1111279" y="2797927"/>
                </a:lnTo>
                <a:lnTo>
                  <a:pt x="1249142" y="2832181"/>
                </a:lnTo>
                <a:lnTo>
                  <a:pt x="1254504" y="2797927"/>
                </a:lnTo>
                <a:lnTo>
                  <a:pt x="1390534" y="2837150"/>
                </a:lnTo>
                <a:lnTo>
                  <a:pt x="1397729" y="2797927"/>
                </a:lnTo>
                <a:lnTo>
                  <a:pt x="1531535" y="2842772"/>
                </a:lnTo>
                <a:lnTo>
                  <a:pt x="1540952" y="2797927"/>
                </a:lnTo>
                <a:lnTo>
                  <a:pt x="1671751" y="2848264"/>
                </a:lnTo>
                <a:lnTo>
                  <a:pt x="1683786" y="2797927"/>
                </a:lnTo>
                <a:lnTo>
                  <a:pt x="1811575" y="2854147"/>
                </a:lnTo>
                <a:lnTo>
                  <a:pt x="1826878" y="2797927"/>
                </a:lnTo>
                <a:lnTo>
                  <a:pt x="1950876" y="2860030"/>
                </a:lnTo>
                <a:lnTo>
                  <a:pt x="1969579" y="2797534"/>
                </a:lnTo>
                <a:lnTo>
                  <a:pt x="2088736" y="2865522"/>
                </a:lnTo>
                <a:lnTo>
                  <a:pt x="2112805" y="2797534"/>
                </a:lnTo>
                <a:lnTo>
                  <a:pt x="2226992" y="2871012"/>
                </a:lnTo>
                <a:close/>
                <a:moveTo>
                  <a:pt x="5198336" y="2797144"/>
                </a:moveTo>
                <a:lnTo>
                  <a:pt x="5250655" y="2842773"/>
                </a:lnTo>
                <a:lnTo>
                  <a:pt x="5175576" y="2999666"/>
                </a:lnTo>
                <a:lnTo>
                  <a:pt x="5123257" y="2954037"/>
                </a:lnTo>
                <a:close/>
                <a:moveTo>
                  <a:pt x="4337943" y="2797014"/>
                </a:moveTo>
                <a:lnTo>
                  <a:pt x="4403342" y="2803551"/>
                </a:lnTo>
                <a:lnTo>
                  <a:pt x="4392617" y="2999666"/>
                </a:lnTo>
                <a:lnTo>
                  <a:pt x="4327218" y="2993131"/>
                </a:lnTo>
                <a:close/>
                <a:moveTo>
                  <a:pt x="3545310" y="2796881"/>
                </a:moveTo>
                <a:lnTo>
                  <a:pt x="3598934" y="2966849"/>
                </a:lnTo>
                <a:lnTo>
                  <a:pt x="3542691" y="2999534"/>
                </a:lnTo>
                <a:lnTo>
                  <a:pt x="3489065" y="2829567"/>
                </a:lnTo>
                <a:close/>
                <a:moveTo>
                  <a:pt x="3688533" y="2541668"/>
                </a:moveTo>
                <a:lnTo>
                  <a:pt x="3731435" y="2717781"/>
                </a:lnTo>
                <a:lnTo>
                  <a:pt x="3673098" y="2743798"/>
                </a:lnTo>
                <a:lnTo>
                  <a:pt x="3630198" y="2567817"/>
                </a:lnTo>
                <a:close/>
                <a:moveTo>
                  <a:pt x="3402084" y="2541668"/>
                </a:moveTo>
                <a:lnTo>
                  <a:pt x="3466438" y="2704706"/>
                </a:lnTo>
                <a:lnTo>
                  <a:pt x="3412419" y="2743798"/>
                </a:lnTo>
                <a:lnTo>
                  <a:pt x="3348062" y="2580892"/>
                </a:lnTo>
                <a:close/>
                <a:moveTo>
                  <a:pt x="4768270" y="2541408"/>
                </a:moveTo>
                <a:lnTo>
                  <a:pt x="4826606" y="2567557"/>
                </a:lnTo>
                <a:lnTo>
                  <a:pt x="4783705" y="2743539"/>
                </a:lnTo>
                <a:lnTo>
                  <a:pt x="4725368" y="2717520"/>
                </a:lnTo>
                <a:close/>
                <a:moveTo>
                  <a:pt x="5914327" y="2541277"/>
                </a:moveTo>
                <a:lnTo>
                  <a:pt x="5955397" y="2619724"/>
                </a:lnTo>
                <a:lnTo>
                  <a:pt x="5826691" y="2743669"/>
                </a:lnTo>
                <a:lnTo>
                  <a:pt x="5785621" y="2665223"/>
                </a:lnTo>
                <a:close/>
                <a:moveTo>
                  <a:pt x="5627747" y="2541277"/>
                </a:moveTo>
                <a:lnTo>
                  <a:pt x="5673134" y="2606649"/>
                </a:lnTo>
                <a:lnTo>
                  <a:pt x="5565880" y="2743539"/>
                </a:lnTo>
                <a:lnTo>
                  <a:pt x="5520492" y="2678298"/>
                </a:lnTo>
                <a:close/>
                <a:moveTo>
                  <a:pt x="3258860" y="2541276"/>
                </a:moveTo>
                <a:lnTo>
                  <a:pt x="3333939" y="2698169"/>
                </a:lnTo>
                <a:lnTo>
                  <a:pt x="3281619" y="2743798"/>
                </a:lnTo>
                <a:lnTo>
                  <a:pt x="3206538" y="2586905"/>
                </a:lnTo>
                <a:close/>
                <a:moveTo>
                  <a:pt x="2541954" y="2541276"/>
                </a:moveTo>
                <a:lnTo>
                  <a:pt x="2670659" y="2665221"/>
                </a:lnTo>
                <a:lnTo>
                  <a:pt x="2629587" y="2743668"/>
                </a:lnTo>
                <a:lnTo>
                  <a:pt x="2501015" y="2619723"/>
                </a:lnTo>
                <a:close/>
                <a:moveTo>
                  <a:pt x="5771102" y="2541015"/>
                </a:moveTo>
                <a:lnTo>
                  <a:pt x="5814397" y="2612794"/>
                </a:lnTo>
                <a:lnTo>
                  <a:pt x="5696678" y="2743408"/>
                </a:lnTo>
                <a:lnTo>
                  <a:pt x="5653383" y="2671760"/>
                </a:lnTo>
                <a:close/>
                <a:moveTo>
                  <a:pt x="5484784" y="2541015"/>
                </a:moveTo>
                <a:lnTo>
                  <a:pt x="5532264" y="2599720"/>
                </a:lnTo>
                <a:lnTo>
                  <a:pt x="5435735" y="2743539"/>
                </a:lnTo>
                <a:lnTo>
                  <a:pt x="5388255" y="2684835"/>
                </a:lnTo>
                <a:close/>
                <a:moveTo>
                  <a:pt x="5341952" y="2541015"/>
                </a:moveTo>
                <a:lnTo>
                  <a:pt x="5391656" y="2593314"/>
                </a:lnTo>
                <a:lnTo>
                  <a:pt x="5305852" y="2743278"/>
                </a:lnTo>
                <a:lnTo>
                  <a:pt x="5256148" y="2690979"/>
                </a:lnTo>
                <a:close/>
                <a:moveTo>
                  <a:pt x="5054981" y="2541015"/>
                </a:moveTo>
                <a:lnTo>
                  <a:pt x="5109001" y="2580239"/>
                </a:lnTo>
                <a:lnTo>
                  <a:pt x="5044778" y="2743146"/>
                </a:lnTo>
                <a:lnTo>
                  <a:pt x="4990628" y="2704054"/>
                </a:lnTo>
                <a:close/>
                <a:moveTo>
                  <a:pt x="4482999" y="2541015"/>
                </a:moveTo>
                <a:lnTo>
                  <a:pt x="4545651" y="2554090"/>
                </a:lnTo>
                <a:lnTo>
                  <a:pt x="4523939" y="2743146"/>
                </a:lnTo>
                <a:lnTo>
                  <a:pt x="4461548" y="2730203"/>
                </a:lnTo>
                <a:close/>
                <a:moveTo>
                  <a:pt x="4194332" y="2541014"/>
                </a:moveTo>
                <a:lnTo>
                  <a:pt x="4261294" y="2541014"/>
                </a:lnTo>
                <a:lnTo>
                  <a:pt x="4261294" y="2541015"/>
                </a:lnTo>
                <a:lnTo>
                  <a:pt x="4263388" y="2541015"/>
                </a:lnTo>
                <a:lnTo>
                  <a:pt x="4263388" y="2743146"/>
                </a:lnTo>
                <a:lnTo>
                  <a:pt x="4196426" y="2743146"/>
                </a:lnTo>
                <a:lnTo>
                  <a:pt x="4196426" y="2743144"/>
                </a:lnTo>
                <a:lnTo>
                  <a:pt x="4194332" y="2743144"/>
                </a:lnTo>
                <a:close/>
                <a:moveTo>
                  <a:pt x="4118075" y="2541014"/>
                </a:moveTo>
                <a:lnTo>
                  <a:pt x="4128801" y="2737131"/>
                </a:lnTo>
                <a:lnTo>
                  <a:pt x="4064053" y="2743668"/>
                </a:lnTo>
                <a:lnTo>
                  <a:pt x="4053330" y="2547551"/>
                </a:lnTo>
                <a:close/>
                <a:moveTo>
                  <a:pt x="3974849" y="2541014"/>
                </a:moveTo>
                <a:lnTo>
                  <a:pt x="3996303" y="2730202"/>
                </a:lnTo>
                <a:lnTo>
                  <a:pt x="3933650" y="2743144"/>
                </a:lnTo>
                <a:lnTo>
                  <a:pt x="3912199" y="2554088"/>
                </a:lnTo>
                <a:close/>
                <a:moveTo>
                  <a:pt x="3832019" y="2541014"/>
                </a:moveTo>
                <a:lnTo>
                  <a:pt x="3864196" y="2724056"/>
                </a:lnTo>
                <a:lnTo>
                  <a:pt x="3803636" y="2743668"/>
                </a:lnTo>
                <a:lnTo>
                  <a:pt x="3771460" y="2560626"/>
                </a:lnTo>
                <a:close/>
                <a:moveTo>
                  <a:pt x="3115768" y="2541014"/>
                </a:moveTo>
                <a:lnTo>
                  <a:pt x="3201571" y="2690978"/>
                </a:lnTo>
                <a:lnTo>
                  <a:pt x="3151736" y="2743276"/>
                </a:lnTo>
                <a:lnTo>
                  <a:pt x="3066064" y="2593312"/>
                </a:lnTo>
                <a:close/>
                <a:moveTo>
                  <a:pt x="4912149" y="2540885"/>
                </a:moveTo>
                <a:lnTo>
                  <a:pt x="4968392" y="2573571"/>
                </a:lnTo>
                <a:lnTo>
                  <a:pt x="4914764" y="2743539"/>
                </a:lnTo>
                <a:lnTo>
                  <a:pt x="4858652" y="2710852"/>
                </a:lnTo>
                <a:close/>
                <a:moveTo>
                  <a:pt x="4625831" y="2540885"/>
                </a:moveTo>
                <a:lnTo>
                  <a:pt x="4686390" y="2560497"/>
                </a:lnTo>
                <a:lnTo>
                  <a:pt x="4654213" y="2743539"/>
                </a:lnTo>
                <a:lnTo>
                  <a:pt x="4593654" y="2723927"/>
                </a:lnTo>
                <a:close/>
                <a:moveTo>
                  <a:pt x="2829319" y="2540753"/>
                </a:moveTo>
                <a:lnTo>
                  <a:pt x="2936571" y="2677773"/>
                </a:lnTo>
                <a:lnTo>
                  <a:pt x="2891186" y="2743014"/>
                </a:lnTo>
                <a:lnTo>
                  <a:pt x="2783932" y="2606124"/>
                </a:lnTo>
                <a:close/>
                <a:moveTo>
                  <a:pt x="2686354" y="2540753"/>
                </a:moveTo>
                <a:lnTo>
                  <a:pt x="2804073" y="2671498"/>
                </a:lnTo>
                <a:lnTo>
                  <a:pt x="2760911" y="2743144"/>
                </a:lnTo>
                <a:lnTo>
                  <a:pt x="2643192" y="2612531"/>
                </a:lnTo>
                <a:close/>
                <a:moveTo>
                  <a:pt x="2256680" y="2540753"/>
                </a:moveTo>
                <a:lnTo>
                  <a:pt x="2363676" y="2619199"/>
                </a:lnTo>
                <a:lnTo>
                  <a:pt x="2399907" y="2540753"/>
                </a:lnTo>
                <a:lnTo>
                  <a:pt x="2539208" y="2658423"/>
                </a:lnTo>
                <a:lnTo>
                  <a:pt x="2499966" y="2743144"/>
                </a:lnTo>
                <a:lnTo>
                  <a:pt x="2402653" y="2661299"/>
                </a:lnTo>
                <a:lnTo>
                  <a:pt x="2369692" y="2743144"/>
                </a:lnTo>
                <a:lnTo>
                  <a:pt x="2266362" y="2666921"/>
                </a:lnTo>
                <a:lnTo>
                  <a:pt x="2239287" y="2743144"/>
                </a:lnTo>
                <a:lnTo>
                  <a:pt x="2130855" y="2672804"/>
                </a:lnTo>
                <a:lnTo>
                  <a:pt x="2109011" y="2743144"/>
                </a:lnTo>
                <a:lnTo>
                  <a:pt x="1996262" y="2678950"/>
                </a:lnTo>
                <a:lnTo>
                  <a:pt x="1978736" y="2743144"/>
                </a:lnTo>
                <a:lnTo>
                  <a:pt x="1862325" y="2684964"/>
                </a:lnTo>
                <a:lnTo>
                  <a:pt x="1848460" y="2743144"/>
                </a:lnTo>
                <a:lnTo>
                  <a:pt x="1729041" y="2690847"/>
                </a:lnTo>
                <a:lnTo>
                  <a:pt x="1718054" y="2743144"/>
                </a:lnTo>
                <a:lnTo>
                  <a:pt x="1596281" y="2696469"/>
                </a:lnTo>
                <a:lnTo>
                  <a:pt x="1587779" y="2743144"/>
                </a:lnTo>
                <a:lnTo>
                  <a:pt x="1464043" y="2701829"/>
                </a:lnTo>
                <a:lnTo>
                  <a:pt x="1457503" y="2743144"/>
                </a:lnTo>
                <a:lnTo>
                  <a:pt x="1332067" y="2706929"/>
                </a:lnTo>
                <a:lnTo>
                  <a:pt x="1327098" y="2743144"/>
                </a:lnTo>
                <a:lnTo>
                  <a:pt x="1200484" y="2711635"/>
                </a:lnTo>
                <a:lnTo>
                  <a:pt x="1196822" y="2743144"/>
                </a:lnTo>
                <a:lnTo>
                  <a:pt x="1069168" y="2716212"/>
                </a:lnTo>
                <a:lnTo>
                  <a:pt x="1066552" y="2743144"/>
                </a:lnTo>
                <a:lnTo>
                  <a:pt x="937977" y="2720396"/>
                </a:lnTo>
                <a:lnTo>
                  <a:pt x="936278" y="2743144"/>
                </a:lnTo>
                <a:lnTo>
                  <a:pt x="807050" y="2724318"/>
                </a:lnTo>
                <a:lnTo>
                  <a:pt x="805873" y="2743144"/>
                </a:lnTo>
                <a:lnTo>
                  <a:pt x="676383" y="2728109"/>
                </a:lnTo>
                <a:lnTo>
                  <a:pt x="675597" y="2743144"/>
                </a:lnTo>
                <a:lnTo>
                  <a:pt x="545715" y="2731508"/>
                </a:lnTo>
                <a:lnTo>
                  <a:pt x="545715" y="2743144"/>
                </a:lnTo>
                <a:lnTo>
                  <a:pt x="415570" y="2734777"/>
                </a:lnTo>
                <a:lnTo>
                  <a:pt x="415570" y="2743144"/>
                </a:lnTo>
                <a:lnTo>
                  <a:pt x="285426" y="2737785"/>
                </a:lnTo>
                <a:lnTo>
                  <a:pt x="285426" y="2743144"/>
                </a:lnTo>
                <a:lnTo>
                  <a:pt x="154631" y="2740530"/>
                </a:lnTo>
                <a:lnTo>
                  <a:pt x="154631" y="2743407"/>
                </a:lnTo>
                <a:lnTo>
                  <a:pt x="0" y="2743407"/>
                </a:lnTo>
                <a:lnTo>
                  <a:pt x="0" y="2541276"/>
                </a:lnTo>
                <a:lnTo>
                  <a:pt x="155285" y="2541276"/>
                </a:lnTo>
                <a:lnTo>
                  <a:pt x="155285" y="2543237"/>
                </a:lnTo>
                <a:lnTo>
                  <a:pt x="243182" y="2546898"/>
                </a:lnTo>
                <a:lnTo>
                  <a:pt x="252207" y="2546898"/>
                </a:lnTo>
                <a:lnTo>
                  <a:pt x="252207" y="2541014"/>
                </a:lnTo>
                <a:lnTo>
                  <a:pt x="394905" y="2550298"/>
                </a:lnTo>
                <a:lnTo>
                  <a:pt x="394905" y="2541014"/>
                </a:lnTo>
                <a:lnTo>
                  <a:pt x="537344" y="2554088"/>
                </a:lnTo>
                <a:lnTo>
                  <a:pt x="538128" y="2541014"/>
                </a:lnTo>
                <a:lnTo>
                  <a:pt x="680045" y="2557619"/>
                </a:lnTo>
                <a:lnTo>
                  <a:pt x="681353" y="2541014"/>
                </a:lnTo>
                <a:lnTo>
                  <a:pt x="822616" y="2561671"/>
                </a:lnTo>
                <a:lnTo>
                  <a:pt x="824578" y="2541014"/>
                </a:lnTo>
                <a:lnTo>
                  <a:pt x="964922" y="2565987"/>
                </a:lnTo>
                <a:lnTo>
                  <a:pt x="967799" y="2541014"/>
                </a:lnTo>
                <a:lnTo>
                  <a:pt x="1106968" y="2570432"/>
                </a:lnTo>
                <a:lnTo>
                  <a:pt x="1110888" y="2541014"/>
                </a:lnTo>
                <a:lnTo>
                  <a:pt x="1248748" y="2575269"/>
                </a:lnTo>
                <a:lnTo>
                  <a:pt x="1254113" y="2541014"/>
                </a:lnTo>
                <a:lnTo>
                  <a:pt x="1390141" y="2580238"/>
                </a:lnTo>
                <a:lnTo>
                  <a:pt x="1397336" y="2541014"/>
                </a:lnTo>
                <a:lnTo>
                  <a:pt x="1531928" y="2585860"/>
                </a:lnTo>
                <a:lnTo>
                  <a:pt x="1541345" y="2541014"/>
                </a:lnTo>
                <a:lnTo>
                  <a:pt x="1672144" y="2591350"/>
                </a:lnTo>
                <a:lnTo>
                  <a:pt x="1684177" y="2541014"/>
                </a:lnTo>
                <a:lnTo>
                  <a:pt x="1811966" y="2597235"/>
                </a:lnTo>
                <a:lnTo>
                  <a:pt x="1826355" y="2541014"/>
                </a:lnTo>
                <a:lnTo>
                  <a:pt x="1950352" y="2603118"/>
                </a:lnTo>
                <a:lnTo>
                  <a:pt x="1969579" y="2541014"/>
                </a:lnTo>
                <a:lnTo>
                  <a:pt x="2088736" y="2609002"/>
                </a:lnTo>
                <a:lnTo>
                  <a:pt x="2112805" y="2541014"/>
                </a:lnTo>
                <a:lnTo>
                  <a:pt x="2226992" y="2614493"/>
                </a:lnTo>
                <a:close/>
                <a:moveTo>
                  <a:pt x="6058074" y="2540623"/>
                </a:moveTo>
                <a:lnTo>
                  <a:pt x="6094305" y="2619070"/>
                </a:lnTo>
                <a:lnTo>
                  <a:pt x="6201298" y="2540623"/>
                </a:lnTo>
                <a:lnTo>
                  <a:pt x="6230859" y="2614363"/>
                </a:lnTo>
                <a:lnTo>
                  <a:pt x="6344393" y="2540623"/>
                </a:lnTo>
                <a:lnTo>
                  <a:pt x="6368459" y="2608610"/>
                </a:lnTo>
                <a:lnTo>
                  <a:pt x="6487616" y="2540623"/>
                </a:lnTo>
                <a:lnTo>
                  <a:pt x="6506974" y="2602727"/>
                </a:lnTo>
                <a:lnTo>
                  <a:pt x="6630841" y="2540623"/>
                </a:lnTo>
                <a:lnTo>
                  <a:pt x="6646144" y="2596843"/>
                </a:lnTo>
                <a:lnTo>
                  <a:pt x="6774064" y="2540623"/>
                </a:lnTo>
                <a:lnTo>
                  <a:pt x="6786097" y="2590960"/>
                </a:lnTo>
                <a:lnTo>
                  <a:pt x="6916896" y="2540623"/>
                </a:lnTo>
                <a:lnTo>
                  <a:pt x="6926183" y="2585468"/>
                </a:lnTo>
                <a:lnTo>
                  <a:pt x="7060514" y="2541015"/>
                </a:lnTo>
                <a:lnTo>
                  <a:pt x="7067576" y="2580239"/>
                </a:lnTo>
                <a:lnTo>
                  <a:pt x="7203607" y="2541015"/>
                </a:lnTo>
                <a:lnTo>
                  <a:pt x="7209101" y="2575271"/>
                </a:lnTo>
                <a:lnTo>
                  <a:pt x="7346832" y="2541015"/>
                </a:lnTo>
                <a:lnTo>
                  <a:pt x="7350886" y="2570433"/>
                </a:lnTo>
                <a:lnTo>
                  <a:pt x="7490055" y="2541015"/>
                </a:lnTo>
                <a:lnTo>
                  <a:pt x="7492933" y="2565988"/>
                </a:lnTo>
                <a:lnTo>
                  <a:pt x="7633280" y="2541015"/>
                </a:lnTo>
                <a:lnTo>
                  <a:pt x="7635242" y="2561673"/>
                </a:lnTo>
                <a:lnTo>
                  <a:pt x="7776374" y="2541015"/>
                </a:lnTo>
                <a:lnTo>
                  <a:pt x="7778336" y="2557358"/>
                </a:lnTo>
                <a:lnTo>
                  <a:pt x="7920121" y="2540754"/>
                </a:lnTo>
                <a:lnTo>
                  <a:pt x="7921036" y="2553829"/>
                </a:lnTo>
                <a:lnTo>
                  <a:pt x="8063346" y="2540754"/>
                </a:lnTo>
                <a:lnTo>
                  <a:pt x="8063346" y="2550037"/>
                </a:lnTo>
                <a:lnTo>
                  <a:pt x="8206046" y="2540754"/>
                </a:lnTo>
                <a:lnTo>
                  <a:pt x="8206046" y="2546637"/>
                </a:lnTo>
                <a:lnTo>
                  <a:pt x="8215071" y="2546637"/>
                </a:lnTo>
                <a:lnTo>
                  <a:pt x="8303100" y="2542977"/>
                </a:lnTo>
                <a:lnTo>
                  <a:pt x="8303100" y="2541015"/>
                </a:lnTo>
                <a:lnTo>
                  <a:pt x="12191607" y="2541015"/>
                </a:lnTo>
                <a:lnTo>
                  <a:pt x="12191607" y="2743539"/>
                </a:lnTo>
                <a:lnTo>
                  <a:pt x="8303100" y="2743539"/>
                </a:lnTo>
                <a:lnTo>
                  <a:pt x="8304538" y="2740401"/>
                </a:lnTo>
                <a:lnTo>
                  <a:pt x="8173740" y="2743015"/>
                </a:lnTo>
                <a:lnTo>
                  <a:pt x="8173740" y="2737656"/>
                </a:lnTo>
                <a:lnTo>
                  <a:pt x="8042941" y="2743015"/>
                </a:lnTo>
                <a:lnTo>
                  <a:pt x="8042941" y="2734648"/>
                </a:lnTo>
                <a:lnTo>
                  <a:pt x="7912142" y="2743015"/>
                </a:lnTo>
                <a:lnTo>
                  <a:pt x="7912142" y="2731379"/>
                </a:lnTo>
                <a:lnTo>
                  <a:pt x="7782260" y="2743015"/>
                </a:lnTo>
                <a:lnTo>
                  <a:pt x="7781476" y="2727980"/>
                </a:lnTo>
                <a:lnTo>
                  <a:pt x="7651853" y="2743015"/>
                </a:lnTo>
                <a:lnTo>
                  <a:pt x="7650677" y="2724188"/>
                </a:lnTo>
                <a:lnTo>
                  <a:pt x="7521578" y="2743015"/>
                </a:lnTo>
                <a:lnTo>
                  <a:pt x="7519746" y="2720267"/>
                </a:lnTo>
                <a:lnTo>
                  <a:pt x="7391303" y="2743015"/>
                </a:lnTo>
                <a:lnTo>
                  <a:pt x="7388687" y="2716083"/>
                </a:lnTo>
                <a:lnTo>
                  <a:pt x="7260897" y="2743015"/>
                </a:lnTo>
                <a:lnTo>
                  <a:pt x="7257366" y="2711506"/>
                </a:lnTo>
                <a:lnTo>
                  <a:pt x="7130622" y="2743015"/>
                </a:lnTo>
                <a:lnTo>
                  <a:pt x="7125783" y="2706799"/>
                </a:lnTo>
                <a:lnTo>
                  <a:pt x="7000345" y="2743015"/>
                </a:lnTo>
                <a:lnTo>
                  <a:pt x="6993807" y="2701700"/>
                </a:lnTo>
                <a:lnTo>
                  <a:pt x="6870071" y="2743015"/>
                </a:lnTo>
                <a:lnTo>
                  <a:pt x="6861437" y="2696340"/>
                </a:lnTo>
                <a:lnTo>
                  <a:pt x="6739664" y="2743015"/>
                </a:lnTo>
                <a:lnTo>
                  <a:pt x="6728678" y="2690718"/>
                </a:lnTo>
                <a:lnTo>
                  <a:pt x="6609391" y="2743015"/>
                </a:lnTo>
                <a:lnTo>
                  <a:pt x="6595394" y="2684835"/>
                </a:lnTo>
                <a:lnTo>
                  <a:pt x="6479114" y="2743015"/>
                </a:lnTo>
                <a:lnTo>
                  <a:pt x="6461586" y="2678820"/>
                </a:lnTo>
                <a:lnTo>
                  <a:pt x="6348708" y="2743015"/>
                </a:lnTo>
                <a:lnTo>
                  <a:pt x="6326865" y="2672675"/>
                </a:lnTo>
                <a:lnTo>
                  <a:pt x="6218433" y="2743015"/>
                </a:lnTo>
                <a:lnTo>
                  <a:pt x="6191488" y="2666792"/>
                </a:lnTo>
                <a:lnTo>
                  <a:pt x="6088158" y="2743015"/>
                </a:lnTo>
                <a:lnTo>
                  <a:pt x="6055197" y="2661170"/>
                </a:lnTo>
                <a:lnTo>
                  <a:pt x="5957881" y="2743015"/>
                </a:lnTo>
                <a:lnTo>
                  <a:pt x="5918642" y="2658294"/>
                </a:lnTo>
                <a:close/>
                <a:moveTo>
                  <a:pt x="5198336" y="2540623"/>
                </a:moveTo>
                <a:lnTo>
                  <a:pt x="5250655" y="2586253"/>
                </a:lnTo>
                <a:lnTo>
                  <a:pt x="5175576" y="2743146"/>
                </a:lnTo>
                <a:lnTo>
                  <a:pt x="5123257" y="2697517"/>
                </a:lnTo>
                <a:close/>
                <a:moveTo>
                  <a:pt x="4337943" y="2540493"/>
                </a:moveTo>
                <a:lnTo>
                  <a:pt x="4403342" y="2547030"/>
                </a:lnTo>
                <a:lnTo>
                  <a:pt x="4392617" y="2743146"/>
                </a:lnTo>
                <a:lnTo>
                  <a:pt x="4327218" y="2736610"/>
                </a:lnTo>
                <a:close/>
                <a:moveTo>
                  <a:pt x="2972543" y="2540492"/>
                </a:moveTo>
                <a:lnTo>
                  <a:pt x="3069069" y="2684310"/>
                </a:lnTo>
                <a:lnTo>
                  <a:pt x="3021459" y="2743014"/>
                </a:lnTo>
                <a:lnTo>
                  <a:pt x="2924931" y="2599196"/>
                </a:lnTo>
                <a:close/>
                <a:moveTo>
                  <a:pt x="3545310" y="2540361"/>
                </a:moveTo>
                <a:lnTo>
                  <a:pt x="3598934" y="2710329"/>
                </a:lnTo>
                <a:lnTo>
                  <a:pt x="3542691" y="2743014"/>
                </a:lnTo>
                <a:lnTo>
                  <a:pt x="3489065" y="2573046"/>
                </a:lnTo>
                <a:close/>
                <a:moveTo>
                  <a:pt x="5914327" y="2284757"/>
                </a:moveTo>
                <a:lnTo>
                  <a:pt x="5955397" y="2363203"/>
                </a:lnTo>
                <a:lnTo>
                  <a:pt x="5826691" y="2487149"/>
                </a:lnTo>
                <a:lnTo>
                  <a:pt x="5785621" y="2408702"/>
                </a:lnTo>
                <a:close/>
                <a:moveTo>
                  <a:pt x="5771494" y="2284757"/>
                </a:moveTo>
                <a:lnTo>
                  <a:pt x="5814397" y="2356666"/>
                </a:lnTo>
                <a:lnTo>
                  <a:pt x="5697070" y="2487279"/>
                </a:lnTo>
                <a:lnTo>
                  <a:pt x="5653775" y="2415501"/>
                </a:lnTo>
                <a:close/>
                <a:moveTo>
                  <a:pt x="5628402" y="2284757"/>
                </a:moveTo>
                <a:lnTo>
                  <a:pt x="5673788" y="2350129"/>
                </a:lnTo>
                <a:lnTo>
                  <a:pt x="5566534" y="2487149"/>
                </a:lnTo>
                <a:lnTo>
                  <a:pt x="5521146" y="2421777"/>
                </a:lnTo>
                <a:close/>
                <a:moveTo>
                  <a:pt x="5485177" y="2284757"/>
                </a:moveTo>
                <a:lnTo>
                  <a:pt x="5532657" y="2343461"/>
                </a:lnTo>
                <a:lnTo>
                  <a:pt x="5436128" y="2487279"/>
                </a:lnTo>
                <a:lnTo>
                  <a:pt x="5388648" y="2428575"/>
                </a:lnTo>
                <a:close/>
                <a:moveTo>
                  <a:pt x="5055765" y="2284757"/>
                </a:moveTo>
                <a:lnTo>
                  <a:pt x="5109523" y="2323979"/>
                </a:lnTo>
                <a:lnTo>
                  <a:pt x="5044778" y="2486757"/>
                </a:lnTo>
                <a:lnTo>
                  <a:pt x="4991413" y="2447794"/>
                </a:lnTo>
                <a:close/>
                <a:moveTo>
                  <a:pt x="4911887" y="2284757"/>
                </a:moveTo>
                <a:lnTo>
                  <a:pt x="4968392" y="2317181"/>
                </a:lnTo>
                <a:lnTo>
                  <a:pt x="4914764" y="2487149"/>
                </a:lnTo>
                <a:lnTo>
                  <a:pt x="4858390" y="2454725"/>
                </a:lnTo>
                <a:close/>
                <a:moveTo>
                  <a:pt x="4769187" y="2284757"/>
                </a:moveTo>
                <a:lnTo>
                  <a:pt x="4827522" y="2310905"/>
                </a:lnTo>
                <a:lnTo>
                  <a:pt x="4783705" y="2487149"/>
                </a:lnTo>
                <a:lnTo>
                  <a:pt x="4726285" y="2460869"/>
                </a:lnTo>
                <a:close/>
                <a:moveTo>
                  <a:pt x="4482999" y="2284757"/>
                </a:moveTo>
                <a:lnTo>
                  <a:pt x="4545651" y="2297832"/>
                </a:lnTo>
                <a:lnTo>
                  <a:pt x="4523416" y="2486627"/>
                </a:lnTo>
                <a:lnTo>
                  <a:pt x="4461548" y="2473944"/>
                </a:lnTo>
                <a:close/>
                <a:moveTo>
                  <a:pt x="3974849" y="2284756"/>
                </a:moveTo>
                <a:lnTo>
                  <a:pt x="3996303" y="2473681"/>
                </a:lnTo>
                <a:lnTo>
                  <a:pt x="3933650" y="2487017"/>
                </a:lnTo>
                <a:lnTo>
                  <a:pt x="3912199" y="2297830"/>
                </a:lnTo>
                <a:close/>
                <a:moveTo>
                  <a:pt x="3831758" y="2284756"/>
                </a:moveTo>
                <a:lnTo>
                  <a:pt x="3863934" y="2467798"/>
                </a:lnTo>
                <a:lnTo>
                  <a:pt x="3803375" y="2487408"/>
                </a:lnTo>
                <a:lnTo>
                  <a:pt x="3771198" y="2304368"/>
                </a:lnTo>
                <a:close/>
                <a:moveTo>
                  <a:pt x="3688533" y="2284756"/>
                </a:moveTo>
                <a:lnTo>
                  <a:pt x="3731435" y="2461261"/>
                </a:lnTo>
                <a:lnTo>
                  <a:pt x="3672969" y="2487017"/>
                </a:lnTo>
                <a:lnTo>
                  <a:pt x="3630067" y="2310904"/>
                </a:lnTo>
                <a:close/>
                <a:moveTo>
                  <a:pt x="3402084" y="2284756"/>
                </a:moveTo>
                <a:lnTo>
                  <a:pt x="3466438" y="2448186"/>
                </a:lnTo>
                <a:lnTo>
                  <a:pt x="3412419" y="2487017"/>
                </a:lnTo>
                <a:lnTo>
                  <a:pt x="3348062" y="2323978"/>
                </a:lnTo>
                <a:close/>
                <a:moveTo>
                  <a:pt x="3258860" y="2284756"/>
                </a:moveTo>
                <a:lnTo>
                  <a:pt x="3333939" y="2441649"/>
                </a:lnTo>
                <a:lnTo>
                  <a:pt x="3281619" y="2487278"/>
                </a:lnTo>
                <a:lnTo>
                  <a:pt x="3206538" y="2330385"/>
                </a:lnTo>
                <a:close/>
                <a:moveTo>
                  <a:pt x="3115768" y="2284756"/>
                </a:moveTo>
                <a:lnTo>
                  <a:pt x="3201571" y="2434457"/>
                </a:lnTo>
                <a:lnTo>
                  <a:pt x="3151736" y="2486756"/>
                </a:lnTo>
                <a:lnTo>
                  <a:pt x="3066064" y="2336661"/>
                </a:lnTo>
                <a:close/>
                <a:moveTo>
                  <a:pt x="2972543" y="2284756"/>
                </a:moveTo>
                <a:lnTo>
                  <a:pt x="3069069" y="2428574"/>
                </a:lnTo>
                <a:lnTo>
                  <a:pt x="3021459" y="2487278"/>
                </a:lnTo>
                <a:lnTo>
                  <a:pt x="2924931" y="2343460"/>
                </a:lnTo>
                <a:close/>
                <a:moveTo>
                  <a:pt x="2829319" y="2284756"/>
                </a:moveTo>
                <a:lnTo>
                  <a:pt x="2935916" y="2421645"/>
                </a:lnTo>
                <a:lnTo>
                  <a:pt x="2890532" y="2487017"/>
                </a:lnTo>
                <a:lnTo>
                  <a:pt x="2783932" y="2350127"/>
                </a:lnTo>
                <a:close/>
                <a:moveTo>
                  <a:pt x="2542869" y="2284756"/>
                </a:moveTo>
                <a:lnTo>
                  <a:pt x="2670659" y="2409224"/>
                </a:lnTo>
                <a:lnTo>
                  <a:pt x="2629587" y="2487671"/>
                </a:lnTo>
                <a:lnTo>
                  <a:pt x="2501930" y="2363202"/>
                </a:lnTo>
                <a:close/>
                <a:moveTo>
                  <a:pt x="6630841" y="2284494"/>
                </a:moveTo>
                <a:lnTo>
                  <a:pt x="6646144" y="2340716"/>
                </a:lnTo>
                <a:lnTo>
                  <a:pt x="6774064" y="2284494"/>
                </a:lnTo>
                <a:lnTo>
                  <a:pt x="6786097" y="2334963"/>
                </a:lnTo>
                <a:lnTo>
                  <a:pt x="6916896" y="2284494"/>
                </a:lnTo>
                <a:lnTo>
                  <a:pt x="6926183" y="2329341"/>
                </a:lnTo>
                <a:lnTo>
                  <a:pt x="7060383" y="2284757"/>
                </a:lnTo>
                <a:lnTo>
                  <a:pt x="7067445" y="2323979"/>
                </a:lnTo>
                <a:lnTo>
                  <a:pt x="7203476" y="2284757"/>
                </a:lnTo>
                <a:lnTo>
                  <a:pt x="7208969" y="2319011"/>
                </a:lnTo>
                <a:lnTo>
                  <a:pt x="7346701" y="2284757"/>
                </a:lnTo>
                <a:lnTo>
                  <a:pt x="7350756" y="2314173"/>
                </a:lnTo>
                <a:lnTo>
                  <a:pt x="7489924" y="2284757"/>
                </a:lnTo>
                <a:lnTo>
                  <a:pt x="7492933" y="2309729"/>
                </a:lnTo>
                <a:lnTo>
                  <a:pt x="7633280" y="2284757"/>
                </a:lnTo>
                <a:lnTo>
                  <a:pt x="7635242" y="2305414"/>
                </a:lnTo>
                <a:lnTo>
                  <a:pt x="7776374" y="2284757"/>
                </a:lnTo>
                <a:lnTo>
                  <a:pt x="7777551" y="2301361"/>
                </a:lnTo>
                <a:lnTo>
                  <a:pt x="7919336" y="2284757"/>
                </a:lnTo>
                <a:lnTo>
                  <a:pt x="7920251" y="2297832"/>
                </a:lnTo>
                <a:lnTo>
                  <a:pt x="8063346" y="2284757"/>
                </a:lnTo>
                <a:lnTo>
                  <a:pt x="8063346" y="2294039"/>
                </a:lnTo>
                <a:lnTo>
                  <a:pt x="8206046" y="2284757"/>
                </a:lnTo>
                <a:lnTo>
                  <a:pt x="8206046" y="2290379"/>
                </a:lnTo>
                <a:lnTo>
                  <a:pt x="8215202" y="2290379"/>
                </a:lnTo>
                <a:lnTo>
                  <a:pt x="8303100" y="2286718"/>
                </a:lnTo>
                <a:lnTo>
                  <a:pt x="8303100" y="2284757"/>
                </a:lnTo>
                <a:lnTo>
                  <a:pt x="12191477" y="2284757"/>
                </a:lnTo>
                <a:lnTo>
                  <a:pt x="12191477" y="2487149"/>
                </a:lnTo>
                <a:lnTo>
                  <a:pt x="8302968" y="2487149"/>
                </a:lnTo>
                <a:lnTo>
                  <a:pt x="8304930" y="2484534"/>
                </a:lnTo>
                <a:lnTo>
                  <a:pt x="8174131" y="2487279"/>
                </a:lnTo>
                <a:lnTo>
                  <a:pt x="8174131" y="2481789"/>
                </a:lnTo>
                <a:lnTo>
                  <a:pt x="8043333" y="2487279"/>
                </a:lnTo>
                <a:lnTo>
                  <a:pt x="8043333" y="2478781"/>
                </a:lnTo>
                <a:lnTo>
                  <a:pt x="7912534" y="2487279"/>
                </a:lnTo>
                <a:lnTo>
                  <a:pt x="7912534" y="2475513"/>
                </a:lnTo>
                <a:lnTo>
                  <a:pt x="7782652" y="2487279"/>
                </a:lnTo>
                <a:lnTo>
                  <a:pt x="7781867" y="2472113"/>
                </a:lnTo>
                <a:lnTo>
                  <a:pt x="7652246" y="2487279"/>
                </a:lnTo>
                <a:lnTo>
                  <a:pt x="7651068" y="2468321"/>
                </a:lnTo>
                <a:lnTo>
                  <a:pt x="7521971" y="2487279"/>
                </a:lnTo>
                <a:lnTo>
                  <a:pt x="7520139" y="2464400"/>
                </a:lnTo>
                <a:lnTo>
                  <a:pt x="7391696" y="2487279"/>
                </a:lnTo>
                <a:lnTo>
                  <a:pt x="7389080" y="2460215"/>
                </a:lnTo>
                <a:lnTo>
                  <a:pt x="7261289" y="2487279"/>
                </a:lnTo>
                <a:lnTo>
                  <a:pt x="7257757" y="2455640"/>
                </a:lnTo>
                <a:lnTo>
                  <a:pt x="7131013" y="2487279"/>
                </a:lnTo>
                <a:lnTo>
                  <a:pt x="7126174" y="2450932"/>
                </a:lnTo>
                <a:lnTo>
                  <a:pt x="7000738" y="2487279"/>
                </a:lnTo>
                <a:lnTo>
                  <a:pt x="6994198" y="2445834"/>
                </a:lnTo>
                <a:lnTo>
                  <a:pt x="6870463" y="2487279"/>
                </a:lnTo>
                <a:lnTo>
                  <a:pt x="6861830" y="2440474"/>
                </a:lnTo>
                <a:lnTo>
                  <a:pt x="6740057" y="2487279"/>
                </a:lnTo>
                <a:lnTo>
                  <a:pt x="6729070" y="2434982"/>
                </a:lnTo>
                <a:lnTo>
                  <a:pt x="6609782" y="2487279"/>
                </a:lnTo>
                <a:lnTo>
                  <a:pt x="6595787" y="2428968"/>
                </a:lnTo>
                <a:lnTo>
                  <a:pt x="6479507" y="2487279"/>
                </a:lnTo>
                <a:lnTo>
                  <a:pt x="6461979" y="2422953"/>
                </a:lnTo>
                <a:lnTo>
                  <a:pt x="6349101" y="2487279"/>
                </a:lnTo>
                <a:lnTo>
                  <a:pt x="6327258" y="2416809"/>
                </a:lnTo>
                <a:lnTo>
                  <a:pt x="6218825" y="2487279"/>
                </a:lnTo>
                <a:lnTo>
                  <a:pt x="6191881" y="2410925"/>
                </a:lnTo>
                <a:lnTo>
                  <a:pt x="6088551" y="2487279"/>
                </a:lnTo>
                <a:lnTo>
                  <a:pt x="6055588" y="2405303"/>
                </a:lnTo>
                <a:lnTo>
                  <a:pt x="5958274" y="2487279"/>
                </a:lnTo>
                <a:lnTo>
                  <a:pt x="5919035" y="2402426"/>
                </a:lnTo>
                <a:lnTo>
                  <a:pt x="6057943" y="2284757"/>
                </a:lnTo>
                <a:lnTo>
                  <a:pt x="6094175" y="2363203"/>
                </a:lnTo>
                <a:lnTo>
                  <a:pt x="6201168" y="2284757"/>
                </a:lnTo>
                <a:lnTo>
                  <a:pt x="6230729" y="2358496"/>
                </a:lnTo>
                <a:lnTo>
                  <a:pt x="6344261" y="2284757"/>
                </a:lnTo>
                <a:lnTo>
                  <a:pt x="6368327" y="2352743"/>
                </a:lnTo>
                <a:lnTo>
                  <a:pt x="6487486" y="2284757"/>
                </a:lnTo>
                <a:lnTo>
                  <a:pt x="6506974" y="2346599"/>
                </a:lnTo>
                <a:close/>
                <a:moveTo>
                  <a:pt x="5341952" y="2284494"/>
                </a:moveTo>
                <a:lnTo>
                  <a:pt x="5391656" y="2337054"/>
                </a:lnTo>
                <a:lnTo>
                  <a:pt x="5305852" y="2486757"/>
                </a:lnTo>
                <a:lnTo>
                  <a:pt x="5256148" y="2434459"/>
                </a:lnTo>
                <a:close/>
                <a:moveTo>
                  <a:pt x="4625831" y="2284494"/>
                </a:moveTo>
                <a:lnTo>
                  <a:pt x="4686390" y="2304106"/>
                </a:lnTo>
                <a:lnTo>
                  <a:pt x="4654213" y="2487149"/>
                </a:lnTo>
                <a:lnTo>
                  <a:pt x="4593654" y="2467537"/>
                </a:lnTo>
                <a:close/>
                <a:moveTo>
                  <a:pt x="4194332" y="2284493"/>
                </a:moveTo>
                <a:lnTo>
                  <a:pt x="4261294" y="2284493"/>
                </a:lnTo>
                <a:lnTo>
                  <a:pt x="4261294" y="2284757"/>
                </a:lnTo>
                <a:lnTo>
                  <a:pt x="4263388" y="2284757"/>
                </a:lnTo>
                <a:lnTo>
                  <a:pt x="4263388" y="2486757"/>
                </a:lnTo>
                <a:lnTo>
                  <a:pt x="4196426" y="2486757"/>
                </a:lnTo>
                <a:lnTo>
                  <a:pt x="4196426" y="2486756"/>
                </a:lnTo>
                <a:lnTo>
                  <a:pt x="4194332" y="2486756"/>
                </a:lnTo>
                <a:close/>
                <a:moveTo>
                  <a:pt x="5198336" y="2284233"/>
                </a:moveTo>
                <a:lnTo>
                  <a:pt x="5250655" y="2329863"/>
                </a:lnTo>
                <a:lnTo>
                  <a:pt x="5175576" y="2486757"/>
                </a:lnTo>
                <a:lnTo>
                  <a:pt x="5123257" y="2441126"/>
                </a:lnTo>
                <a:close/>
                <a:moveTo>
                  <a:pt x="4118075" y="2284102"/>
                </a:moveTo>
                <a:lnTo>
                  <a:pt x="4128801" y="2480219"/>
                </a:lnTo>
                <a:lnTo>
                  <a:pt x="4064053" y="2486756"/>
                </a:lnTo>
                <a:lnTo>
                  <a:pt x="4053330" y="2290639"/>
                </a:lnTo>
                <a:close/>
                <a:moveTo>
                  <a:pt x="4337943" y="2283972"/>
                </a:moveTo>
                <a:lnTo>
                  <a:pt x="4403342" y="2290510"/>
                </a:lnTo>
                <a:lnTo>
                  <a:pt x="4392617" y="2486627"/>
                </a:lnTo>
                <a:lnTo>
                  <a:pt x="4327218" y="2480089"/>
                </a:lnTo>
                <a:close/>
                <a:moveTo>
                  <a:pt x="2686354" y="2283971"/>
                </a:moveTo>
                <a:lnTo>
                  <a:pt x="2804073" y="2414715"/>
                </a:lnTo>
                <a:lnTo>
                  <a:pt x="2760911" y="2486493"/>
                </a:lnTo>
                <a:lnTo>
                  <a:pt x="2643192" y="2355750"/>
                </a:lnTo>
                <a:close/>
                <a:moveTo>
                  <a:pt x="3545310" y="2283841"/>
                </a:moveTo>
                <a:lnTo>
                  <a:pt x="3598934" y="2453808"/>
                </a:lnTo>
                <a:lnTo>
                  <a:pt x="3542691" y="2486493"/>
                </a:lnTo>
                <a:lnTo>
                  <a:pt x="3489065" y="2316526"/>
                </a:lnTo>
                <a:close/>
                <a:moveTo>
                  <a:pt x="2399907" y="2283841"/>
                </a:moveTo>
                <a:lnTo>
                  <a:pt x="2539208" y="2401510"/>
                </a:lnTo>
                <a:lnTo>
                  <a:pt x="2499966" y="2486363"/>
                </a:lnTo>
                <a:lnTo>
                  <a:pt x="2402653" y="2404387"/>
                </a:lnTo>
                <a:lnTo>
                  <a:pt x="2369692" y="2486363"/>
                </a:lnTo>
                <a:lnTo>
                  <a:pt x="2266362" y="2410009"/>
                </a:lnTo>
                <a:lnTo>
                  <a:pt x="2239287" y="2486363"/>
                </a:lnTo>
                <a:lnTo>
                  <a:pt x="2130855" y="2415892"/>
                </a:lnTo>
                <a:lnTo>
                  <a:pt x="2109011" y="2486363"/>
                </a:lnTo>
                <a:lnTo>
                  <a:pt x="1996262" y="2422037"/>
                </a:lnTo>
                <a:lnTo>
                  <a:pt x="1978736" y="2486363"/>
                </a:lnTo>
                <a:lnTo>
                  <a:pt x="1862325" y="2428052"/>
                </a:lnTo>
                <a:lnTo>
                  <a:pt x="1848460" y="2486363"/>
                </a:lnTo>
                <a:lnTo>
                  <a:pt x="1729041" y="2434066"/>
                </a:lnTo>
                <a:lnTo>
                  <a:pt x="1718054" y="2486363"/>
                </a:lnTo>
                <a:lnTo>
                  <a:pt x="1596281" y="2439556"/>
                </a:lnTo>
                <a:lnTo>
                  <a:pt x="1587779" y="2486363"/>
                </a:lnTo>
                <a:lnTo>
                  <a:pt x="1464043" y="2444917"/>
                </a:lnTo>
                <a:lnTo>
                  <a:pt x="1457503" y="2486363"/>
                </a:lnTo>
                <a:lnTo>
                  <a:pt x="1332067" y="2450016"/>
                </a:lnTo>
                <a:lnTo>
                  <a:pt x="1327098" y="2486363"/>
                </a:lnTo>
                <a:lnTo>
                  <a:pt x="1200484" y="2454723"/>
                </a:lnTo>
                <a:lnTo>
                  <a:pt x="1196822" y="2486363"/>
                </a:lnTo>
                <a:lnTo>
                  <a:pt x="1069168" y="2459299"/>
                </a:lnTo>
                <a:lnTo>
                  <a:pt x="1066552" y="2486363"/>
                </a:lnTo>
                <a:lnTo>
                  <a:pt x="937977" y="2463482"/>
                </a:lnTo>
                <a:lnTo>
                  <a:pt x="936278" y="2486363"/>
                </a:lnTo>
                <a:lnTo>
                  <a:pt x="807050" y="2467405"/>
                </a:lnTo>
                <a:lnTo>
                  <a:pt x="805873" y="2486363"/>
                </a:lnTo>
                <a:lnTo>
                  <a:pt x="676383" y="2471197"/>
                </a:lnTo>
                <a:lnTo>
                  <a:pt x="675597" y="2486363"/>
                </a:lnTo>
                <a:lnTo>
                  <a:pt x="545715" y="2474596"/>
                </a:lnTo>
                <a:lnTo>
                  <a:pt x="545715" y="2486363"/>
                </a:lnTo>
                <a:lnTo>
                  <a:pt x="415570" y="2477865"/>
                </a:lnTo>
                <a:lnTo>
                  <a:pt x="415570" y="2486363"/>
                </a:lnTo>
                <a:lnTo>
                  <a:pt x="285426" y="2480873"/>
                </a:lnTo>
                <a:lnTo>
                  <a:pt x="285426" y="2486756"/>
                </a:lnTo>
                <a:lnTo>
                  <a:pt x="154631" y="2484009"/>
                </a:lnTo>
                <a:lnTo>
                  <a:pt x="154631" y="2487017"/>
                </a:lnTo>
                <a:lnTo>
                  <a:pt x="0" y="2487017"/>
                </a:lnTo>
                <a:lnTo>
                  <a:pt x="0" y="2284756"/>
                </a:lnTo>
                <a:lnTo>
                  <a:pt x="154893" y="2284756"/>
                </a:lnTo>
                <a:lnTo>
                  <a:pt x="154893" y="2286977"/>
                </a:lnTo>
                <a:lnTo>
                  <a:pt x="242790" y="2290639"/>
                </a:lnTo>
                <a:lnTo>
                  <a:pt x="251814" y="2290639"/>
                </a:lnTo>
                <a:lnTo>
                  <a:pt x="251814" y="2284756"/>
                </a:lnTo>
                <a:lnTo>
                  <a:pt x="394905" y="2294038"/>
                </a:lnTo>
                <a:lnTo>
                  <a:pt x="394905" y="2284756"/>
                </a:lnTo>
                <a:lnTo>
                  <a:pt x="537344" y="2297830"/>
                </a:lnTo>
                <a:lnTo>
                  <a:pt x="538128" y="2284756"/>
                </a:lnTo>
                <a:lnTo>
                  <a:pt x="680045" y="2301360"/>
                </a:lnTo>
                <a:lnTo>
                  <a:pt x="681353" y="2284756"/>
                </a:lnTo>
                <a:lnTo>
                  <a:pt x="822616" y="2305413"/>
                </a:lnTo>
                <a:lnTo>
                  <a:pt x="824578" y="2284756"/>
                </a:lnTo>
                <a:lnTo>
                  <a:pt x="964922" y="2309727"/>
                </a:lnTo>
                <a:lnTo>
                  <a:pt x="967799" y="2284756"/>
                </a:lnTo>
                <a:lnTo>
                  <a:pt x="1106968" y="2314172"/>
                </a:lnTo>
                <a:lnTo>
                  <a:pt x="1110888" y="2284756"/>
                </a:lnTo>
                <a:lnTo>
                  <a:pt x="1248748" y="2319010"/>
                </a:lnTo>
                <a:lnTo>
                  <a:pt x="1254113" y="2284756"/>
                </a:lnTo>
                <a:lnTo>
                  <a:pt x="1390141" y="2323978"/>
                </a:lnTo>
                <a:lnTo>
                  <a:pt x="1397336" y="2284756"/>
                </a:lnTo>
                <a:lnTo>
                  <a:pt x="1531535" y="2329600"/>
                </a:lnTo>
                <a:lnTo>
                  <a:pt x="1540952" y="2284756"/>
                </a:lnTo>
                <a:lnTo>
                  <a:pt x="1671751" y="2335223"/>
                </a:lnTo>
                <a:lnTo>
                  <a:pt x="1683786" y="2284756"/>
                </a:lnTo>
                <a:lnTo>
                  <a:pt x="1811575" y="2340976"/>
                </a:lnTo>
                <a:lnTo>
                  <a:pt x="1826878" y="2284756"/>
                </a:lnTo>
                <a:lnTo>
                  <a:pt x="1950352" y="2346859"/>
                </a:lnTo>
                <a:lnTo>
                  <a:pt x="1969579" y="2284756"/>
                </a:lnTo>
                <a:lnTo>
                  <a:pt x="2088736" y="2352742"/>
                </a:lnTo>
                <a:lnTo>
                  <a:pt x="2112805" y="2284756"/>
                </a:lnTo>
                <a:lnTo>
                  <a:pt x="2226992" y="2358495"/>
                </a:lnTo>
                <a:lnTo>
                  <a:pt x="2256680" y="2284756"/>
                </a:lnTo>
                <a:lnTo>
                  <a:pt x="2363676" y="2362287"/>
                </a:lnTo>
                <a:close/>
                <a:moveTo>
                  <a:pt x="2541954" y="2028767"/>
                </a:moveTo>
                <a:lnTo>
                  <a:pt x="2670659" y="2152704"/>
                </a:lnTo>
                <a:lnTo>
                  <a:pt x="2629587" y="2231150"/>
                </a:lnTo>
                <a:lnTo>
                  <a:pt x="2501015" y="2107205"/>
                </a:lnTo>
                <a:close/>
                <a:moveTo>
                  <a:pt x="3402084" y="2028636"/>
                </a:moveTo>
                <a:lnTo>
                  <a:pt x="3466438" y="2191665"/>
                </a:lnTo>
                <a:lnTo>
                  <a:pt x="3412419" y="2230889"/>
                </a:lnTo>
                <a:lnTo>
                  <a:pt x="3348062" y="2067860"/>
                </a:lnTo>
                <a:close/>
                <a:moveTo>
                  <a:pt x="5628402" y="2028500"/>
                </a:moveTo>
                <a:lnTo>
                  <a:pt x="5673788" y="2093871"/>
                </a:lnTo>
                <a:lnTo>
                  <a:pt x="5566534" y="2230891"/>
                </a:lnTo>
                <a:lnTo>
                  <a:pt x="5521146" y="2165517"/>
                </a:lnTo>
                <a:close/>
                <a:moveTo>
                  <a:pt x="3688795" y="2028375"/>
                </a:moveTo>
                <a:lnTo>
                  <a:pt x="3731698" y="2204478"/>
                </a:lnTo>
                <a:lnTo>
                  <a:pt x="3673360" y="2230627"/>
                </a:lnTo>
                <a:lnTo>
                  <a:pt x="3630460" y="2054524"/>
                </a:lnTo>
                <a:close/>
                <a:moveTo>
                  <a:pt x="4769578" y="2028369"/>
                </a:moveTo>
                <a:lnTo>
                  <a:pt x="4827914" y="2054518"/>
                </a:lnTo>
                <a:lnTo>
                  <a:pt x="4785012" y="2230628"/>
                </a:lnTo>
                <a:lnTo>
                  <a:pt x="4726676" y="2204479"/>
                </a:lnTo>
                <a:close/>
                <a:moveTo>
                  <a:pt x="2828664" y="2028244"/>
                </a:moveTo>
                <a:lnTo>
                  <a:pt x="2935916" y="2165255"/>
                </a:lnTo>
                <a:lnTo>
                  <a:pt x="2890532" y="2230627"/>
                </a:lnTo>
                <a:lnTo>
                  <a:pt x="2783277" y="2093616"/>
                </a:lnTo>
                <a:close/>
                <a:moveTo>
                  <a:pt x="5914327" y="2028239"/>
                </a:moveTo>
                <a:lnTo>
                  <a:pt x="5955397" y="2106683"/>
                </a:lnTo>
                <a:lnTo>
                  <a:pt x="5826691" y="2230628"/>
                </a:lnTo>
                <a:lnTo>
                  <a:pt x="5785621" y="2152182"/>
                </a:lnTo>
                <a:close/>
                <a:moveTo>
                  <a:pt x="5484784" y="2028108"/>
                </a:moveTo>
                <a:lnTo>
                  <a:pt x="5532264" y="2086812"/>
                </a:lnTo>
                <a:lnTo>
                  <a:pt x="5435735" y="2230628"/>
                </a:lnTo>
                <a:lnTo>
                  <a:pt x="5388255" y="2171924"/>
                </a:lnTo>
                <a:close/>
                <a:moveTo>
                  <a:pt x="3974849" y="2027982"/>
                </a:moveTo>
                <a:lnTo>
                  <a:pt x="3996303" y="2217161"/>
                </a:lnTo>
                <a:lnTo>
                  <a:pt x="3933650" y="2230235"/>
                </a:lnTo>
                <a:lnTo>
                  <a:pt x="3912199" y="2041056"/>
                </a:lnTo>
                <a:close/>
                <a:moveTo>
                  <a:pt x="3115768" y="2027982"/>
                </a:moveTo>
                <a:lnTo>
                  <a:pt x="3201571" y="2178067"/>
                </a:lnTo>
                <a:lnTo>
                  <a:pt x="3151736" y="2230366"/>
                </a:lnTo>
                <a:lnTo>
                  <a:pt x="3066064" y="2080280"/>
                </a:lnTo>
                <a:close/>
                <a:moveTo>
                  <a:pt x="5771102" y="2027976"/>
                </a:moveTo>
                <a:lnTo>
                  <a:pt x="5814397" y="2099754"/>
                </a:lnTo>
                <a:lnTo>
                  <a:pt x="5696678" y="2230498"/>
                </a:lnTo>
                <a:lnTo>
                  <a:pt x="5653383" y="2158719"/>
                </a:lnTo>
                <a:close/>
                <a:moveTo>
                  <a:pt x="5341952" y="2027976"/>
                </a:moveTo>
                <a:lnTo>
                  <a:pt x="5391656" y="2080275"/>
                </a:lnTo>
                <a:lnTo>
                  <a:pt x="5305852" y="2230367"/>
                </a:lnTo>
                <a:lnTo>
                  <a:pt x="5256148" y="2178069"/>
                </a:lnTo>
                <a:close/>
                <a:moveTo>
                  <a:pt x="5054981" y="2027976"/>
                </a:moveTo>
                <a:lnTo>
                  <a:pt x="5109001" y="2067200"/>
                </a:lnTo>
                <a:lnTo>
                  <a:pt x="5044778" y="2230237"/>
                </a:lnTo>
                <a:lnTo>
                  <a:pt x="4990628" y="2191013"/>
                </a:lnTo>
                <a:close/>
                <a:moveTo>
                  <a:pt x="4912149" y="2027976"/>
                </a:moveTo>
                <a:lnTo>
                  <a:pt x="4968392" y="2060663"/>
                </a:lnTo>
                <a:lnTo>
                  <a:pt x="4914764" y="2230628"/>
                </a:lnTo>
                <a:lnTo>
                  <a:pt x="4858652" y="2197943"/>
                </a:lnTo>
                <a:close/>
                <a:moveTo>
                  <a:pt x="4625831" y="2027976"/>
                </a:moveTo>
                <a:lnTo>
                  <a:pt x="4686390" y="2047588"/>
                </a:lnTo>
                <a:lnTo>
                  <a:pt x="4654213" y="2230628"/>
                </a:lnTo>
                <a:lnTo>
                  <a:pt x="4593654" y="2211016"/>
                </a:lnTo>
                <a:close/>
                <a:moveTo>
                  <a:pt x="4482999" y="2027976"/>
                </a:moveTo>
                <a:lnTo>
                  <a:pt x="4545651" y="2041051"/>
                </a:lnTo>
                <a:lnTo>
                  <a:pt x="4523939" y="2230237"/>
                </a:lnTo>
                <a:lnTo>
                  <a:pt x="4461548" y="2217162"/>
                </a:lnTo>
                <a:close/>
                <a:moveTo>
                  <a:pt x="4196426" y="2027976"/>
                </a:moveTo>
                <a:lnTo>
                  <a:pt x="4263388" y="2027976"/>
                </a:lnTo>
                <a:lnTo>
                  <a:pt x="4263388" y="2230237"/>
                </a:lnTo>
                <a:lnTo>
                  <a:pt x="4196426" y="2230237"/>
                </a:lnTo>
                <a:lnTo>
                  <a:pt x="4196426" y="2230235"/>
                </a:lnTo>
                <a:lnTo>
                  <a:pt x="4194332" y="2230235"/>
                </a:lnTo>
                <a:lnTo>
                  <a:pt x="4194332" y="2027982"/>
                </a:lnTo>
                <a:lnTo>
                  <a:pt x="4196426" y="2027982"/>
                </a:lnTo>
                <a:close/>
                <a:moveTo>
                  <a:pt x="2972543" y="2027721"/>
                </a:moveTo>
                <a:lnTo>
                  <a:pt x="3069069" y="2171530"/>
                </a:lnTo>
                <a:lnTo>
                  <a:pt x="3021459" y="2230235"/>
                </a:lnTo>
                <a:lnTo>
                  <a:pt x="2924931" y="2086425"/>
                </a:lnTo>
                <a:close/>
                <a:moveTo>
                  <a:pt x="2256680" y="2027721"/>
                </a:moveTo>
                <a:lnTo>
                  <a:pt x="2363676" y="2106158"/>
                </a:lnTo>
                <a:lnTo>
                  <a:pt x="2399907" y="2027721"/>
                </a:lnTo>
                <a:lnTo>
                  <a:pt x="2539208" y="2145382"/>
                </a:lnTo>
                <a:lnTo>
                  <a:pt x="2499966" y="2230235"/>
                </a:lnTo>
                <a:lnTo>
                  <a:pt x="2402653" y="2148258"/>
                </a:lnTo>
                <a:lnTo>
                  <a:pt x="2369692" y="2230235"/>
                </a:lnTo>
                <a:lnTo>
                  <a:pt x="2266362" y="2153880"/>
                </a:lnTo>
                <a:lnTo>
                  <a:pt x="2239287" y="2230235"/>
                </a:lnTo>
                <a:lnTo>
                  <a:pt x="2130855" y="2159763"/>
                </a:lnTo>
                <a:lnTo>
                  <a:pt x="2109011" y="2230235"/>
                </a:lnTo>
                <a:lnTo>
                  <a:pt x="1996262" y="2165909"/>
                </a:lnTo>
                <a:lnTo>
                  <a:pt x="1978736" y="2230235"/>
                </a:lnTo>
                <a:lnTo>
                  <a:pt x="1862325" y="2171923"/>
                </a:lnTo>
                <a:lnTo>
                  <a:pt x="1848460" y="2230235"/>
                </a:lnTo>
                <a:lnTo>
                  <a:pt x="1729041" y="2177937"/>
                </a:lnTo>
                <a:lnTo>
                  <a:pt x="1718054" y="2230235"/>
                </a:lnTo>
                <a:lnTo>
                  <a:pt x="1596281" y="2183429"/>
                </a:lnTo>
                <a:lnTo>
                  <a:pt x="1587779" y="2230235"/>
                </a:lnTo>
                <a:lnTo>
                  <a:pt x="1464043" y="2188788"/>
                </a:lnTo>
                <a:lnTo>
                  <a:pt x="1457503" y="2230235"/>
                </a:lnTo>
                <a:lnTo>
                  <a:pt x="1332067" y="2193889"/>
                </a:lnTo>
                <a:lnTo>
                  <a:pt x="1327098" y="2230235"/>
                </a:lnTo>
                <a:lnTo>
                  <a:pt x="1200484" y="2198725"/>
                </a:lnTo>
                <a:lnTo>
                  <a:pt x="1196822" y="2230235"/>
                </a:lnTo>
                <a:lnTo>
                  <a:pt x="1069168" y="2203171"/>
                </a:lnTo>
                <a:lnTo>
                  <a:pt x="1066552" y="2230235"/>
                </a:lnTo>
                <a:lnTo>
                  <a:pt x="937977" y="2207355"/>
                </a:lnTo>
                <a:lnTo>
                  <a:pt x="936278" y="2230235"/>
                </a:lnTo>
                <a:lnTo>
                  <a:pt x="807050" y="2211277"/>
                </a:lnTo>
                <a:lnTo>
                  <a:pt x="805873" y="2230235"/>
                </a:lnTo>
                <a:lnTo>
                  <a:pt x="676383" y="2215068"/>
                </a:lnTo>
                <a:lnTo>
                  <a:pt x="675597" y="2230235"/>
                </a:lnTo>
                <a:lnTo>
                  <a:pt x="545715" y="2218467"/>
                </a:lnTo>
                <a:lnTo>
                  <a:pt x="545715" y="2230235"/>
                </a:lnTo>
                <a:lnTo>
                  <a:pt x="415570" y="2221736"/>
                </a:lnTo>
                <a:lnTo>
                  <a:pt x="415570" y="2230235"/>
                </a:lnTo>
                <a:lnTo>
                  <a:pt x="285426" y="2224744"/>
                </a:lnTo>
                <a:lnTo>
                  <a:pt x="285426" y="2230235"/>
                </a:lnTo>
                <a:lnTo>
                  <a:pt x="154631" y="2227489"/>
                </a:lnTo>
                <a:lnTo>
                  <a:pt x="154631" y="2230496"/>
                </a:lnTo>
                <a:lnTo>
                  <a:pt x="0" y="2230496"/>
                </a:lnTo>
                <a:lnTo>
                  <a:pt x="0" y="2028244"/>
                </a:lnTo>
                <a:lnTo>
                  <a:pt x="155155" y="2028244"/>
                </a:lnTo>
                <a:lnTo>
                  <a:pt x="155155" y="2030205"/>
                </a:lnTo>
                <a:lnTo>
                  <a:pt x="243051" y="2033867"/>
                </a:lnTo>
                <a:lnTo>
                  <a:pt x="252077" y="2033867"/>
                </a:lnTo>
                <a:lnTo>
                  <a:pt x="252077" y="2027982"/>
                </a:lnTo>
                <a:lnTo>
                  <a:pt x="394774" y="2037266"/>
                </a:lnTo>
                <a:lnTo>
                  <a:pt x="394774" y="2027982"/>
                </a:lnTo>
                <a:lnTo>
                  <a:pt x="537213" y="2041056"/>
                </a:lnTo>
                <a:lnTo>
                  <a:pt x="537998" y="2027982"/>
                </a:lnTo>
                <a:lnTo>
                  <a:pt x="679914" y="2044588"/>
                </a:lnTo>
                <a:lnTo>
                  <a:pt x="681222" y="2027982"/>
                </a:lnTo>
                <a:lnTo>
                  <a:pt x="822485" y="2048641"/>
                </a:lnTo>
                <a:lnTo>
                  <a:pt x="824447" y="2027982"/>
                </a:lnTo>
                <a:lnTo>
                  <a:pt x="964791" y="2052955"/>
                </a:lnTo>
                <a:lnTo>
                  <a:pt x="967668" y="2027982"/>
                </a:lnTo>
                <a:lnTo>
                  <a:pt x="1106837" y="2057530"/>
                </a:lnTo>
                <a:lnTo>
                  <a:pt x="1110757" y="2027982"/>
                </a:lnTo>
                <a:lnTo>
                  <a:pt x="1248618" y="2062237"/>
                </a:lnTo>
                <a:lnTo>
                  <a:pt x="1253980" y="2027982"/>
                </a:lnTo>
                <a:lnTo>
                  <a:pt x="1390011" y="2067206"/>
                </a:lnTo>
                <a:lnTo>
                  <a:pt x="1397206" y="2027982"/>
                </a:lnTo>
                <a:lnTo>
                  <a:pt x="1531011" y="2072828"/>
                </a:lnTo>
                <a:lnTo>
                  <a:pt x="1540430" y="2027982"/>
                </a:lnTo>
                <a:lnTo>
                  <a:pt x="1671228" y="2078450"/>
                </a:lnTo>
                <a:lnTo>
                  <a:pt x="1683262" y="2027982"/>
                </a:lnTo>
                <a:lnTo>
                  <a:pt x="1811051" y="2084203"/>
                </a:lnTo>
                <a:lnTo>
                  <a:pt x="1826355" y="2027982"/>
                </a:lnTo>
                <a:lnTo>
                  <a:pt x="1950352" y="2090086"/>
                </a:lnTo>
                <a:lnTo>
                  <a:pt x="1969579" y="2027982"/>
                </a:lnTo>
                <a:lnTo>
                  <a:pt x="2088736" y="2095970"/>
                </a:lnTo>
                <a:lnTo>
                  <a:pt x="2112805" y="2027982"/>
                </a:lnTo>
                <a:lnTo>
                  <a:pt x="2226861" y="2101713"/>
                </a:lnTo>
                <a:close/>
                <a:moveTo>
                  <a:pt x="7347355" y="2027715"/>
                </a:moveTo>
                <a:lnTo>
                  <a:pt x="7351410" y="2057264"/>
                </a:lnTo>
                <a:lnTo>
                  <a:pt x="7490580" y="2027715"/>
                </a:lnTo>
                <a:lnTo>
                  <a:pt x="7493457" y="2052687"/>
                </a:lnTo>
                <a:lnTo>
                  <a:pt x="7633803" y="2027715"/>
                </a:lnTo>
                <a:lnTo>
                  <a:pt x="7635765" y="2048373"/>
                </a:lnTo>
                <a:lnTo>
                  <a:pt x="7776896" y="2027715"/>
                </a:lnTo>
                <a:lnTo>
                  <a:pt x="7778336" y="2044319"/>
                </a:lnTo>
                <a:lnTo>
                  <a:pt x="7920121" y="2027715"/>
                </a:lnTo>
                <a:lnTo>
                  <a:pt x="7921036" y="2040790"/>
                </a:lnTo>
                <a:lnTo>
                  <a:pt x="8063346" y="2027715"/>
                </a:lnTo>
                <a:lnTo>
                  <a:pt x="8063346" y="2036998"/>
                </a:lnTo>
                <a:lnTo>
                  <a:pt x="8206046" y="2027715"/>
                </a:lnTo>
                <a:lnTo>
                  <a:pt x="8206046" y="2033598"/>
                </a:lnTo>
                <a:lnTo>
                  <a:pt x="8215202" y="2033598"/>
                </a:lnTo>
                <a:lnTo>
                  <a:pt x="8303100" y="2029938"/>
                </a:lnTo>
                <a:lnTo>
                  <a:pt x="8303100" y="2027976"/>
                </a:lnTo>
                <a:lnTo>
                  <a:pt x="12191477" y="2027976"/>
                </a:lnTo>
                <a:lnTo>
                  <a:pt x="12191477" y="2230628"/>
                </a:lnTo>
                <a:lnTo>
                  <a:pt x="8302968" y="2230628"/>
                </a:lnTo>
                <a:lnTo>
                  <a:pt x="8304406" y="2227752"/>
                </a:lnTo>
                <a:lnTo>
                  <a:pt x="8173609" y="2230498"/>
                </a:lnTo>
                <a:lnTo>
                  <a:pt x="8173609" y="2225006"/>
                </a:lnTo>
                <a:lnTo>
                  <a:pt x="8042810" y="2230498"/>
                </a:lnTo>
                <a:lnTo>
                  <a:pt x="8042810" y="2222000"/>
                </a:lnTo>
                <a:lnTo>
                  <a:pt x="7912012" y="2230498"/>
                </a:lnTo>
                <a:lnTo>
                  <a:pt x="7912012" y="2218731"/>
                </a:lnTo>
                <a:lnTo>
                  <a:pt x="7782128" y="2230498"/>
                </a:lnTo>
                <a:lnTo>
                  <a:pt x="7781344" y="2215332"/>
                </a:lnTo>
                <a:lnTo>
                  <a:pt x="7651722" y="2230498"/>
                </a:lnTo>
                <a:lnTo>
                  <a:pt x="7650545" y="2211540"/>
                </a:lnTo>
                <a:lnTo>
                  <a:pt x="7521447" y="2230498"/>
                </a:lnTo>
                <a:lnTo>
                  <a:pt x="7519616" y="2207617"/>
                </a:lnTo>
                <a:lnTo>
                  <a:pt x="7391172" y="2230498"/>
                </a:lnTo>
                <a:lnTo>
                  <a:pt x="7388556" y="2203433"/>
                </a:lnTo>
                <a:lnTo>
                  <a:pt x="7260766" y="2230498"/>
                </a:lnTo>
                <a:lnTo>
                  <a:pt x="7257234" y="2198989"/>
                </a:lnTo>
                <a:lnTo>
                  <a:pt x="7130491" y="2230498"/>
                </a:lnTo>
                <a:lnTo>
                  <a:pt x="7125651" y="2194151"/>
                </a:lnTo>
                <a:lnTo>
                  <a:pt x="7000215" y="2230498"/>
                </a:lnTo>
                <a:lnTo>
                  <a:pt x="6993675" y="2189052"/>
                </a:lnTo>
                <a:lnTo>
                  <a:pt x="6869941" y="2230498"/>
                </a:lnTo>
                <a:lnTo>
                  <a:pt x="6861307" y="2183691"/>
                </a:lnTo>
                <a:lnTo>
                  <a:pt x="6739534" y="2230498"/>
                </a:lnTo>
                <a:lnTo>
                  <a:pt x="6728548" y="2178200"/>
                </a:lnTo>
                <a:lnTo>
                  <a:pt x="6609259" y="2230498"/>
                </a:lnTo>
                <a:lnTo>
                  <a:pt x="6595263" y="2172185"/>
                </a:lnTo>
                <a:lnTo>
                  <a:pt x="6478983" y="2230498"/>
                </a:lnTo>
                <a:lnTo>
                  <a:pt x="6461456" y="2166171"/>
                </a:lnTo>
                <a:lnTo>
                  <a:pt x="6348578" y="2230498"/>
                </a:lnTo>
                <a:lnTo>
                  <a:pt x="6326733" y="2160027"/>
                </a:lnTo>
                <a:lnTo>
                  <a:pt x="6218303" y="2230498"/>
                </a:lnTo>
                <a:lnTo>
                  <a:pt x="6191358" y="2154142"/>
                </a:lnTo>
                <a:lnTo>
                  <a:pt x="6088026" y="2230498"/>
                </a:lnTo>
                <a:lnTo>
                  <a:pt x="6055066" y="2148521"/>
                </a:lnTo>
                <a:lnTo>
                  <a:pt x="5957752" y="2230498"/>
                </a:lnTo>
                <a:lnTo>
                  <a:pt x="5918512" y="2145644"/>
                </a:lnTo>
                <a:lnTo>
                  <a:pt x="6057943" y="2027976"/>
                </a:lnTo>
                <a:lnTo>
                  <a:pt x="6094175" y="2106422"/>
                </a:lnTo>
                <a:lnTo>
                  <a:pt x="6201168" y="2027976"/>
                </a:lnTo>
                <a:lnTo>
                  <a:pt x="6230729" y="2101715"/>
                </a:lnTo>
                <a:lnTo>
                  <a:pt x="6344393" y="2027976"/>
                </a:lnTo>
                <a:lnTo>
                  <a:pt x="6368459" y="2095964"/>
                </a:lnTo>
                <a:lnTo>
                  <a:pt x="6487616" y="2027976"/>
                </a:lnTo>
                <a:lnTo>
                  <a:pt x="6506974" y="2090081"/>
                </a:lnTo>
                <a:lnTo>
                  <a:pt x="6630841" y="2027976"/>
                </a:lnTo>
                <a:lnTo>
                  <a:pt x="6646144" y="2084197"/>
                </a:lnTo>
                <a:lnTo>
                  <a:pt x="6774064" y="2027976"/>
                </a:lnTo>
                <a:lnTo>
                  <a:pt x="6786097" y="2078445"/>
                </a:lnTo>
                <a:lnTo>
                  <a:pt x="6916896" y="2027976"/>
                </a:lnTo>
                <a:lnTo>
                  <a:pt x="6926183" y="2072822"/>
                </a:lnTo>
                <a:lnTo>
                  <a:pt x="7060383" y="2028239"/>
                </a:lnTo>
                <a:lnTo>
                  <a:pt x="7067445" y="2067461"/>
                </a:lnTo>
                <a:lnTo>
                  <a:pt x="7203476" y="2028239"/>
                </a:lnTo>
                <a:lnTo>
                  <a:pt x="7208969" y="2062493"/>
                </a:lnTo>
                <a:close/>
                <a:moveTo>
                  <a:pt x="5198336" y="2027715"/>
                </a:moveTo>
                <a:lnTo>
                  <a:pt x="5250655" y="2073344"/>
                </a:lnTo>
                <a:lnTo>
                  <a:pt x="5175576" y="2230237"/>
                </a:lnTo>
                <a:lnTo>
                  <a:pt x="5123257" y="2184606"/>
                </a:lnTo>
                <a:close/>
                <a:moveTo>
                  <a:pt x="4118075" y="2027590"/>
                </a:moveTo>
                <a:lnTo>
                  <a:pt x="4128801" y="2223698"/>
                </a:lnTo>
                <a:lnTo>
                  <a:pt x="4064053" y="2230235"/>
                </a:lnTo>
                <a:lnTo>
                  <a:pt x="4053330" y="2034128"/>
                </a:lnTo>
                <a:close/>
                <a:moveTo>
                  <a:pt x="3258860" y="2027590"/>
                </a:moveTo>
                <a:lnTo>
                  <a:pt x="3333939" y="2184474"/>
                </a:lnTo>
                <a:lnTo>
                  <a:pt x="3281619" y="2230105"/>
                </a:lnTo>
                <a:lnTo>
                  <a:pt x="3206538" y="2073219"/>
                </a:lnTo>
                <a:close/>
                <a:moveTo>
                  <a:pt x="2686354" y="2027460"/>
                </a:moveTo>
                <a:lnTo>
                  <a:pt x="2804073" y="2158194"/>
                </a:lnTo>
                <a:lnTo>
                  <a:pt x="2760911" y="2229973"/>
                </a:lnTo>
                <a:lnTo>
                  <a:pt x="2643192" y="2099229"/>
                </a:lnTo>
                <a:close/>
                <a:moveTo>
                  <a:pt x="4337943" y="2027454"/>
                </a:moveTo>
                <a:lnTo>
                  <a:pt x="4403342" y="2033991"/>
                </a:lnTo>
                <a:lnTo>
                  <a:pt x="4392617" y="2230106"/>
                </a:lnTo>
                <a:lnTo>
                  <a:pt x="4327218" y="2223569"/>
                </a:lnTo>
                <a:close/>
                <a:moveTo>
                  <a:pt x="3831758" y="2027329"/>
                </a:moveTo>
                <a:lnTo>
                  <a:pt x="3863934" y="2210362"/>
                </a:lnTo>
                <a:lnTo>
                  <a:pt x="3803375" y="2229973"/>
                </a:lnTo>
                <a:lnTo>
                  <a:pt x="3771198" y="2046940"/>
                </a:lnTo>
                <a:close/>
                <a:moveTo>
                  <a:pt x="3545310" y="2027329"/>
                </a:moveTo>
                <a:lnTo>
                  <a:pt x="3598934" y="2197288"/>
                </a:lnTo>
                <a:lnTo>
                  <a:pt x="3542691" y="2229973"/>
                </a:lnTo>
                <a:lnTo>
                  <a:pt x="3489065" y="2060015"/>
                </a:lnTo>
                <a:close/>
                <a:moveTo>
                  <a:pt x="3688533" y="1772116"/>
                </a:moveTo>
                <a:lnTo>
                  <a:pt x="3731435" y="1948229"/>
                </a:lnTo>
                <a:lnTo>
                  <a:pt x="3673098" y="1974377"/>
                </a:lnTo>
                <a:lnTo>
                  <a:pt x="3630198" y="1798265"/>
                </a:lnTo>
                <a:close/>
                <a:moveTo>
                  <a:pt x="2541954" y="1772116"/>
                </a:moveTo>
                <a:lnTo>
                  <a:pt x="2670659" y="1896062"/>
                </a:lnTo>
                <a:lnTo>
                  <a:pt x="2629587" y="1974509"/>
                </a:lnTo>
                <a:lnTo>
                  <a:pt x="2501015" y="1850562"/>
                </a:lnTo>
                <a:close/>
                <a:moveTo>
                  <a:pt x="2971628" y="1771985"/>
                </a:moveTo>
                <a:lnTo>
                  <a:pt x="3068157" y="1915804"/>
                </a:lnTo>
                <a:lnTo>
                  <a:pt x="3020543" y="1974509"/>
                </a:lnTo>
                <a:lnTo>
                  <a:pt x="2924017" y="1830689"/>
                </a:lnTo>
                <a:close/>
                <a:moveTo>
                  <a:pt x="5628402" y="1771979"/>
                </a:moveTo>
                <a:lnTo>
                  <a:pt x="5673788" y="1837351"/>
                </a:lnTo>
                <a:lnTo>
                  <a:pt x="5566534" y="1974371"/>
                </a:lnTo>
                <a:lnTo>
                  <a:pt x="5521146" y="1908999"/>
                </a:lnTo>
                <a:close/>
                <a:moveTo>
                  <a:pt x="5771494" y="1771848"/>
                </a:moveTo>
                <a:lnTo>
                  <a:pt x="5814789" y="1843627"/>
                </a:lnTo>
                <a:lnTo>
                  <a:pt x="5697070" y="1974371"/>
                </a:lnTo>
                <a:lnTo>
                  <a:pt x="5653775" y="1902594"/>
                </a:lnTo>
                <a:close/>
                <a:moveTo>
                  <a:pt x="4769578" y="1771848"/>
                </a:moveTo>
                <a:lnTo>
                  <a:pt x="4827914" y="1797998"/>
                </a:lnTo>
                <a:lnTo>
                  <a:pt x="4785012" y="1974110"/>
                </a:lnTo>
                <a:lnTo>
                  <a:pt x="4726676" y="1947962"/>
                </a:lnTo>
                <a:close/>
                <a:moveTo>
                  <a:pt x="3258860" y="1771724"/>
                </a:moveTo>
                <a:lnTo>
                  <a:pt x="3333939" y="1928617"/>
                </a:lnTo>
                <a:lnTo>
                  <a:pt x="3281619" y="1974377"/>
                </a:lnTo>
                <a:lnTo>
                  <a:pt x="3206538" y="1817484"/>
                </a:lnTo>
                <a:close/>
                <a:moveTo>
                  <a:pt x="2828664" y="1771724"/>
                </a:moveTo>
                <a:lnTo>
                  <a:pt x="2935916" y="1908744"/>
                </a:lnTo>
                <a:lnTo>
                  <a:pt x="2890532" y="1974116"/>
                </a:lnTo>
                <a:lnTo>
                  <a:pt x="2783277" y="1837097"/>
                </a:lnTo>
                <a:close/>
                <a:moveTo>
                  <a:pt x="2685179" y="1771724"/>
                </a:moveTo>
                <a:lnTo>
                  <a:pt x="2802897" y="1902468"/>
                </a:lnTo>
                <a:lnTo>
                  <a:pt x="2759733" y="1974246"/>
                </a:lnTo>
                <a:lnTo>
                  <a:pt x="2642014" y="1843502"/>
                </a:lnTo>
                <a:close/>
                <a:moveTo>
                  <a:pt x="5914718" y="1771718"/>
                </a:moveTo>
                <a:lnTo>
                  <a:pt x="5955789" y="1850164"/>
                </a:lnTo>
                <a:lnTo>
                  <a:pt x="5827084" y="1974110"/>
                </a:lnTo>
                <a:lnTo>
                  <a:pt x="5786014" y="1895663"/>
                </a:lnTo>
                <a:close/>
                <a:moveTo>
                  <a:pt x="5484784" y="1771588"/>
                </a:moveTo>
                <a:lnTo>
                  <a:pt x="5532264" y="1830292"/>
                </a:lnTo>
                <a:lnTo>
                  <a:pt x="5435735" y="1974110"/>
                </a:lnTo>
                <a:lnTo>
                  <a:pt x="5388255" y="1915406"/>
                </a:lnTo>
                <a:close/>
                <a:moveTo>
                  <a:pt x="3974849" y="1771463"/>
                </a:moveTo>
                <a:lnTo>
                  <a:pt x="3996303" y="1960650"/>
                </a:lnTo>
                <a:lnTo>
                  <a:pt x="3933650" y="1973724"/>
                </a:lnTo>
                <a:lnTo>
                  <a:pt x="3912199" y="1784537"/>
                </a:lnTo>
                <a:close/>
                <a:moveTo>
                  <a:pt x="3402084" y="1771463"/>
                </a:moveTo>
                <a:lnTo>
                  <a:pt x="3466438" y="1934500"/>
                </a:lnTo>
                <a:lnTo>
                  <a:pt x="3412419" y="1973724"/>
                </a:lnTo>
                <a:lnTo>
                  <a:pt x="3348062" y="1810686"/>
                </a:lnTo>
                <a:close/>
                <a:moveTo>
                  <a:pt x="3115768" y="1771463"/>
                </a:moveTo>
                <a:lnTo>
                  <a:pt x="3201571" y="1921556"/>
                </a:lnTo>
                <a:lnTo>
                  <a:pt x="3151736" y="1973855"/>
                </a:lnTo>
                <a:lnTo>
                  <a:pt x="3066064" y="1823761"/>
                </a:lnTo>
                <a:close/>
                <a:moveTo>
                  <a:pt x="5341952" y="1771457"/>
                </a:moveTo>
                <a:lnTo>
                  <a:pt x="5391656" y="1823754"/>
                </a:lnTo>
                <a:lnTo>
                  <a:pt x="5305852" y="1973849"/>
                </a:lnTo>
                <a:lnTo>
                  <a:pt x="5256148" y="1921550"/>
                </a:lnTo>
                <a:close/>
                <a:moveTo>
                  <a:pt x="5055503" y="1771457"/>
                </a:moveTo>
                <a:lnTo>
                  <a:pt x="5109523" y="1810680"/>
                </a:lnTo>
                <a:lnTo>
                  <a:pt x="5045301" y="1973718"/>
                </a:lnTo>
                <a:lnTo>
                  <a:pt x="4991151" y="1934494"/>
                </a:lnTo>
                <a:close/>
                <a:moveTo>
                  <a:pt x="4912149" y="1771457"/>
                </a:moveTo>
                <a:lnTo>
                  <a:pt x="4968392" y="1804142"/>
                </a:lnTo>
                <a:lnTo>
                  <a:pt x="4914764" y="1974110"/>
                </a:lnTo>
                <a:lnTo>
                  <a:pt x="4858652" y="1941425"/>
                </a:lnTo>
                <a:close/>
                <a:moveTo>
                  <a:pt x="4625831" y="1771457"/>
                </a:moveTo>
                <a:lnTo>
                  <a:pt x="4686390" y="1791068"/>
                </a:lnTo>
                <a:lnTo>
                  <a:pt x="4654213" y="1974110"/>
                </a:lnTo>
                <a:lnTo>
                  <a:pt x="4593654" y="1954498"/>
                </a:lnTo>
                <a:close/>
                <a:moveTo>
                  <a:pt x="4482999" y="1771457"/>
                </a:moveTo>
                <a:lnTo>
                  <a:pt x="4545651" y="1784530"/>
                </a:lnTo>
                <a:lnTo>
                  <a:pt x="4523416" y="1973718"/>
                </a:lnTo>
                <a:lnTo>
                  <a:pt x="4461548" y="1960644"/>
                </a:lnTo>
                <a:close/>
                <a:moveTo>
                  <a:pt x="4196426" y="1771457"/>
                </a:moveTo>
                <a:lnTo>
                  <a:pt x="4263388" y="1771457"/>
                </a:lnTo>
                <a:lnTo>
                  <a:pt x="4263388" y="1973718"/>
                </a:lnTo>
                <a:lnTo>
                  <a:pt x="4261294" y="1973718"/>
                </a:lnTo>
                <a:lnTo>
                  <a:pt x="4261294" y="1973724"/>
                </a:lnTo>
                <a:lnTo>
                  <a:pt x="4194332" y="1973724"/>
                </a:lnTo>
                <a:lnTo>
                  <a:pt x="4194332" y="1771463"/>
                </a:lnTo>
                <a:lnTo>
                  <a:pt x="4196426" y="1771463"/>
                </a:lnTo>
                <a:close/>
                <a:moveTo>
                  <a:pt x="7920121" y="1771195"/>
                </a:moveTo>
                <a:lnTo>
                  <a:pt x="7921036" y="1784269"/>
                </a:lnTo>
                <a:lnTo>
                  <a:pt x="8063346" y="1771195"/>
                </a:lnTo>
                <a:lnTo>
                  <a:pt x="8063346" y="1780477"/>
                </a:lnTo>
                <a:lnTo>
                  <a:pt x="8206046" y="1771195"/>
                </a:lnTo>
                <a:lnTo>
                  <a:pt x="8206046" y="1777078"/>
                </a:lnTo>
                <a:lnTo>
                  <a:pt x="8215202" y="1777078"/>
                </a:lnTo>
                <a:lnTo>
                  <a:pt x="8303100" y="1773418"/>
                </a:lnTo>
                <a:lnTo>
                  <a:pt x="8303100" y="1771457"/>
                </a:lnTo>
                <a:lnTo>
                  <a:pt x="12191477" y="1771457"/>
                </a:lnTo>
                <a:lnTo>
                  <a:pt x="12191477" y="1974110"/>
                </a:lnTo>
                <a:lnTo>
                  <a:pt x="8302968" y="1974110"/>
                </a:lnTo>
                <a:lnTo>
                  <a:pt x="8304538" y="1971234"/>
                </a:lnTo>
                <a:lnTo>
                  <a:pt x="8173740" y="1973979"/>
                </a:lnTo>
                <a:lnTo>
                  <a:pt x="8173740" y="1968488"/>
                </a:lnTo>
                <a:lnTo>
                  <a:pt x="8042941" y="1973979"/>
                </a:lnTo>
                <a:lnTo>
                  <a:pt x="8042941" y="1965481"/>
                </a:lnTo>
                <a:lnTo>
                  <a:pt x="7912142" y="1973979"/>
                </a:lnTo>
                <a:lnTo>
                  <a:pt x="7912142" y="1962213"/>
                </a:lnTo>
                <a:lnTo>
                  <a:pt x="7782260" y="1973979"/>
                </a:lnTo>
                <a:lnTo>
                  <a:pt x="7781476" y="1958814"/>
                </a:lnTo>
                <a:lnTo>
                  <a:pt x="7651853" y="1973979"/>
                </a:lnTo>
                <a:lnTo>
                  <a:pt x="7650677" y="1955021"/>
                </a:lnTo>
                <a:lnTo>
                  <a:pt x="7521578" y="1973979"/>
                </a:lnTo>
                <a:lnTo>
                  <a:pt x="7519746" y="1951099"/>
                </a:lnTo>
                <a:lnTo>
                  <a:pt x="7391303" y="1973979"/>
                </a:lnTo>
                <a:lnTo>
                  <a:pt x="7388687" y="1946915"/>
                </a:lnTo>
                <a:lnTo>
                  <a:pt x="7260897" y="1973979"/>
                </a:lnTo>
                <a:lnTo>
                  <a:pt x="7257366" y="1942470"/>
                </a:lnTo>
                <a:lnTo>
                  <a:pt x="7130622" y="1973979"/>
                </a:lnTo>
                <a:lnTo>
                  <a:pt x="7125783" y="1937633"/>
                </a:lnTo>
                <a:lnTo>
                  <a:pt x="7000345" y="1973979"/>
                </a:lnTo>
                <a:lnTo>
                  <a:pt x="6993807" y="1932534"/>
                </a:lnTo>
                <a:lnTo>
                  <a:pt x="6870071" y="1973979"/>
                </a:lnTo>
                <a:lnTo>
                  <a:pt x="6861437" y="1927173"/>
                </a:lnTo>
                <a:lnTo>
                  <a:pt x="6739664" y="1973979"/>
                </a:lnTo>
                <a:lnTo>
                  <a:pt x="6728678" y="1921682"/>
                </a:lnTo>
                <a:lnTo>
                  <a:pt x="6609391" y="1973979"/>
                </a:lnTo>
                <a:lnTo>
                  <a:pt x="6595394" y="1915667"/>
                </a:lnTo>
                <a:lnTo>
                  <a:pt x="6479114" y="1973979"/>
                </a:lnTo>
                <a:lnTo>
                  <a:pt x="6461586" y="1909653"/>
                </a:lnTo>
                <a:lnTo>
                  <a:pt x="6348708" y="1973979"/>
                </a:lnTo>
                <a:lnTo>
                  <a:pt x="6326865" y="1903639"/>
                </a:lnTo>
                <a:lnTo>
                  <a:pt x="6218433" y="1973979"/>
                </a:lnTo>
                <a:lnTo>
                  <a:pt x="6191488" y="1897624"/>
                </a:lnTo>
                <a:lnTo>
                  <a:pt x="6088158" y="1973979"/>
                </a:lnTo>
                <a:lnTo>
                  <a:pt x="6055197" y="1892003"/>
                </a:lnTo>
                <a:lnTo>
                  <a:pt x="5957881" y="1973979"/>
                </a:lnTo>
                <a:lnTo>
                  <a:pt x="5918642" y="1889126"/>
                </a:lnTo>
                <a:lnTo>
                  <a:pt x="6058074" y="1771457"/>
                </a:lnTo>
                <a:lnTo>
                  <a:pt x="6094305" y="1849904"/>
                </a:lnTo>
                <a:lnTo>
                  <a:pt x="6201298" y="1771457"/>
                </a:lnTo>
                <a:lnTo>
                  <a:pt x="6230859" y="1845196"/>
                </a:lnTo>
                <a:lnTo>
                  <a:pt x="6344393" y="1771457"/>
                </a:lnTo>
                <a:lnTo>
                  <a:pt x="6368459" y="1839444"/>
                </a:lnTo>
                <a:lnTo>
                  <a:pt x="6487616" y="1771457"/>
                </a:lnTo>
                <a:lnTo>
                  <a:pt x="6506974" y="1833560"/>
                </a:lnTo>
                <a:lnTo>
                  <a:pt x="6630841" y="1771457"/>
                </a:lnTo>
                <a:lnTo>
                  <a:pt x="6646144" y="1827677"/>
                </a:lnTo>
                <a:lnTo>
                  <a:pt x="6774064" y="1771457"/>
                </a:lnTo>
                <a:lnTo>
                  <a:pt x="6786097" y="1821924"/>
                </a:lnTo>
                <a:lnTo>
                  <a:pt x="6916896" y="1771457"/>
                </a:lnTo>
                <a:lnTo>
                  <a:pt x="6926183" y="1816302"/>
                </a:lnTo>
                <a:lnTo>
                  <a:pt x="7060383" y="1771457"/>
                </a:lnTo>
                <a:lnTo>
                  <a:pt x="7067445" y="1810680"/>
                </a:lnTo>
                <a:lnTo>
                  <a:pt x="7203476" y="1771457"/>
                </a:lnTo>
                <a:lnTo>
                  <a:pt x="7208969" y="1805842"/>
                </a:lnTo>
                <a:lnTo>
                  <a:pt x="7346701" y="1771457"/>
                </a:lnTo>
                <a:lnTo>
                  <a:pt x="7350756" y="1801004"/>
                </a:lnTo>
                <a:lnTo>
                  <a:pt x="7489924" y="1771325"/>
                </a:lnTo>
                <a:lnTo>
                  <a:pt x="7492803" y="1796298"/>
                </a:lnTo>
                <a:lnTo>
                  <a:pt x="7633149" y="1771325"/>
                </a:lnTo>
                <a:lnTo>
                  <a:pt x="7635111" y="1791983"/>
                </a:lnTo>
                <a:lnTo>
                  <a:pt x="7776242" y="1771325"/>
                </a:lnTo>
                <a:lnTo>
                  <a:pt x="7777681" y="1787930"/>
                </a:lnTo>
                <a:close/>
                <a:moveTo>
                  <a:pt x="4118075" y="1771070"/>
                </a:moveTo>
                <a:lnTo>
                  <a:pt x="4128801" y="1967187"/>
                </a:lnTo>
                <a:lnTo>
                  <a:pt x="4064053" y="1973724"/>
                </a:lnTo>
                <a:lnTo>
                  <a:pt x="4053330" y="1777608"/>
                </a:lnTo>
                <a:close/>
                <a:moveTo>
                  <a:pt x="5198336" y="1771064"/>
                </a:moveTo>
                <a:lnTo>
                  <a:pt x="5250655" y="1816825"/>
                </a:lnTo>
                <a:lnTo>
                  <a:pt x="5175576" y="1973718"/>
                </a:lnTo>
                <a:lnTo>
                  <a:pt x="5123257" y="1927957"/>
                </a:lnTo>
                <a:close/>
                <a:moveTo>
                  <a:pt x="252992" y="1770939"/>
                </a:moveTo>
                <a:lnTo>
                  <a:pt x="395689" y="1780223"/>
                </a:lnTo>
                <a:lnTo>
                  <a:pt x="395689" y="1770939"/>
                </a:lnTo>
                <a:lnTo>
                  <a:pt x="538128" y="1784015"/>
                </a:lnTo>
                <a:lnTo>
                  <a:pt x="538914" y="1770939"/>
                </a:lnTo>
                <a:lnTo>
                  <a:pt x="680829" y="1787544"/>
                </a:lnTo>
                <a:lnTo>
                  <a:pt x="682137" y="1770939"/>
                </a:lnTo>
                <a:lnTo>
                  <a:pt x="823400" y="1791597"/>
                </a:lnTo>
                <a:lnTo>
                  <a:pt x="825362" y="1770939"/>
                </a:lnTo>
                <a:lnTo>
                  <a:pt x="965706" y="1795912"/>
                </a:lnTo>
                <a:lnTo>
                  <a:pt x="968584" y="1770939"/>
                </a:lnTo>
                <a:lnTo>
                  <a:pt x="1107752" y="1800488"/>
                </a:lnTo>
                <a:lnTo>
                  <a:pt x="1111672" y="1770939"/>
                </a:lnTo>
                <a:lnTo>
                  <a:pt x="1249535" y="1805326"/>
                </a:lnTo>
                <a:lnTo>
                  <a:pt x="1254897" y="1770939"/>
                </a:lnTo>
                <a:lnTo>
                  <a:pt x="1390928" y="1810162"/>
                </a:lnTo>
                <a:lnTo>
                  <a:pt x="1398120" y="1770939"/>
                </a:lnTo>
                <a:lnTo>
                  <a:pt x="1531928" y="1815784"/>
                </a:lnTo>
                <a:lnTo>
                  <a:pt x="1541345" y="1770939"/>
                </a:lnTo>
                <a:lnTo>
                  <a:pt x="1672144" y="1821406"/>
                </a:lnTo>
                <a:lnTo>
                  <a:pt x="1684177" y="1770939"/>
                </a:lnTo>
                <a:lnTo>
                  <a:pt x="1811966" y="1827159"/>
                </a:lnTo>
                <a:lnTo>
                  <a:pt x="1826355" y="1771463"/>
                </a:lnTo>
                <a:lnTo>
                  <a:pt x="1950352" y="1833566"/>
                </a:lnTo>
                <a:lnTo>
                  <a:pt x="1969579" y="1771463"/>
                </a:lnTo>
                <a:lnTo>
                  <a:pt x="2088736" y="1839450"/>
                </a:lnTo>
                <a:lnTo>
                  <a:pt x="2112805" y="1771463"/>
                </a:lnTo>
                <a:lnTo>
                  <a:pt x="2226992" y="1844940"/>
                </a:lnTo>
                <a:lnTo>
                  <a:pt x="2256680" y="1771200"/>
                </a:lnTo>
                <a:lnTo>
                  <a:pt x="2363676" y="1849647"/>
                </a:lnTo>
                <a:lnTo>
                  <a:pt x="2399907" y="1771200"/>
                </a:lnTo>
                <a:lnTo>
                  <a:pt x="2539208" y="1888871"/>
                </a:lnTo>
                <a:lnTo>
                  <a:pt x="2499966" y="1973724"/>
                </a:lnTo>
                <a:lnTo>
                  <a:pt x="2402653" y="1891746"/>
                </a:lnTo>
                <a:lnTo>
                  <a:pt x="2369692" y="1973724"/>
                </a:lnTo>
                <a:lnTo>
                  <a:pt x="2266362" y="1897369"/>
                </a:lnTo>
                <a:lnTo>
                  <a:pt x="2239287" y="1973724"/>
                </a:lnTo>
                <a:lnTo>
                  <a:pt x="2130855" y="1903383"/>
                </a:lnTo>
                <a:lnTo>
                  <a:pt x="2109011" y="1973724"/>
                </a:lnTo>
                <a:lnTo>
                  <a:pt x="1996262" y="1909398"/>
                </a:lnTo>
                <a:lnTo>
                  <a:pt x="1978736" y="1973724"/>
                </a:lnTo>
                <a:lnTo>
                  <a:pt x="1862325" y="1915412"/>
                </a:lnTo>
                <a:lnTo>
                  <a:pt x="1848460" y="1973724"/>
                </a:lnTo>
                <a:lnTo>
                  <a:pt x="1729041" y="1921426"/>
                </a:lnTo>
                <a:lnTo>
                  <a:pt x="1718054" y="1973724"/>
                </a:lnTo>
                <a:lnTo>
                  <a:pt x="1596281" y="1926918"/>
                </a:lnTo>
                <a:lnTo>
                  <a:pt x="1587779" y="1973724"/>
                </a:lnTo>
                <a:lnTo>
                  <a:pt x="1464043" y="1932277"/>
                </a:lnTo>
                <a:lnTo>
                  <a:pt x="1457503" y="1973724"/>
                </a:lnTo>
                <a:lnTo>
                  <a:pt x="1332067" y="1937378"/>
                </a:lnTo>
                <a:lnTo>
                  <a:pt x="1327098" y="1973724"/>
                </a:lnTo>
                <a:lnTo>
                  <a:pt x="1200484" y="1942215"/>
                </a:lnTo>
                <a:lnTo>
                  <a:pt x="1196822" y="1973724"/>
                </a:lnTo>
                <a:lnTo>
                  <a:pt x="1069168" y="1946660"/>
                </a:lnTo>
                <a:lnTo>
                  <a:pt x="1066552" y="1973724"/>
                </a:lnTo>
                <a:lnTo>
                  <a:pt x="937977" y="1950844"/>
                </a:lnTo>
                <a:lnTo>
                  <a:pt x="936278" y="1973724"/>
                </a:lnTo>
                <a:lnTo>
                  <a:pt x="807050" y="1954766"/>
                </a:lnTo>
                <a:lnTo>
                  <a:pt x="805873" y="1973724"/>
                </a:lnTo>
                <a:lnTo>
                  <a:pt x="676383" y="1958557"/>
                </a:lnTo>
                <a:lnTo>
                  <a:pt x="675597" y="1973724"/>
                </a:lnTo>
                <a:lnTo>
                  <a:pt x="545715" y="1961956"/>
                </a:lnTo>
                <a:lnTo>
                  <a:pt x="545715" y="1973724"/>
                </a:lnTo>
                <a:lnTo>
                  <a:pt x="415570" y="1965225"/>
                </a:lnTo>
                <a:lnTo>
                  <a:pt x="415570" y="1973724"/>
                </a:lnTo>
                <a:lnTo>
                  <a:pt x="285426" y="1968233"/>
                </a:lnTo>
                <a:lnTo>
                  <a:pt x="285426" y="1973724"/>
                </a:lnTo>
                <a:lnTo>
                  <a:pt x="154631" y="1970978"/>
                </a:lnTo>
                <a:lnTo>
                  <a:pt x="154631" y="1973462"/>
                </a:lnTo>
                <a:lnTo>
                  <a:pt x="0" y="1973462"/>
                </a:lnTo>
                <a:lnTo>
                  <a:pt x="0" y="1771200"/>
                </a:lnTo>
                <a:lnTo>
                  <a:pt x="156070" y="1771200"/>
                </a:lnTo>
                <a:lnTo>
                  <a:pt x="156070" y="1773162"/>
                </a:lnTo>
                <a:lnTo>
                  <a:pt x="243966" y="1776823"/>
                </a:lnTo>
                <a:lnTo>
                  <a:pt x="252992" y="1776823"/>
                </a:lnTo>
                <a:close/>
                <a:moveTo>
                  <a:pt x="4337943" y="1770934"/>
                </a:moveTo>
                <a:lnTo>
                  <a:pt x="4403342" y="1777471"/>
                </a:lnTo>
                <a:lnTo>
                  <a:pt x="4392617" y="1973588"/>
                </a:lnTo>
                <a:lnTo>
                  <a:pt x="4327218" y="1967050"/>
                </a:lnTo>
                <a:close/>
                <a:moveTo>
                  <a:pt x="3831758" y="1770809"/>
                </a:moveTo>
                <a:lnTo>
                  <a:pt x="3863934" y="1953851"/>
                </a:lnTo>
                <a:lnTo>
                  <a:pt x="3803375" y="1973462"/>
                </a:lnTo>
                <a:lnTo>
                  <a:pt x="3771198" y="1790420"/>
                </a:lnTo>
                <a:close/>
                <a:moveTo>
                  <a:pt x="3545310" y="1770809"/>
                </a:moveTo>
                <a:lnTo>
                  <a:pt x="3598934" y="1940777"/>
                </a:lnTo>
                <a:lnTo>
                  <a:pt x="3542691" y="1973462"/>
                </a:lnTo>
                <a:lnTo>
                  <a:pt x="3489065" y="1803494"/>
                </a:lnTo>
                <a:close/>
                <a:moveTo>
                  <a:pt x="2971628" y="1515725"/>
                </a:moveTo>
                <a:lnTo>
                  <a:pt x="3068157" y="1659546"/>
                </a:lnTo>
                <a:lnTo>
                  <a:pt x="3020543" y="1718249"/>
                </a:lnTo>
                <a:lnTo>
                  <a:pt x="2924017" y="1574431"/>
                </a:lnTo>
                <a:close/>
                <a:moveTo>
                  <a:pt x="2828402" y="1515725"/>
                </a:moveTo>
                <a:lnTo>
                  <a:pt x="2935657" y="1652748"/>
                </a:lnTo>
                <a:lnTo>
                  <a:pt x="2890271" y="1718118"/>
                </a:lnTo>
                <a:lnTo>
                  <a:pt x="2783015" y="1581099"/>
                </a:lnTo>
                <a:close/>
                <a:moveTo>
                  <a:pt x="2685179" y="1515725"/>
                </a:moveTo>
                <a:lnTo>
                  <a:pt x="2802897" y="1646472"/>
                </a:lnTo>
                <a:lnTo>
                  <a:pt x="2759733" y="1718249"/>
                </a:lnTo>
                <a:lnTo>
                  <a:pt x="2642014" y="1587504"/>
                </a:lnTo>
                <a:close/>
                <a:moveTo>
                  <a:pt x="3688533" y="1515594"/>
                </a:moveTo>
                <a:lnTo>
                  <a:pt x="3731435" y="1691707"/>
                </a:lnTo>
                <a:lnTo>
                  <a:pt x="3673098" y="1717856"/>
                </a:lnTo>
                <a:lnTo>
                  <a:pt x="3630198" y="1541744"/>
                </a:lnTo>
                <a:close/>
                <a:moveTo>
                  <a:pt x="3402084" y="1515594"/>
                </a:moveTo>
                <a:lnTo>
                  <a:pt x="3466438" y="1678634"/>
                </a:lnTo>
                <a:lnTo>
                  <a:pt x="3412419" y="1717856"/>
                </a:lnTo>
                <a:lnTo>
                  <a:pt x="3348062" y="1554819"/>
                </a:lnTo>
                <a:close/>
                <a:moveTo>
                  <a:pt x="2541954" y="1515594"/>
                </a:moveTo>
                <a:lnTo>
                  <a:pt x="2670659" y="1639543"/>
                </a:lnTo>
                <a:lnTo>
                  <a:pt x="2629587" y="1717987"/>
                </a:lnTo>
                <a:lnTo>
                  <a:pt x="2501015" y="1594042"/>
                </a:lnTo>
                <a:close/>
                <a:moveTo>
                  <a:pt x="3258860" y="1515334"/>
                </a:moveTo>
                <a:lnTo>
                  <a:pt x="3333939" y="1672227"/>
                </a:lnTo>
                <a:lnTo>
                  <a:pt x="3281619" y="1717987"/>
                </a:lnTo>
                <a:lnTo>
                  <a:pt x="3206538" y="1561094"/>
                </a:lnTo>
                <a:close/>
                <a:moveTo>
                  <a:pt x="5914718" y="1515328"/>
                </a:moveTo>
                <a:lnTo>
                  <a:pt x="5955789" y="1593775"/>
                </a:lnTo>
                <a:lnTo>
                  <a:pt x="5827084" y="1717720"/>
                </a:lnTo>
                <a:lnTo>
                  <a:pt x="5786014" y="1639274"/>
                </a:lnTo>
                <a:close/>
                <a:moveTo>
                  <a:pt x="5771494" y="1515328"/>
                </a:moveTo>
                <a:lnTo>
                  <a:pt x="5814789" y="1587107"/>
                </a:lnTo>
                <a:lnTo>
                  <a:pt x="5697070" y="1717850"/>
                </a:lnTo>
                <a:lnTo>
                  <a:pt x="5653775" y="1646072"/>
                </a:lnTo>
                <a:close/>
                <a:moveTo>
                  <a:pt x="5628402" y="1515328"/>
                </a:moveTo>
                <a:lnTo>
                  <a:pt x="5673788" y="1580700"/>
                </a:lnTo>
                <a:lnTo>
                  <a:pt x="5566534" y="1717720"/>
                </a:lnTo>
                <a:lnTo>
                  <a:pt x="5521146" y="1652348"/>
                </a:lnTo>
                <a:close/>
                <a:moveTo>
                  <a:pt x="5485177" y="1515328"/>
                </a:moveTo>
                <a:lnTo>
                  <a:pt x="5532657" y="1574032"/>
                </a:lnTo>
                <a:lnTo>
                  <a:pt x="5436128" y="1717850"/>
                </a:lnTo>
                <a:lnTo>
                  <a:pt x="5388648" y="1659147"/>
                </a:lnTo>
                <a:close/>
                <a:moveTo>
                  <a:pt x="5054588" y="1515328"/>
                </a:moveTo>
                <a:lnTo>
                  <a:pt x="5108608" y="1554552"/>
                </a:lnTo>
                <a:lnTo>
                  <a:pt x="5044386" y="1717589"/>
                </a:lnTo>
                <a:lnTo>
                  <a:pt x="4990235" y="1678367"/>
                </a:lnTo>
                <a:close/>
                <a:moveTo>
                  <a:pt x="4769578" y="1515328"/>
                </a:moveTo>
                <a:lnTo>
                  <a:pt x="4827914" y="1541477"/>
                </a:lnTo>
                <a:lnTo>
                  <a:pt x="4785012" y="1717589"/>
                </a:lnTo>
                <a:lnTo>
                  <a:pt x="4726676" y="1691440"/>
                </a:lnTo>
                <a:close/>
                <a:moveTo>
                  <a:pt x="3974849" y="1514942"/>
                </a:moveTo>
                <a:lnTo>
                  <a:pt x="3996303" y="1704127"/>
                </a:lnTo>
                <a:lnTo>
                  <a:pt x="3933650" y="1717203"/>
                </a:lnTo>
                <a:lnTo>
                  <a:pt x="3912199" y="1528015"/>
                </a:lnTo>
                <a:close/>
                <a:moveTo>
                  <a:pt x="3545310" y="1514942"/>
                </a:moveTo>
                <a:lnTo>
                  <a:pt x="3598934" y="1684909"/>
                </a:lnTo>
                <a:lnTo>
                  <a:pt x="3542691" y="1717595"/>
                </a:lnTo>
                <a:lnTo>
                  <a:pt x="3489065" y="1547627"/>
                </a:lnTo>
                <a:close/>
                <a:moveTo>
                  <a:pt x="5341952" y="1514936"/>
                </a:moveTo>
                <a:lnTo>
                  <a:pt x="5391656" y="1567234"/>
                </a:lnTo>
                <a:lnTo>
                  <a:pt x="5305852" y="1717328"/>
                </a:lnTo>
                <a:lnTo>
                  <a:pt x="5256148" y="1665031"/>
                </a:lnTo>
                <a:close/>
                <a:moveTo>
                  <a:pt x="4911887" y="1514936"/>
                </a:moveTo>
                <a:lnTo>
                  <a:pt x="4968130" y="1547622"/>
                </a:lnTo>
                <a:lnTo>
                  <a:pt x="4914503" y="1717589"/>
                </a:lnTo>
                <a:lnTo>
                  <a:pt x="4858390" y="1684904"/>
                </a:lnTo>
                <a:close/>
                <a:moveTo>
                  <a:pt x="4625831" y="1514936"/>
                </a:moveTo>
                <a:lnTo>
                  <a:pt x="4686390" y="1534547"/>
                </a:lnTo>
                <a:lnTo>
                  <a:pt x="4654213" y="1717589"/>
                </a:lnTo>
                <a:lnTo>
                  <a:pt x="4593654" y="1697977"/>
                </a:lnTo>
                <a:close/>
                <a:moveTo>
                  <a:pt x="4482999" y="1514936"/>
                </a:moveTo>
                <a:lnTo>
                  <a:pt x="4545651" y="1528010"/>
                </a:lnTo>
                <a:lnTo>
                  <a:pt x="4523416" y="1717067"/>
                </a:lnTo>
                <a:lnTo>
                  <a:pt x="4461548" y="1704123"/>
                </a:lnTo>
                <a:close/>
                <a:moveTo>
                  <a:pt x="4196426" y="1514936"/>
                </a:moveTo>
                <a:lnTo>
                  <a:pt x="4263388" y="1514936"/>
                </a:lnTo>
                <a:lnTo>
                  <a:pt x="4263388" y="1717198"/>
                </a:lnTo>
                <a:lnTo>
                  <a:pt x="4261294" y="1717198"/>
                </a:lnTo>
                <a:lnTo>
                  <a:pt x="4261294" y="1717203"/>
                </a:lnTo>
                <a:lnTo>
                  <a:pt x="4194332" y="1717203"/>
                </a:lnTo>
                <a:lnTo>
                  <a:pt x="4194332" y="1514942"/>
                </a:lnTo>
                <a:lnTo>
                  <a:pt x="4196426" y="1514942"/>
                </a:lnTo>
                <a:close/>
                <a:moveTo>
                  <a:pt x="3115768" y="1514810"/>
                </a:moveTo>
                <a:lnTo>
                  <a:pt x="3201571" y="1664905"/>
                </a:lnTo>
                <a:lnTo>
                  <a:pt x="3151736" y="1717203"/>
                </a:lnTo>
                <a:lnTo>
                  <a:pt x="3066064" y="1567109"/>
                </a:lnTo>
                <a:close/>
                <a:moveTo>
                  <a:pt x="2256680" y="1514679"/>
                </a:moveTo>
                <a:lnTo>
                  <a:pt x="2363676" y="1593127"/>
                </a:lnTo>
                <a:lnTo>
                  <a:pt x="2399907" y="1514679"/>
                </a:lnTo>
                <a:lnTo>
                  <a:pt x="2539208" y="1632351"/>
                </a:lnTo>
                <a:lnTo>
                  <a:pt x="2499966" y="1717203"/>
                </a:lnTo>
                <a:lnTo>
                  <a:pt x="2402653" y="1635227"/>
                </a:lnTo>
                <a:lnTo>
                  <a:pt x="2369692" y="1717203"/>
                </a:lnTo>
                <a:lnTo>
                  <a:pt x="2266362" y="1640850"/>
                </a:lnTo>
                <a:lnTo>
                  <a:pt x="2239287" y="1717203"/>
                </a:lnTo>
                <a:lnTo>
                  <a:pt x="2130855" y="1646863"/>
                </a:lnTo>
                <a:lnTo>
                  <a:pt x="2109011" y="1717203"/>
                </a:lnTo>
                <a:lnTo>
                  <a:pt x="1996262" y="1652878"/>
                </a:lnTo>
                <a:lnTo>
                  <a:pt x="1978736" y="1717203"/>
                </a:lnTo>
                <a:lnTo>
                  <a:pt x="1862325" y="1658892"/>
                </a:lnTo>
                <a:lnTo>
                  <a:pt x="1848460" y="1717203"/>
                </a:lnTo>
                <a:lnTo>
                  <a:pt x="1729041" y="1664905"/>
                </a:lnTo>
                <a:lnTo>
                  <a:pt x="1718054" y="1717203"/>
                </a:lnTo>
                <a:lnTo>
                  <a:pt x="1596281" y="1670397"/>
                </a:lnTo>
                <a:lnTo>
                  <a:pt x="1587779" y="1717203"/>
                </a:lnTo>
                <a:lnTo>
                  <a:pt x="1464043" y="1675756"/>
                </a:lnTo>
                <a:lnTo>
                  <a:pt x="1457503" y="1717203"/>
                </a:lnTo>
                <a:lnTo>
                  <a:pt x="1332067" y="1680856"/>
                </a:lnTo>
                <a:lnTo>
                  <a:pt x="1327098" y="1717203"/>
                </a:lnTo>
                <a:lnTo>
                  <a:pt x="1200484" y="1685692"/>
                </a:lnTo>
                <a:lnTo>
                  <a:pt x="1196822" y="1717203"/>
                </a:lnTo>
                <a:lnTo>
                  <a:pt x="1069168" y="1690138"/>
                </a:lnTo>
                <a:lnTo>
                  <a:pt x="1066552" y="1717203"/>
                </a:lnTo>
                <a:lnTo>
                  <a:pt x="937977" y="1694321"/>
                </a:lnTo>
                <a:lnTo>
                  <a:pt x="936278" y="1717203"/>
                </a:lnTo>
                <a:lnTo>
                  <a:pt x="807050" y="1698375"/>
                </a:lnTo>
                <a:lnTo>
                  <a:pt x="805873" y="1717203"/>
                </a:lnTo>
                <a:lnTo>
                  <a:pt x="676383" y="1702035"/>
                </a:lnTo>
                <a:lnTo>
                  <a:pt x="675597" y="1717203"/>
                </a:lnTo>
                <a:lnTo>
                  <a:pt x="545715" y="1705434"/>
                </a:lnTo>
                <a:lnTo>
                  <a:pt x="545715" y="1717203"/>
                </a:lnTo>
                <a:lnTo>
                  <a:pt x="415570" y="1708703"/>
                </a:lnTo>
                <a:lnTo>
                  <a:pt x="415570" y="1717203"/>
                </a:lnTo>
                <a:lnTo>
                  <a:pt x="285426" y="1711711"/>
                </a:lnTo>
                <a:lnTo>
                  <a:pt x="285426" y="1717203"/>
                </a:lnTo>
                <a:lnTo>
                  <a:pt x="154631" y="1714457"/>
                </a:lnTo>
                <a:lnTo>
                  <a:pt x="154631" y="1717464"/>
                </a:lnTo>
                <a:lnTo>
                  <a:pt x="0" y="1717464"/>
                </a:lnTo>
                <a:lnTo>
                  <a:pt x="0" y="1515203"/>
                </a:lnTo>
                <a:lnTo>
                  <a:pt x="155155" y="1515203"/>
                </a:lnTo>
                <a:lnTo>
                  <a:pt x="155155" y="1517165"/>
                </a:lnTo>
                <a:lnTo>
                  <a:pt x="243051" y="1520825"/>
                </a:lnTo>
                <a:lnTo>
                  <a:pt x="252077" y="1520825"/>
                </a:lnTo>
                <a:lnTo>
                  <a:pt x="252077" y="1514942"/>
                </a:lnTo>
                <a:lnTo>
                  <a:pt x="394774" y="1524355"/>
                </a:lnTo>
                <a:lnTo>
                  <a:pt x="394774" y="1514942"/>
                </a:lnTo>
                <a:lnTo>
                  <a:pt x="537213" y="1528015"/>
                </a:lnTo>
                <a:lnTo>
                  <a:pt x="537998" y="1514942"/>
                </a:lnTo>
                <a:lnTo>
                  <a:pt x="679914" y="1531546"/>
                </a:lnTo>
                <a:lnTo>
                  <a:pt x="681222" y="1514942"/>
                </a:lnTo>
                <a:lnTo>
                  <a:pt x="822485" y="1535601"/>
                </a:lnTo>
                <a:lnTo>
                  <a:pt x="824447" y="1514942"/>
                </a:lnTo>
                <a:lnTo>
                  <a:pt x="964791" y="1539914"/>
                </a:lnTo>
                <a:lnTo>
                  <a:pt x="967668" y="1514942"/>
                </a:lnTo>
                <a:lnTo>
                  <a:pt x="1106837" y="1544489"/>
                </a:lnTo>
                <a:lnTo>
                  <a:pt x="1110757" y="1514942"/>
                </a:lnTo>
                <a:lnTo>
                  <a:pt x="1248618" y="1549327"/>
                </a:lnTo>
                <a:lnTo>
                  <a:pt x="1253980" y="1514942"/>
                </a:lnTo>
                <a:lnTo>
                  <a:pt x="1390011" y="1554165"/>
                </a:lnTo>
                <a:lnTo>
                  <a:pt x="1397206" y="1514942"/>
                </a:lnTo>
                <a:lnTo>
                  <a:pt x="1531011" y="1559787"/>
                </a:lnTo>
                <a:lnTo>
                  <a:pt x="1540430" y="1514942"/>
                </a:lnTo>
                <a:lnTo>
                  <a:pt x="1671228" y="1565410"/>
                </a:lnTo>
                <a:lnTo>
                  <a:pt x="1683262" y="1514942"/>
                </a:lnTo>
                <a:lnTo>
                  <a:pt x="1811051" y="1571162"/>
                </a:lnTo>
                <a:lnTo>
                  <a:pt x="1826355" y="1514942"/>
                </a:lnTo>
                <a:lnTo>
                  <a:pt x="1950352" y="1577046"/>
                </a:lnTo>
                <a:lnTo>
                  <a:pt x="1969579" y="1514942"/>
                </a:lnTo>
                <a:lnTo>
                  <a:pt x="2088736" y="1582929"/>
                </a:lnTo>
                <a:lnTo>
                  <a:pt x="2112805" y="1514942"/>
                </a:lnTo>
                <a:lnTo>
                  <a:pt x="2226992" y="1588421"/>
                </a:lnTo>
                <a:close/>
                <a:moveTo>
                  <a:pt x="4118075" y="1514549"/>
                </a:moveTo>
                <a:lnTo>
                  <a:pt x="4128801" y="1710666"/>
                </a:lnTo>
                <a:lnTo>
                  <a:pt x="4064053" y="1717203"/>
                </a:lnTo>
                <a:lnTo>
                  <a:pt x="4053330" y="1521087"/>
                </a:lnTo>
                <a:close/>
                <a:moveTo>
                  <a:pt x="7060383" y="1514543"/>
                </a:moveTo>
                <a:lnTo>
                  <a:pt x="7067445" y="1553767"/>
                </a:lnTo>
                <a:lnTo>
                  <a:pt x="7203476" y="1514543"/>
                </a:lnTo>
                <a:lnTo>
                  <a:pt x="7208969" y="1548930"/>
                </a:lnTo>
                <a:lnTo>
                  <a:pt x="7346701" y="1514543"/>
                </a:lnTo>
                <a:lnTo>
                  <a:pt x="7350756" y="1544092"/>
                </a:lnTo>
                <a:lnTo>
                  <a:pt x="7489924" y="1514543"/>
                </a:lnTo>
                <a:lnTo>
                  <a:pt x="7492803" y="1539515"/>
                </a:lnTo>
                <a:lnTo>
                  <a:pt x="7633149" y="1514936"/>
                </a:lnTo>
                <a:lnTo>
                  <a:pt x="7635111" y="1535594"/>
                </a:lnTo>
                <a:lnTo>
                  <a:pt x="7776896" y="1514674"/>
                </a:lnTo>
                <a:lnTo>
                  <a:pt x="7778336" y="1531278"/>
                </a:lnTo>
                <a:lnTo>
                  <a:pt x="7920121" y="1514674"/>
                </a:lnTo>
                <a:lnTo>
                  <a:pt x="7921036" y="1527749"/>
                </a:lnTo>
                <a:lnTo>
                  <a:pt x="8063346" y="1514674"/>
                </a:lnTo>
                <a:lnTo>
                  <a:pt x="8063346" y="1524088"/>
                </a:lnTo>
                <a:lnTo>
                  <a:pt x="8206046" y="1514674"/>
                </a:lnTo>
                <a:lnTo>
                  <a:pt x="8206046" y="1520557"/>
                </a:lnTo>
                <a:lnTo>
                  <a:pt x="8215202" y="1520557"/>
                </a:lnTo>
                <a:lnTo>
                  <a:pt x="8303100" y="1516897"/>
                </a:lnTo>
                <a:lnTo>
                  <a:pt x="8303100" y="1514936"/>
                </a:lnTo>
                <a:lnTo>
                  <a:pt x="12191607" y="1514936"/>
                </a:lnTo>
                <a:lnTo>
                  <a:pt x="12191607" y="1717198"/>
                </a:lnTo>
                <a:lnTo>
                  <a:pt x="8303100" y="1717198"/>
                </a:lnTo>
                <a:lnTo>
                  <a:pt x="8303884" y="1714321"/>
                </a:lnTo>
                <a:lnTo>
                  <a:pt x="8173086" y="1717067"/>
                </a:lnTo>
                <a:lnTo>
                  <a:pt x="8173086" y="1711575"/>
                </a:lnTo>
                <a:lnTo>
                  <a:pt x="8042287" y="1717067"/>
                </a:lnTo>
                <a:lnTo>
                  <a:pt x="8042287" y="1708568"/>
                </a:lnTo>
                <a:lnTo>
                  <a:pt x="7911488" y="1717067"/>
                </a:lnTo>
                <a:lnTo>
                  <a:pt x="7911488" y="1705299"/>
                </a:lnTo>
                <a:lnTo>
                  <a:pt x="7781606" y="1717067"/>
                </a:lnTo>
                <a:lnTo>
                  <a:pt x="7780822" y="1701900"/>
                </a:lnTo>
                <a:lnTo>
                  <a:pt x="7651199" y="1717067"/>
                </a:lnTo>
                <a:lnTo>
                  <a:pt x="7650023" y="1698240"/>
                </a:lnTo>
                <a:lnTo>
                  <a:pt x="7520924" y="1717067"/>
                </a:lnTo>
                <a:lnTo>
                  <a:pt x="7519094" y="1694186"/>
                </a:lnTo>
                <a:lnTo>
                  <a:pt x="7390649" y="1717067"/>
                </a:lnTo>
                <a:lnTo>
                  <a:pt x="7388033" y="1690002"/>
                </a:lnTo>
                <a:lnTo>
                  <a:pt x="7260243" y="1717067"/>
                </a:lnTo>
                <a:lnTo>
                  <a:pt x="7256712" y="1685556"/>
                </a:lnTo>
                <a:lnTo>
                  <a:pt x="7129968" y="1717067"/>
                </a:lnTo>
                <a:lnTo>
                  <a:pt x="7125129" y="1680720"/>
                </a:lnTo>
                <a:lnTo>
                  <a:pt x="6999693" y="1717067"/>
                </a:lnTo>
                <a:lnTo>
                  <a:pt x="6993152" y="1675620"/>
                </a:lnTo>
                <a:lnTo>
                  <a:pt x="6869416" y="1717067"/>
                </a:lnTo>
                <a:lnTo>
                  <a:pt x="6860785" y="1670261"/>
                </a:lnTo>
                <a:lnTo>
                  <a:pt x="6739664" y="1717459"/>
                </a:lnTo>
                <a:lnTo>
                  <a:pt x="6728678" y="1665162"/>
                </a:lnTo>
                <a:lnTo>
                  <a:pt x="6609391" y="1717459"/>
                </a:lnTo>
                <a:lnTo>
                  <a:pt x="6595394" y="1659147"/>
                </a:lnTo>
                <a:lnTo>
                  <a:pt x="6479114" y="1717459"/>
                </a:lnTo>
                <a:lnTo>
                  <a:pt x="6461586" y="1653133"/>
                </a:lnTo>
                <a:lnTo>
                  <a:pt x="6348708" y="1717459"/>
                </a:lnTo>
                <a:lnTo>
                  <a:pt x="6326865" y="1647119"/>
                </a:lnTo>
                <a:lnTo>
                  <a:pt x="6218433" y="1717459"/>
                </a:lnTo>
                <a:lnTo>
                  <a:pt x="6191488" y="1641104"/>
                </a:lnTo>
                <a:lnTo>
                  <a:pt x="6088158" y="1717459"/>
                </a:lnTo>
                <a:lnTo>
                  <a:pt x="6055197" y="1635483"/>
                </a:lnTo>
                <a:lnTo>
                  <a:pt x="5957881" y="1717459"/>
                </a:lnTo>
                <a:lnTo>
                  <a:pt x="5918642" y="1632606"/>
                </a:lnTo>
                <a:lnTo>
                  <a:pt x="6058074" y="1514936"/>
                </a:lnTo>
                <a:lnTo>
                  <a:pt x="6094305" y="1593383"/>
                </a:lnTo>
                <a:lnTo>
                  <a:pt x="6201298" y="1514936"/>
                </a:lnTo>
                <a:lnTo>
                  <a:pt x="6230859" y="1588676"/>
                </a:lnTo>
                <a:lnTo>
                  <a:pt x="6344393" y="1514936"/>
                </a:lnTo>
                <a:lnTo>
                  <a:pt x="6368459" y="1582923"/>
                </a:lnTo>
                <a:lnTo>
                  <a:pt x="6487616" y="1514936"/>
                </a:lnTo>
                <a:lnTo>
                  <a:pt x="6506974" y="1577039"/>
                </a:lnTo>
                <a:lnTo>
                  <a:pt x="6630841" y="1514936"/>
                </a:lnTo>
                <a:lnTo>
                  <a:pt x="6646144" y="1571156"/>
                </a:lnTo>
                <a:lnTo>
                  <a:pt x="6774064" y="1514936"/>
                </a:lnTo>
                <a:lnTo>
                  <a:pt x="6786097" y="1565403"/>
                </a:lnTo>
                <a:lnTo>
                  <a:pt x="6916896" y="1514936"/>
                </a:lnTo>
                <a:lnTo>
                  <a:pt x="6926183" y="1559781"/>
                </a:lnTo>
                <a:close/>
                <a:moveTo>
                  <a:pt x="5198336" y="1514543"/>
                </a:moveTo>
                <a:lnTo>
                  <a:pt x="5250655" y="1560303"/>
                </a:lnTo>
                <a:lnTo>
                  <a:pt x="5175576" y="1717198"/>
                </a:lnTo>
                <a:lnTo>
                  <a:pt x="5123257" y="1671436"/>
                </a:lnTo>
                <a:close/>
                <a:moveTo>
                  <a:pt x="4337943" y="1514413"/>
                </a:moveTo>
                <a:lnTo>
                  <a:pt x="4403342" y="1520950"/>
                </a:lnTo>
                <a:lnTo>
                  <a:pt x="4392617" y="1717067"/>
                </a:lnTo>
                <a:lnTo>
                  <a:pt x="4327218" y="1710530"/>
                </a:lnTo>
                <a:close/>
                <a:moveTo>
                  <a:pt x="3831758" y="1514288"/>
                </a:moveTo>
                <a:lnTo>
                  <a:pt x="3863934" y="1697329"/>
                </a:lnTo>
                <a:lnTo>
                  <a:pt x="3803375" y="1716941"/>
                </a:lnTo>
                <a:lnTo>
                  <a:pt x="3771198" y="1533899"/>
                </a:lnTo>
                <a:close/>
                <a:moveTo>
                  <a:pt x="3258860" y="1258813"/>
                </a:moveTo>
                <a:lnTo>
                  <a:pt x="3333939" y="1415706"/>
                </a:lnTo>
                <a:lnTo>
                  <a:pt x="3281619" y="1461468"/>
                </a:lnTo>
                <a:lnTo>
                  <a:pt x="3206538" y="1304573"/>
                </a:lnTo>
                <a:close/>
                <a:moveTo>
                  <a:pt x="2686354" y="1258813"/>
                </a:moveTo>
                <a:lnTo>
                  <a:pt x="2804073" y="1389557"/>
                </a:lnTo>
                <a:lnTo>
                  <a:pt x="2760911" y="1461337"/>
                </a:lnTo>
                <a:lnTo>
                  <a:pt x="2643192" y="1330592"/>
                </a:lnTo>
                <a:close/>
                <a:moveTo>
                  <a:pt x="5055503" y="1258807"/>
                </a:moveTo>
                <a:lnTo>
                  <a:pt x="5109523" y="1298031"/>
                </a:lnTo>
                <a:lnTo>
                  <a:pt x="5045301" y="1461069"/>
                </a:lnTo>
                <a:lnTo>
                  <a:pt x="4991151" y="1421846"/>
                </a:lnTo>
                <a:close/>
                <a:moveTo>
                  <a:pt x="4769578" y="1258807"/>
                </a:moveTo>
                <a:lnTo>
                  <a:pt x="4827914" y="1284957"/>
                </a:lnTo>
                <a:lnTo>
                  <a:pt x="4785012" y="1461069"/>
                </a:lnTo>
                <a:lnTo>
                  <a:pt x="4726285" y="1434921"/>
                </a:lnTo>
                <a:close/>
                <a:moveTo>
                  <a:pt x="3831758" y="1258683"/>
                </a:moveTo>
                <a:lnTo>
                  <a:pt x="3863934" y="1441726"/>
                </a:lnTo>
                <a:lnTo>
                  <a:pt x="3803375" y="1461075"/>
                </a:lnTo>
                <a:lnTo>
                  <a:pt x="3771198" y="1278032"/>
                </a:lnTo>
                <a:close/>
                <a:moveTo>
                  <a:pt x="2829580" y="1258683"/>
                </a:moveTo>
                <a:lnTo>
                  <a:pt x="2936835" y="1395703"/>
                </a:lnTo>
                <a:lnTo>
                  <a:pt x="2891449" y="1461075"/>
                </a:lnTo>
                <a:lnTo>
                  <a:pt x="2784192" y="1324055"/>
                </a:lnTo>
                <a:close/>
                <a:moveTo>
                  <a:pt x="2542869" y="1258683"/>
                </a:moveTo>
                <a:lnTo>
                  <a:pt x="2671576" y="1382629"/>
                </a:lnTo>
                <a:lnTo>
                  <a:pt x="2630504" y="1461075"/>
                </a:lnTo>
                <a:lnTo>
                  <a:pt x="2501930" y="1337129"/>
                </a:lnTo>
                <a:close/>
                <a:moveTo>
                  <a:pt x="5915111" y="1258677"/>
                </a:moveTo>
                <a:lnTo>
                  <a:pt x="5956182" y="1337123"/>
                </a:lnTo>
                <a:lnTo>
                  <a:pt x="5827476" y="1461069"/>
                </a:lnTo>
                <a:lnTo>
                  <a:pt x="5786014" y="1382622"/>
                </a:lnTo>
                <a:close/>
                <a:moveTo>
                  <a:pt x="5628794" y="1258677"/>
                </a:moveTo>
                <a:lnTo>
                  <a:pt x="5674181" y="1324049"/>
                </a:lnTo>
                <a:lnTo>
                  <a:pt x="5566925" y="1461069"/>
                </a:lnTo>
                <a:lnTo>
                  <a:pt x="5521146" y="1395697"/>
                </a:lnTo>
                <a:close/>
                <a:moveTo>
                  <a:pt x="5771102" y="1258546"/>
                </a:moveTo>
                <a:lnTo>
                  <a:pt x="5814397" y="1330325"/>
                </a:lnTo>
                <a:lnTo>
                  <a:pt x="5696678" y="1461069"/>
                </a:lnTo>
                <a:lnTo>
                  <a:pt x="5653383" y="1389290"/>
                </a:lnTo>
                <a:close/>
                <a:moveTo>
                  <a:pt x="5485177" y="1258546"/>
                </a:moveTo>
                <a:lnTo>
                  <a:pt x="5532657" y="1317250"/>
                </a:lnTo>
                <a:lnTo>
                  <a:pt x="5436128" y="1461069"/>
                </a:lnTo>
                <a:lnTo>
                  <a:pt x="5388648" y="1402365"/>
                </a:lnTo>
                <a:close/>
                <a:moveTo>
                  <a:pt x="3974849" y="1258420"/>
                </a:moveTo>
                <a:lnTo>
                  <a:pt x="3996303" y="1448002"/>
                </a:lnTo>
                <a:lnTo>
                  <a:pt x="3933650" y="1461075"/>
                </a:lnTo>
                <a:lnTo>
                  <a:pt x="3912199" y="1271495"/>
                </a:lnTo>
                <a:close/>
                <a:moveTo>
                  <a:pt x="3688533" y="1258420"/>
                </a:moveTo>
                <a:lnTo>
                  <a:pt x="3731698" y="1434927"/>
                </a:lnTo>
                <a:lnTo>
                  <a:pt x="3673098" y="1461075"/>
                </a:lnTo>
                <a:lnTo>
                  <a:pt x="3630198" y="1284570"/>
                </a:lnTo>
                <a:close/>
                <a:moveTo>
                  <a:pt x="3545310" y="1258420"/>
                </a:moveTo>
                <a:lnTo>
                  <a:pt x="3598934" y="1428390"/>
                </a:lnTo>
                <a:lnTo>
                  <a:pt x="3542691" y="1461075"/>
                </a:lnTo>
                <a:lnTo>
                  <a:pt x="3489065" y="1291107"/>
                </a:lnTo>
                <a:close/>
                <a:moveTo>
                  <a:pt x="3402084" y="1258420"/>
                </a:moveTo>
                <a:lnTo>
                  <a:pt x="3466438" y="1421852"/>
                </a:lnTo>
                <a:lnTo>
                  <a:pt x="3412419" y="1461075"/>
                </a:lnTo>
                <a:lnTo>
                  <a:pt x="3348062" y="1297644"/>
                </a:lnTo>
                <a:close/>
                <a:moveTo>
                  <a:pt x="3115768" y="1258420"/>
                </a:moveTo>
                <a:lnTo>
                  <a:pt x="3201571" y="1408777"/>
                </a:lnTo>
                <a:lnTo>
                  <a:pt x="3151736" y="1461075"/>
                </a:lnTo>
                <a:lnTo>
                  <a:pt x="3066064" y="1310719"/>
                </a:lnTo>
                <a:close/>
                <a:moveTo>
                  <a:pt x="0" y="1258420"/>
                </a:moveTo>
                <a:lnTo>
                  <a:pt x="155285" y="1258420"/>
                </a:lnTo>
                <a:lnTo>
                  <a:pt x="155285" y="1260643"/>
                </a:lnTo>
                <a:lnTo>
                  <a:pt x="243182" y="1264305"/>
                </a:lnTo>
                <a:lnTo>
                  <a:pt x="252207" y="1264305"/>
                </a:lnTo>
                <a:lnTo>
                  <a:pt x="252207" y="1258420"/>
                </a:lnTo>
                <a:lnTo>
                  <a:pt x="394905" y="1267835"/>
                </a:lnTo>
                <a:lnTo>
                  <a:pt x="394905" y="1258420"/>
                </a:lnTo>
                <a:lnTo>
                  <a:pt x="537344" y="1271495"/>
                </a:lnTo>
                <a:lnTo>
                  <a:pt x="538128" y="1258420"/>
                </a:lnTo>
                <a:lnTo>
                  <a:pt x="680045" y="1275026"/>
                </a:lnTo>
                <a:lnTo>
                  <a:pt x="681353" y="1258420"/>
                </a:lnTo>
                <a:lnTo>
                  <a:pt x="822616" y="1279079"/>
                </a:lnTo>
                <a:lnTo>
                  <a:pt x="824578" y="1258420"/>
                </a:lnTo>
                <a:lnTo>
                  <a:pt x="964922" y="1283393"/>
                </a:lnTo>
                <a:lnTo>
                  <a:pt x="967799" y="1258420"/>
                </a:lnTo>
                <a:lnTo>
                  <a:pt x="1106968" y="1287969"/>
                </a:lnTo>
                <a:lnTo>
                  <a:pt x="1110888" y="1258420"/>
                </a:lnTo>
                <a:lnTo>
                  <a:pt x="1248748" y="1292806"/>
                </a:lnTo>
                <a:lnTo>
                  <a:pt x="1254113" y="1258420"/>
                </a:lnTo>
                <a:lnTo>
                  <a:pt x="1390141" y="1297644"/>
                </a:lnTo>
                <a:lnTo>
                  <a:pt x="1397336" y="1258420"/>
                </a:lnTo>
                <a:lnTo>
                  <a:pt x="1531928" y="1303266"/>
                </a:lnTo>
                <a:lnTo>
                  <a:pt x="1541345" y="1258420"/>
                </a:lnTo>
                <a:lnTo>
                  <a:pt x="1672144" y="1308889"/>
                </a:lnTo>
                <a:lnTo>
                  <a:pt x="1684177" y="1258420"/>
                </a:lnTo>
                <a:lnTo>
                  <a:pt x="1811966" y="1314641"/>
                </a:lnTo>
                <a:lnTo>
                  <a:pt x="1826355" y="1258420"/>
                </a:lnTo>
                <a:lnTo>
                  <a:pt x="1950352" y="1320526"/>
                </a:lnTo>
                <a:lnTo>
                  <a:pt x="1969579" y="1258420"/>
                </a:lnTo>
                <a:lnTo>
                  <a:pt x="2088736" y="1326408"/>
                </a:lnTo>
                <a:lnTo>
                  <a:pt x="2112805" y="1258420"/>
                </a:lnTo>
                <a:lnTo>
                  <a:pt x="2227908" y="1332291"/>
                </a:lnTo>
                <a:lnTo>
                  <a:pt x="2257599" y="1258552"/>
                </a:lnTo>
                <a:lnTo>
                  <a:pt x="2364592" y="1336999"/>
                </a:lnTo>
                <a:lnTo>
                  <a:pt x="2400822" y="1258552"/>
                </a:lnTo>
                <a:lnTo>
                  <a:pt x="2540121" y="1376221"/>
                </a:lnTo>
                <a:lnTo>
                  <a:pt x="2500884" y="1461075"/>
                </a:lnTo>
                <a:lnTo>
                  <a:pt x="2403568" y="1379098"/>
                </a:lnTo>
                <a:lnTo>
                  <a:pt x="2370606" y="1461075"/>
                </a:lnTo>
                <a:lnTo>
                  <a:pt x="2267277" y="1384721"/>
                </a:lnTo>
                <a:lnTo>
                  <a:pt x="2240199" y="1461075"/>
                </a:lnTo>
                <a:lnTo>
                  <a:pt x="2131770" y="1390734"/>
                </a:lnTo>
                <a:lnTo>
                  <a:pt x="2109927" y="1461075"/>
                </a:lnTo>
                <a:lnTo>
                  <a:pt x="1997178" y="1396748"/>
                </a:lnTo>
                <a:lnTo>
                  <a:pt x="1979651" y="1461075"/>
                </a:lnTo>
                <a:lnTo>
                  <a:pt x="1863240" y="1402762"/>
                </a:lnTo>
                <a:lnTo>
                  <a:pt x="1849376" y="1461075"/>
                </a:lnTo>
                <a:lnTo>
                  <a:pt x="1729956" y="1408777"/>
                </a:lnTo>
                <a:lnTo>
                  <a:pt x="1718970" y="1461075"/>
                </a:lnTo>
                <a:lnTo>
                  <a:pt x="1597195" y="1414268"/>
                </a:lnTo>
                <a:lnTo>
                  <a:pt x="1588694" y="1461075"/>
                </a:lnTo>
                <a:lnTo>
                  <a:pt x="1464959" y="1419630"/>
                </a:lnTo>
                <a:lnTo>
                  <a:pt x="1458420" y="1461075"/>
                </a:lnTo>
                <a:lnTo>
                  <a:pt x="1332983" y="1424728"/>
                </a:lnTo>
                <a:lnTo>
                  <a:pt x="1328013" y="1461075"/>
                </a:lnTo>
                <a:lnTo>
                  <a:pt x="1200877" y="1429566"/>
                </a:lnTo>
                <a:lnTo>
                  <a:pt x="1197214" y="1461075"/>
                </a:lnTo>
                <a:lnTo>
                  <a:pt x="1069037" y="1434011"/>
                </a:lnTo>
                <a:lnTo>
                  <a:pt x="1066421" y="1461075"/>
                </a:lnTo>
                <a:lnTo>
                  <a:pt x="937977" y="1438064"/>
                </a:lnTo>
                <a:lnTo>
                  <a:pt x="936278" y="1460945"/>
                </a:lnTo>
                <a:lnTo>
                  <a:pt x="807050" y="1442118"/>
                </a:lnTo>
                <a:lnTo>
                  <a:pt x="805873" y="1460945"/>
                </a:lnTo>
                <a:lnTo>
                  <a:pt x="676383" y="1445779"/>
                </a:lnTo>
                <a:lnTo>
                  <a:pt x="675597" y="1460945"/>
                </a:lnTo>
                <a:lnTo>
                  <a:pt x="545715" y="1449179"/>
                </a:lnTo>
                <a:lnTo>
                  <a:pt x="545715" y="1460945"/>
                </a:lnTo>
                <a:lnTo>
                  <a:pt x="415570" y="1452448"/>
                </a:lnTo>
                <a:lnTo>
                  <a:pt x="415570" y="1460945"/>
                </a:lnTo>
                <a:lnTo>
                  <a:pt x="285426" y="1455453"/>
                </a:lnTo>
                <a:lnTo>
                  <a:pt x="285426" y="1460945"/>
                </a:lnTo>
                <a:lnTo>
                  <a:pt x="154631" y="1458199"/>
                </a:lnTo>
                <a:lnTo>
                  <a:pt x="154631" y="1461075"/>
                </a:lnTo>
                <a:lnTo>
                  <a:pt x="0" y="1461075"/>
                </a:lnTo>
                <a:close/>
                <a:moveTo>
                  <a:pt x="6058074" y="1258414"/>
                </a:moveTo>
                <a:lnTo>
                  <a:pt x="6094305" y="1336862"/>
                </a:lnTo>
                <a:lnTo>
                  <a:pt x="6201298" y="1258414"/>
                </a:lnTo>
                <a:lnTo>
                  <a:pt x="6230859" y="1332155"/>
                </a:lnTo>
                <a:lnTo>
                  <a:pt x="6344393" y="1258414"/>
                </a:lnTo>
                <a:lnTo>
                  <a:pt x="6368459" y="1326402"/>
                </a:lnTo>
                <a:lnTo>
                  <a:pt x="6487616" y="1258414"/>
                </a:lnTo>
                <a:lnTo>
                  <a:pt x="6506974" y="1320519"/>
                </a:lnTo>
                <a:lnTo>
                  <a:pt x="6630841" y="1258414"/>
                </a:lnTo>
                <a:lnTo>
                  <a:pt x="6646144" y="1314635"/>
                </a:lnTo>
                <a:lnTo>
                  <a:pt x="6774064" y="1258414"/>
                </a:lnTo>
                <a:lnTo>
                  <a:pt x="6786097" y="1308883"/>
                </a:lnTo>
                <a:lnTo>
                  <a:pt x="6916896" y="1258414"/>
                </a:lnTo>
                <a:lnTo>
                  <a:pt x="6926183" y="1303261"/>
                </a:lnTo>
                <a:lnTo>
                  <a:pt x="7060383" y="1258414"/>
                </a:lnTo>
                <a:lnTo>
                  <a:pt x="7067445" y="1297638"/>
                </a:lnTo>
                <a:lnTo>
                  <a:pt x="7203476" y="1258414"/>
                </a:lnTo>
                <a:lnTo>
                  <a:pt x="7208969" y="1292800"/>
                </a:lnTo>
                <a:lnTo>
                  <a:pt x="7346701" y="1258414"/>
                </a:lnTo>
                <a:lnTo>
                  <a:pt x="7350756" y="1287963"/>
                </a:lnTo>
                <a:lnTo>
                  <a:pt x="7489924" y="1258414"/>
                </a:lnTo>
                <a:lnTo>
                  <a:pt x="7492803" y="1283388"/>
                </a:lnTo>
                <a:lnTo>
                  <a:pt x="7633149" y="1258414"/>
                </a:lnTo>
                <a:lnTo>
                  <a:pt x="7635111" y="1279073"/>
                </a:lnTo>
                <a:lnTo>
                  <a:pt x="7776374" y="1258414"/>
                </a:lnTo>
                <a:lnTo>
                  <a:pt x="7777681" y="1275020"/>
                </a:lnTo>
                <a:lnTo>
                  <a:pt x="7920121" y="1258414"/>
                </a:lnTo>
                <a:lnTo>
                  <a:pt x="7921036" y="1271489"/>
                </a:lnTo>
                <a:lnTo>
                  <a:pt x="8063346" y="1258414"/>
                </a:lnTo>
                <a:lnTo>
                  <a:pt x="8063346" y="1267829"/>
                </a:lnTo>
                <a:lnTo>
                  <a:pt x="8206046" y="1258414"/>
                </a:lnTo>
                <a:lnTo>
                  <a:pt x="8206046" y="1264037"/>
                </a:lnTo>
                <a:lnTo>
                  <a:pt x="8215202" y="1264037"/>
                </a:lnTo>
                <a:lnTo>
                  <a:pt x="8303100" y="1260376"/>
                </a:lnTo>
                <a:lnTo>
                  <a:pt x="8303100" y="1258414"/>
                </a:lnTo>
                <a:lnTo>
                  <a:pt x="12191999" y="1258414"/>
                </a:lnTo>
                <a:lnTo>
                  <a:pt x="12191999" y="1461069"/>
                </a:lnTo>
                <a:lnTo>
                  <a:pt x="8303491" y="1461069"/>
                </a:lnTo>
                <a:lnTo>
                  <a:pt x="8304145" y="1458324"/>
                </a:lnTo>
                <a:lnTo>
                  <a:pt x="8173347" y="1461069"/>
                </a:lnTo>
                <a:lnTo>
                  <a:pt x="8173347" y="1455579"/>
                </a:lnTo>
                <a:lnTo>
                  <a:pt x="8042548" y="1461069"/>
                </a:lnTo>
                <a:lnTo>
                  <a:pt x="8042548" y="1452571"/>
                </a:lnTo>
                <a:lnTo>
                  <a:pt x="7911749" y="1461069"/>
                </a:lnTo>
                <a:lnTo>
                  <a:pt x="7911749" y="1449303"/>
                </a:lnTo>
                <a:lnTo>
                  <a:pt x="7781867" y="1461069"/>
                </a:lnTo>
                <a:lnTo>
                  <a:pt x="7781083" y="1445903"/>
                </a:lnTo>
                <a:lnTo>
                  <a:pt x="7651461" y="1461069"/>
                </a:lnTo>
                <a:lnTo>
                  <a:pt x="7650284" y="1442241"/>
                </a:lnTo>
                <a:lnTo>
                  <a:pt x="7521186" y="1461069"/>
                </a:lnTo>
                <a:lnTo>
                  <a:pt x="7519355" y="1438188"/>
                </a:lnTo>
                <a:lnTo>
                  <a:pt x="7390911" y="1461069"/>
                </a:lnTo>
                <a:lnTo>
                  <a:pt x="7388295" y="1434004"/>
                </a:lnTo>
                <a:lnTo>
                  <a:pt x="7260504" y="1461069"/>
                </a:lnTo>
                <a:lnTo>
                  <a:pt x="7256973" y="1429560"/>
                </a:lnTo>
                <a:lnTo>
                  <a:pt x="7130229" y="1461069"/>
                </a:lnTo>
                <a:lnTo>
                  <a:pt x="7125390" y="1424722"/>
                </a:lnTo>
                <a:lnTo>
                  <a:pt x="6999954" y="1461069"/>
                </a:lnTo>
                <a:lnTo>
                  <a:pt x="6993414" y="1419623"/>
                </a:lnTo>
                <a:lnTo>
                  <a:pt x="6869678" y="1461069"/>
                </a:lnTo>
                <a:lnTo>
                  <a:pt x="6861046" y="1414262"/>
                </a:lnTo>
                <a:lnTo>
                  <a:pt x="6739273" y="1461069"/>
                </a:lnTo>
                <a:lnTo>
                  <a:pt x="6728285" y="1408771"/>
                </a:lnTo>
                <a:lnTo>
                  <a:pt x="6608998" y="1461069"/>
                </a:lnTo>
                <a:lnTo>
                  <a:pt x="6595001" y="1402756"/>
                </a:lnTo>
                <a:lnTo>
                  <a:pt x="6478721" y="1461069"/>
                </a:lnTo>
                <a:lnTo>
                  <a:pt x="6461195" y="1396742"/>
                </a:lnTo>
                <a:lnTo>
                  <a:pt x="6348315" y="1461069"/>
                </a:lnTo>
                <a:lnTo>
                  <a:pt x="6326472" y="1390728"/>
                </a:lnTo>
                <a:lnTo>
                  <a:pt x="6218040" y="1461069"/>
                </a:lnTo>
                <a:lnTo>
                  <a:pt x="6191095" y="1384715"/>
                </a:lnTo>
                <a:lnTo>
                  <a:pt x="6087765" y="1461069"/>
                </a:lnTo>
                <a:lnTo>
                  <a:pt x="6055197" y="1378962"/>
                </a:lnTo>
                <a:lnTo>
                  <a:pt x="5957881" y="1460938"/>
                </a:lnTo>
                <a:lnTo>
                  <a:pt x="5918642" y="1376085"/>
                </a:lnTo>
                <a:close/>
                <a:moveTo>
                  <a:pt x="4911887" y="1258414"/>
                </a:moveTo>
                <a:lnTo>
                  <a:pt x="4968130" y="1291101"/>
                </a:lnTo>
                <a:lnTo>
                  <a:pt x="4914503" y="1461069"/>
                </a:lnTo>
                <a:lnTo>
                  <a:pt x="4858390" y="1428383"/>
                </a:lnTo>
                <a:close/>
                <a:moveTo>
                  <a:pt x="4625831" y="1258414"/>
                </a:moveTo>
                <a:lnTo>
                  <a:pt x="4686390" y="1278026"/>
                </a:lnTo>
                <a:lnTo>
                  <a:pt x="4654213" y="1461069"/>
                </a:lnTo>
                <a:lnTo>
                  <a:pt x="4593654" y="1441457"/>
                </a:lnTo>
                <a:close/>
                <a:moveTo>
                  <a:pt x="4482999" y="1258414"/>
                </a:moveTo>
                <a:lnTo>
                  <a:pt x="4545651" y="1271489"/>
                </a:lnTo>
                <a:lnTo>
                  <a:pt x="4523416" y="1460677"/>
                </a:lnTo>
                <a:lnTo>
                  <a:pt x="4461287" y="1447994"/>
                </a:lnTo>
                <a:close/>
                <a:moveTo>
                  <a:pt x="4196426" y="1258414"/>
                </a:moveTo>
                <a:lnTo>
                  <a:pt x="4263388" y="1258414"/>
                </a:lnTo>
                <a:lnTo>
                  <a:pt x="4263388" y="1460677"/>
                </a:lnTo>
                <a:lnTo>
                  <a:pt x="4261294" y="1460677"/>
                </a:lnTo>
                <a:lnTo>
                  <a:pt x="4261294" y="1461075"/>
                </a:lnTo>
                <a:lnTo>
                  <a:pt x="4194332" y="1461075"/>
                </a:lnTo>
                <a:lnTo>
                  <a:pt x="4194332" y="1258420"/>
                </a:lnTo>
                <a:lnTo>
                  <a:pt x="4196426" y="1258420"/>
                </a:lnTo>
                <a:close/>
                <a:moveTo>
                  <a:pt x="5342476" y="1258284"/>
                </a:moveTo>
                <a:lnTo>
                  <a:pt x="5392179" y="1310582"/>
                </a:lnTo>
                <a:lnTo>
                  <a:pt x="5306375" y="1460677"/>
                </a:lnTo>
                <a:lnTo>
                  <a:pt x="5256148" y="1408771"/>
                </a:lnTo>
                <a:close/>
                <a:moveTo>
                  <a:pt x="2972543" y="1258160"/>
                </a:moveTo>
                <a:lnTo>
                  <a:pt x="3069069" y="1401979"/>
                </a:lnTo>
                <a:lnTo>
                  <a:pt x="3021459" y="1461075"/>
                </a:lnTo>
                <a:lnTo>
                  <a:pt x="2924931" y="1317256"/>
                </a:lnTo>
                <a:close/>
                <a:moveTo>
                  <a:pt x="4118075" y="1258029"/>
                </a:moveTo>
                <a:lnTo>
                  <a:pt x="4128801" y="1454147"/>
                </a:lnTo>
                <a:lnTo>
                  <a:pt x="4064053" y="1460683"/>
                </a:lnTo>
                <a:lnTo>
                  <a:pt x="4053330" y="1264566"/>
                </a:lnTo>
                <a:close/>
                <a:moveTo>
                  <a:pt x="5198336" y="1258023"/>
                </a:moveTo>
                <a:lnTo>
                  <a:pt x="5250655" y="1303784"/>
                </a:lnTo>
                <a:lnTo>
                  <a:pt x="5175576" y="1460677"/>
                </a:lnTo>
                <a:lnTo>
                  <a:pt x="5123257" y="1414916"/>
                </a:lnTo>
                <a:close/>
                <a:moveTo>
                  <a:pt x="4337943" y="1257892"/>
                </a:moveTo>
                <a:lnTo>
                  <a:pt x="4403342" y="1264430"/>
                </a:lnTo>
                <a:lnTo>
                  <a:pt x="4392617" y="1460546"/>
                </a:lnTo>
                <a:lnTo>
                  <a:pt x="4327218" y="1454010"/>
                </a:lnTo>
                <a:close/>
                <a:moveTo>
                  <a:pt x="3688795" y="1011575"/>
                </a:moveTo>
                <a:lnTo>
                  <a:pt x="3731698" y="1187559"/>
                </a:lnTo>
                <a:lnTo>
                  <a:pt x="3673360" y="1213837"/>
                </a:lnTo>
                <a:lnTo>
                  <a:pt x="3630460" y="1037724"/>
                </a:lnTo>
                <a:close/>
                <a:moveTo>
                  <a:pt x="3402348" y="1011575"/>
                </a:moveTo>
                <a:lnTo>
                  <a:pt x="3466699" y="1174484"/>
                </a:lnTo>
                <a:lnTo>
                  <a:pt x="3412680" y="1213837"/>
                </a:lnTo>
                <a:lnTo>
                  <a:pt x="3348327" y="1050801"/>
                </a:lnTo>
                <a:close/>
                <a:moveTo>
                  <a:pt x="3974849" y="1011444"/>
                </a:moveTo>
                <a:lnTo>
                  <a:pt x="3996303" y="1200502"/>
                </a:lnTo>
                <a:lnTo>
                  <a:pt x="3933650" y="1213706"/>
                </a:lnTo>
                <a:lnTo>
                  <a:pt x="3912199" y="1024519"/>
                </a:lnTo>
                <a:close/>
                <a:moveTo>
                  <a:pt x="3115768" y="1011444"/>
                </a:moveTo>
                <a:lnTo>
                  <a:pt x="3201571" y="1161410"/>
                </a:lnTo>
                <a:lnTo>
                  <a:pt x="3151736" y="1213706"/>
                </a:lnTo>
                <a:lnTo>
                  <a:pt x="3066064" y="1063744"/>
                </a:lnTo>
                <a:close/>
                <a:moveTo>
                  <a:pt x="2829580" y="1011444"/>
                </a:moveTo>
                <a:lnTo>
                  <a:pt x="2936835" y="1148335"/>
                </a:lnTo>
                <a:lnTo>
                  <a:pt x="2891449" y="1213837"/>
                </a:lnTo>
                <a:lnTo>
                  <a:pt x="2784192" y="1076818"/>
                </a:lnTo>
                <a:close/>
                <a:moveTo>
                  <a:pt x="2542869" y="1011444"/>
                </a:moveTo>
                <a:lnTo>
                  <a:pt x="2671576" y="1135261"/>
                </a:lnTo>
                <a:lnTo>
                  <a:pt x="2630504" y="1213837"/>
                </a:lnTo>
                <a:lnTo>
                  <a:pt x="2501930" y="1089893"/>
                </a:lnTo>
                <a:close/>
                <a:moveTo>
                  <a:pt x="4911887" y="1011439"/>
                </a:moveTo>
                <a:lnTo>
                  <a:pt x="4966037" y="1043602"/>
                </a:lnTo>
                <a:lnTo>
                  <a:pt x="4912410" y="1213570"/>
                </a:lnTo>
                <a:lnTo>
                  <a:pt x="4858390" y="1181406"/>
                </a:lnTo>
                <a:close/>
                <a:moveTo>
                  <a:pt x="4196426" y="1011439"/>
                </a:moveTo>
                <a:lnTo>
                  <a:pt x="4263388" y="1011439"/>
                </a:lnTo>
                <a:lnTo>
                  <a:pt x="4263388" y="1213570"/>
                </a:lnTo>
                <a:lnTo>
                  <a:pt x="4261294" y="1213570"/>
                </a:lnTo>
                <a:lnTo>
                  <a:pt x="4261294" y="1213576"/>
                </a:lnTo>
                <a:lnTo>
                  <a:pt x="4194332" y="1213576"/>
                </a:lnTo>
                <a:lnTo>
                  <a:pt x="4194332" y="1011837"/>
                </a:lnTo>
                <a:lnTo>
                  <a:pt x="4196426" y="1011837"/>
                </a:lnTo>
                <a:close/>
                <a:moveTo>
                  <a:pt x="5340905" y="1011308"/>
                </a:moveTo>
                <a:lnTo>
                  <a:pt x="5390609" y="1063606"/>
                </a:lnTo>
                <a:lnTo>
                  <a:pt x="5304805" y="1213570"/>
                </a:lnTo>
                <a:lnTo>
                  <a:pt x="5255101" y="1161273"/>
                </a:lnTo>
                <a:close/>
                <a:moveTo>
                  <a:pt x="5053410" y="1011308"/>
                </a:moveTo>
                <a:lnTo>
                  <a:pt x="5107431" y="1050531"/>
                </a:lnTo>
                <a:lnTo>
                  <a:pt x="5043209" y="1213570"/>
                </a:lnTo>
                <a:lnTo>
                  <a:pt x="4989058" y="1174215"/>
                </a:lnTo>
                <a:close/>
                <a:moveTo>
                  <a:pt x="4767616" y="1011308"/>
                </a:moveTo>
                <a:lnTo>
                  <a:pt x="4825952" y="1037457"/>
                </a:lnTo>
                <a:lnTo>
                  <a:pt x="4783051" y="1213570"/>
                </a:lnTo>
                <a:lnTo>
                  <a:pt x="4724714" y="1187290"/>
                </a:lnTo>
                <a:close/>
                <a:moveTo>
                  <a:pt x="4482999" y="1011308"/>
                </a:moveTo>
                <a:lnTo>
                  <a:pt x="4545651" y="1024383"/>
                </a:lnTo>
                <a:lnTo>
                  <a:pt x="4523416" y="1213570"/>
                </a:lnTo>
                <a:lnTo>
                  <a:pt x="4461548" y="1200365"/>
                </a:lnTo>
                <a:close/>
                <a:moveTo>
                  <a:pt x="5913149" y="1011178"/>
                </a:moveTo>
                <a:lnTo>
                  <a:pt x="5954220" y="1089625"/>
                </a:lnTo>
                <a:lnTo>
                  <a:pt x="5825514" y="1213570"/>
                </a:lnTo>
                <a:lnTo>
                  <a:pt x="5784445" y="1134993"/>
                </a:lnTo>
                <a:close/>
                <a:moveTo>
                  <a:pt x="5769663" y="1011178"/>
                </a:moveTo>
                <a:lnTo>
                  <a:pt x="5812958" y="1082826"/>
                </a:lnTo>
                <a:lnTo>
                  <a:pt x="5695239" y="1213570"/>
                </a:lnTo>
                <a:lnTo>
                  <a:pt x="5651945" y="1141922"/>
                </a:lnTo>
                <a:close/>
                <a:moveTo>
                  <a:pt x="5626832" y="1011178"/>
                </a:moveTo>
                <a:lnTo>
                  <a:pt x="5672219" y="1076550"/>
                </a:lnTo>
                <a:lnTo>
                  <a:pt x="5564963" y="1213570"/>
                </a:lnTo>
                <a:lnTo>
                  <a:pt x="5519577" y="1148067"/>
                </a:lnTo>
                <a:close/>
                <a:moveTo>
                  <a:pt x="5483607" y="1011178"/>
                </a:moveTo>
                <a:lnTo>
                  <a:pt x="5531087" y="1069751"/>
                </a:lnTo>
                <a:lnTo>
                  <a:pt x="5434558" y="1213570"/>
                </a:lnTo>
                <a:lnTo>
                  <a:pt x="5387078" y="1154996"/>
                </a:lnTo>
                <a:close/>
                <a:moveTo>
                  <a:pt x="3832019" y="1011053"/>
                </a:moveTo>
                <a:lnTo>
                  <a:pt x="3864196" y="1194096"/>
                </a:lnTo>
                <a:lnTo>
                  <a:pt x="3803636" y="1213576"/>
                </a:lnTo>
                <a:lnTo>
                  <a:pt x="3771460" y="1030533"/>
                </a:lnTo>
                <a:close/>
                <a:moveTo>
                  <a:pt x="3545571" y="1011053"/>
                </a:moveTo>
                <a:lnTo>
                  <a:pt x="3599198" y="1181021"/>
                </a:lnTo>
                <a:lnTo>
                  <a:pt x="3542955" y="1213576"/>
                </a:lnTo>
                <a:lnTo>
                  <a:pt x="3489328" y="1043607"/>
                </a:lnTo>
                <a:close/>
                <a:moveTo>
                  <a:pt x="3258860" y="1011053"/>
                </a:moveTo>
                <a:lnTo>
                  <a:pt x="3333939" y="1167947"/>
                </a:lnTo>
                <a:lnTo>
                  <a:pt x="3281619" y="1213576"/>
                </a:lnTo>
                <a:lnTo>
                  <a:pt x="3206538" y="1056684"/>
                </a:lnTo>
                <a:close/>
                <a:moveTo>
                  <a:pt x="2972543" y="1011053"/>
                </a:moveTo>
                <a:lnTo>
                  <a:pt x="3069069" y="1154873"/>
                </a:lnTo>
                <a:lnTo>
                  <a:pt x="3021459" y="1213446"/>
                </a:lnTo>
                <a:lnTo>
                  <a:pt x="2924931" y="1069628"/>
                </a:lnTo>
                <a:close/>
                <a:moveTo>
                  <a:pt x="2686354" y="1011053"/>
                </a:moveTo>
                <a:lnTo>
                  <a:pt x="2804073" y="1141798"/>
                </a:lnTo>
                <a:lnTo>
                  <a:pt x="2760911" y="1213446"/>
                </a:lnTo>
                <a:lnTo>
                  <a:pt x="2643192" y="1082702"/>
                </a:lnTo>
                <a:close/>
                <a:moveTo>
                  <a:pt x="0" y="1011053"/>
                </a:moveTo>
                <a:lnTo>
                  <a:pt x="154501" y="1011053"/>
                </a:lnTo>
                <a:lnTo>
                  <a:pt x="154501" y="1012883"/>
                </a:lnTo>
                <a:lnTo>
                  <a:pt x="242397" y="1016543"/>
                </a:lnTo>
                <a:lnTo>
                  <a:pt x="252207" y="1017197"/>
                </a:lnTo>
                <a:lnTo>
                  <a:pt x="252207" y="1011444"/>
                </a:lnTo>
                <a:lnTo>
                  <a:pt x="394905" y="1020727"/>
                </a:lnTo>
                <a:lnTo>
                  <a:pt x="394905" y="1011444"/>
                </a:lnTo>
                <a:lnTo>
                  <a:pt x="537344" y="1024519"/>
                </a:lnTo>
                <a:lnTo>
                  <a:pt x="538128" y="1011444"/>
                </a:lnTo>
                <a:lnTo>
                  <a:pt x="680045" y="1027918"/>
                </a:lnTo>
                <a:lnTo>
                  <a:pt x="681353" y="1011444"/>
                </a:lnTo>
                <a:lnTo>
                  <a:pt x="822616" y="1031971"/>
                </a:lnTo>
                <a:lnTo>
                  <a:pt x="824578" y="1011444"/>
                </a:lnTo>
                <a:lnTo>
                  <a:pt x="964922" y="1036285"/>
                </a:lnTo>
                <a:lnTo>
                  <a:pt x="967799" y="1011444"/>
                </a:lnTo>
                <a:lnTo>
                  <a:pt x="1106968" y="1040862"/>
                </a:lnTo>
                <a:lnTo>
                  <a:pt x="1110888" y="1011444"/>
                </a:lnTo>
                <a:lnTo>
                  <a:pt x="1248748" y="1045700"/>
                </a:lnTo>
                <a:lnTo>
                  <a:pt x="1254113" y="1011444"/>
                </a:lnTo>
                <a:lnTo>
                  <a:pt x="1390141" y="1050671"/>
                </a:lnTo>
                <a:lnTo>
                  <a:pt x="1397336" y="1011444"/>
                </a:lnTo>
                <a:lnTo>
                  <a:pt x="1531144" y="1055769"/>
                </a:lnTo>
                <a:lnTo>
                  <a:pt x="1541345" y="1011444"/>
                </a:lnTo>
                <a:lnTo>
                  <a:pt x="1672144" y="1061783"/>
                </a:lnTo>
                <a:lnTo>
                  <a:pt x="1684177" y="1011444"/>
                </a:lnTo>
                <a:lnTo>
                  <a:pt x="1811966" y="1067536"/>
                </a:lnTo>
                <a:lnTo>
                  <a:pt x="1826878" y="1011444"/>
                </a:lnTo>
                <a:lnTo>
                  <a:pt x="1950876" y="1073419"/>
                </a:lnTo>
                <a:lnTo>
                  <a:pt x="1970103" y="1011444"/>
                </a:lnTo>
                <a:lnTo>
                  <a:pt x="2089260" y="1079303"/>
                </a:lnTo>
                <a:lnTo>
                  <a:pt x="2112805" y="1011444"/>
                </a:lnTo>
                <a:lnTo>
                  <a:pt x="2227908" y="1084664"/>
                </a:lnTo>
                <a:lnTo>
                  <a:pt x="2257599" y="1011053"/>
                </a:lnTo>
                <a:lnTo>
                  <a:pt x="2364592" y="1089502"/>
                </a:lnTo>
                <a:lnTo>
                  <a:pt x="2400822" y="1011053"/>
                </a:lnTo>
                <a:lnTo>
                  <a:pt x="2540121" y="1128723"/>
                </a:lnTo>
                <a:lnTo>
                  <a:pt x="2500884" y="1213576"/>
                </a:lnTo>
                <a:lnTo>
                  <a:pt x="2403568" y="1131601"/>
                </a:lnTo>
                <a:lnTo>
                  <a:pt x="2370606" y="1213576"/>
                </a:lnTo>
                <a:lnTo>
                  <a:pt x="2267277" y="1137223"/>
                </a:lnTo>
                <a:lnTo>
                  <a:pt x="2240199" y="1213576"/>
                </a:lnTo>
                <a:lnTo>
                  <a:pt x="2131770" y="1143237"/>
                </a:lnTo>
                <a:lnTo>
                  <a:pt x="2109927" y="1213576"/>
                </a:lnTo>
                <a:lnTo>
                  <a:pt x="1997178" y="1149250"/>
                </a:lnTo>
                <a:lnTo>
                  <a:pt x="1979651" y="1213576"/>
                </a:lnTo>
                <a:lnTo>
                  <a:pt x="1863240" y="1155264"/>
                </a:lnTo>
                <a:lnTo>
                  <a:pt x="1849376" y="1213576"/>
                </a:lnTo>
                <a:lnTo>
                  <a:pt x="1729956" y="1161279"/>
                </a:lnTo>
                <a:lnTo>
                  <a:pt x="1718970" y="1213576"/>
                </a:lnTo>
                <a:lnTo>
                  <a:pt x="1597195" y="1166769"/>
                </a:lnTo>
                <a:lnTo>
                  <a:pt x="1588694" y="1213576"/>
                </a:lnTo>
                <a:lnTo>
                  <a:pt x="1464959" y="1172131"/>
                </a:lnTo>
                <a:lnTo>
                  <a:pt x="1458420" y="1213576"/>
                </a:lnTo>
                <a:lnTo>
                  <a:pt x="1332983" y="1177230"/>
                </a:lnTo>
                <a:lnTo>
                  <a:pt x="1328013" y="1213576"/>
                </a:lnTo>
                <a:lnTo>
                  <a:pt x="1200877" y="1182067"/>
                </a:lnTo>
                <a:lnTo>
                  <a:pt x="1197214" y="1213576"/>
                </a:lnTo>
                <a:lnTo>
                  <a:pt x="1069037" y="1186512"/>
                </a:lnTo>
                <a:lnTo>
                  <a:pt x="1066421" y="1213576"/>
                </a:lnTo>
                <a:lnTo>
                  <a:pt x="937977" y="1190696"/>
                </a:lnTo>
                <a:lnTo>
                  <a:pt x="936278" y="1213576"/>
                </a:lnTo>
                <a:lnTo>
                  <a:pt x="807050" y="1194749"/>
                </a:lnTo>
                <a:lnTo>
                  <a:pt x="805873" y="1213576"/>
                </a:lnTo>
                <a:lnTo>
                  <a:pt x="676383" y="1198410"/>
                </a:lnTo>
                <a:lnTo>
                  <a:pt x="675597" y="1213576"/>
                </a:lnTo>
                <a:lnTo>
                  <a:pt x="545715" y="1201809"/>
                </a:lnTo>
                <a:lnTo>
                  <a:pt x="545715" y="1213576"/>
                </a:lnTo>
                <a:lnTo>
                  <a:pt x="415570" y="1205078"/>
                </a:lnTo>
                <a:lnTo>
                  <a:pt x="415570" y="1213576"/>
                </a:lnTo>
                <a:lnTo>
                  <a:pt x="285426" y="1208084"/>
                </a:lnTo>
                <a:lnTo>
                  <a:pt x="285426" y="1213576"/>
                </a:lnTo>
                <a:lnTo>
                  <a:pt x="154631" y="1210961"/>
                </a:lnTo>
                <a:lnTo>
                  <a:pt x="154631" y="1213576"/>
                </a:lnTo>
                <a:lnTo>
                  <a:pt x="0" y="1213576"/>
                </a:lnTo>
                <a:close/>
                <a:moveTo>
                  <a:pt x="6058074" y="1011047"/>
                </a:moveTo>
                <a:lnTo>
                  <a:pt x="6094305" y="1089494"/>
                </a:lnTo>
                <a:lnTo>
                  <a:pt x="6201298" y="1011047"/>
                </a:lnTo>
                <a:lnTo>
                  <a:pt x="6230859" y="1084656"/>
                </a:lnTo>
                <a:lnTo>
                  <a:pt x="6344393" y="1011047"/>
                </a:lnTo>
                <a:lnTo>
                  <a:pt x="6368459" y="1078903"/>
                </a:lnTo>
                <a:lnTo>
                  <a:pt x="6487616" y="1011047"/>
                </a:lnTo>
                <a:lnTo>
                  <a:pt x="6506974" y="1073020"/>
                </a:lnTo>
                <a:lnTo>
                  <a:pt x="6630841" y="1011047"/>
                </a:lnTo>
                <a:lnTo>
                  <a:pt x="6646144" y="1067137"/>
                </a:lnTo>
                <a:lnTo>
                  <a:pt x="6774064" y="1011047"/>
                </a:lnTo>
                <a:lnTo>
                  <a:pt x="6786097" y="1061384"/>
                </a:lnTo>
                <a:lnTo>
                  <a:pt x="6916896" y="1011047"/>
                </a:lnTo>
                <a:lnTo>
                  <a:pt x="6926183" y="1055762"/>
                </a:lnTo>
                <a:lnTo>
                  <a:pt x="7060383" y="1011439"/>
                </a:lnTo>
                <a:lnTo>
                  <a:pt x="7067445" y="1050663"/>
                </a:lnTo>
                <a:lnTo>
                  <a:pt x="7203476" y="1011439"/>
                </a:lnTo>
                <a:lnTo>
                  <a:pt x="7208969" y="1045694"/>
                </a:lnTo>
                <a:lnTo>
                  <a:pt x="7346701" y="1011439"/>
                </a:lnTo>
                <a:lnTo>
                  <a:pt x="7350756" y="1040856"/>
                </a:lnTo>
                <a:lnTo>
                  <a:pt x="7489924" y="1011439"/>
                </a:lnTo>
                <a:lnTo>
                  <a:pt x="7492803" y="1036280"/>
                </a:lnTo>
                <a:lnTo>
                  <a:pt x="7633149" y="1011439"/>
                </a:lnTo>
                <a:lnTo>
                  <a:pt x="7635111" y="1031966"/>
                </a:lnTo>
                <a:lnTo>
                  <a:pt x="7776374" y="1011439"/>
                </a:lnTo>
                <a:lnTo>
                  <a:pt x="7777681" y="1027912"/>
                </a:lnTo>
                <a:lnTo>
                  <a:pt x="7920121" y="1011178"/>
                </a:lnTo>
                <a:lnTo>
                  <a:pt x="7921036" y="1024252"/>
                </a:lnTo>
                <a:lnTo>
                  <a:pt x="8063346" y="1011178"/>
                </a:lnTo>
                <a:lnTo>
                  <a:pt x="8063346" y="1020460"/>
                </a:lnTo>
                <a:lnTo>
                  <a:pt x="8206046" y="1011178"/>
                </a:lnTo>
                <a:lnTo>
                  <a:pt x="8206046" y="1016930"/>
                </a:lnTo>
                <a:lnTo>
                  <a:pt x="8215202" y="1016930"/>
                </a:lnTo>
                <a:lnTo>
                  <a:pt x="8303100" y="1013269"/>
                </a:lnTo>
                <a:lnTo>
                  <a:pt x="8303100" y="1011439"/>
                </a:lnTo>
                <a:lnTo>
                  <a:pt x="12190037" y="1011439"/>
                </a:lnTo>
                <a:lnTo>
                  <a:pt x="12190037" y="1213570"/>
                </a:lnTo>
                <a:lnTo>
                  <a:pt x="8301529" y="1213570"/>
                </a:lnTo>
                <a:lnTo>
                  <a:pt x="8304145" y="1210955"/>
                </a:lnTo>
                <a:lnTo>
                  <a:pt x="8173347" y="1213570"/>
                </a:lnTo>
                <a:lnTo>
                  <a:pt x="8173347" y="1208078"/>
                </a:lnTo>
                <a:lnTo>
                  <a:pt x="8042548" y="1213570"/>
                </a:lnTo>
                <a:lnTo>
                  <a:pt x="8042548" y="1205072"/>
                </a:lnTo>
                <a:lnTo>
                  <a:pt x="7911749" y="1213570"/>
                </a:lnTo>
                <a:lnTo>
                  <a:pt x="7911749" y="1201803"/>
                </a:lnTo>
                <a:lnTo>
                  <a:pt x="7781867" y="1213570"/>
                </a:lnTo>
                <a:lnTo>
                  <a:pt x="7781083" y="1198404"/>
                </a:lnTo>
                <a:lnTo>
                  <a:pt x="7651461" y="1213570"/>
                </a:lnTo>
                <a:lnTo>
                  <a:pt x="7650284" y="1194742"/>
                </a:lnTo>
                <a:lnTo>
                  <a:pt x="7521186" y="1213570"/>
                </a:lnTo>
                <a:lnTo>
                  <a:pt x="7519355" y="1190689"/>
                </a:lnTo>
                <a:lnTo>
                  <a:pt x="7390911" y="1213570"/>
                </a:lnTo>
                <a:lnTo>
                  <a:pt x="7388295" y="1186505"/>
                </a:lnTo>
                <a:lnTo>
                  <a:pt x="7260243" y="1213570"/>
                </a:lnTo>
                <a:lnTo>
                  <a:pt x="7256712" y="1182061"/>
                </a:lnTo>
                <a:lnTo>
                  <a:pt x="7129968" y="1213570"/>
                </a:lnTo>
                <a:lnTo>
                  <a:pt x="7125129" y="1177223"/>
                </a:lnTo>
                <a:lnTo>
                  <a:pt x="6999693" y="1213570"/>
                </a:lnTo>
                <a:lnTo>
                  <a:pt x="6993152" y="1172124"/>
                </a:lnTo>
                <a:lnTo>
                  <a:pt x="6869416" y="1213570"/>
                </a:lnTo>
                <a:lnTo>
                  <a:pt x="6860785" y="1166763"/>
                </a:lnTo>
                <a:lnTo>
                  <a:pt x="6739664" y="1213570"/>
                </a:lnTo>
                <a:lnTo>
                  <a:pt x="6728678" y="1161273"/>
                </a:lnTo>
                <a:lnTo>
                  <a:pt x="6609391" y="1213570"/>
                </a:lnTo>
                <a:lnTo>
                  <a:pt x="6595394" y="1155257"/>
                </a:lnTo>
                <a:lnTo>
                  <a:pt x="6479114" y="1213570"/>
                </a:lnTo>
                <a:lnTo>
                  <a:pt x="6461586" y="1149243"/>
                </a:lnTo>
                <a:lnTo>
                  <a:pt x="6348708" y="1213570"/>
                </a:lnTo>
                <a:lnTo>
                  <a:pt x="6326865" y="1143230"/>
                </a:lnTo>
                <a:lnTo>
                  <a:pt x="6218433" y="1213570"/>
                </a:lnTo>
                <a:lnTo>
                  <a:pt x="6191488" y="1137216"/>
                </a:lnTo>
                <a:lnTo>
                  <a:pt x="6088158" y="1213570"/>
                </a:lnTo>
                <a:lnTo>
                  <a:pt x="6055197" y="1131594"/>
                </a:lnTo>
                <a:lnTo>
                  <a:pt x="5957881" y="1213570"/>
                </a:lnTo>
                <a:lnTo>
                  <a:pt x="5918642" y="1128717"/>
                </a:lnTo>
                <a:close/>
                <a:moveTo>
                  <a:pt x="5196767" y="1011047"/>
                </a:moveTo>
                <a:lnTo>
                  <a:pt x="5249086" y="1056677"/>
                </a:lnTo>
                <a:lnTo>
                  <a:pt x="5174007" y="1213570"/>
                </a:lnTo>
                <a:lnTo>
                  <a:pt x="5121687" y="1167940"/>
                </a:lnTo>
                <a:close/>
                <a:moveTo>
                  <a:pt x="4623868" y="1011047"/>
                </a:moveTo>
                <a:lnTo>
                  <a:pt x="4684428" y="1030527"/>
                </a:lnTo>
                <a:lnTo>
                  <a:pt x="4652253" y="1213570"/>
                </a:lnTo>
                <a:lnTo>
                  <a:pt x="4591692" y="1194089"/>
                </a:lnTo>
                <a:close/>
                <a:moveTo>
                  <a:pt x="4337943" y="1011047"/>
                </a:moveTo>
                <a:lnTo>
                  <a:pt x="4403342" y="1017452"/>
                </a:lnTo>
                <a:lnTo>
                  <a:pt x="4392617" y="1213570"/>
                </a:lnTo>
                <a:lnTo>
                  <a:pt x="4327218" y="1207163"/>
                </a:lnTo>
                <a:close/>
                <a:moveTo>
                  <a:pt x="4118075" y="1010921"/>
                </a:moveTo>
                <a:lnTo>
                  <a:pt x="4128801" y="1207039"/>
                </a:lnTo>
                <a:lnTo>
                  <a:pt x="4064053" y="1213446"/>
                </a:lnTo>
                <a:lnTo>
                  <a:pt x="4053330" y="1017328"/>
                </a:lnTo>
                <a:close/>
                <a:moveTo>
                  <a:pt x="3688795" y="758454"/>
                </a:moveTo>
                <a:lnTo>
                  <a:pt x="3731698" y="934567"/>
                </a:lnTo>
                <a:lnTo>
                  <a:pt x="3673360" y="960716"/>
                </a:lnTo>
                <a:lnTo>
                  <a:pt x="3630460" y="784603"/>
                </a:lnTo>
                <a:close/>
                <a:moveTo>
                  <a:pt x="3402348" y="758454"/>
                </a:moveTo>
                <a:lnTo>
                  <a:pt x="3466699" y="921492"/>
                </a:lnTo>
                <a:lnTo>
                  <a:pt x="3412680" y="960716"/>
                </a:lnTo>
                <a:lnTo>
                  <a:pt x="3348327" y="797678"/>
                </a:lnTo>
                <a:close/>
                <a:moveTo>
                  <a:pt x="3974849" y="758324"/>
                </a:moveTo>
                <a:lnTo>
                  <a:pt x="3996303" y="947511"/>
                </a:lnTo>
                <a:lnTo>
                  <a:pt x="3933650" y="960584"/>
                </a:lnTo>
                <a:lnTo>
                  <a:pt x="3912199" y="771398"/>
                </a:lnTo>
                <a:close/>
                <a:moveTo>
                  <a:pt x="3115768" y="758324"/>
                </a:moveTo>
                <a:lnTo>
                  <a:pt x="3201571" y="908418"/>
                </a:lnTo>
                <a:lnTo>
                  <a:pt x="3151736" y="960716"/>
                </a:lnTo>
                <a:lnTo>
                  <a:pt x="3066064" y="810622"/>
                </a:lnTo>
                <a:close/>
                <a:moveTo>
                  <a:pt x="2829580" y="758324"/>
                </a:moveTo>
                <a:lnTo>
                  <a:pt x="2936835" y="895343"/>
                </a:lnTo>
                <a:lnTo>
                  <a:pt x="2891449" y="960716"/>
                </a:lnTo>
                <a:lnTo>
                  <a:pt x="2784192" y="823694"/>
                </a:lnTo>
                <a:close/>
                <a:moveTo>
                  <a:pt x="5053410" y="758317"/>
                </a:moveTo>
                <a:lnTo>
                  <a:pt x="5107431" y="797541"/>
                </a:lnTo>
                <a:lnTo>
                  <a:pt x="5043209" y="960578"/>
                </a:lnTo>
                <a:lnTo>
                  <a:pt x="4989058" y="921356"/>
                </a:lnTo>
                <a:close/>
                <a:moveTo>
                  <a:pt x="4767616" y="758317"/>
                </a:moveTo>
                <a:lnTo>
                  <a:pt x="4825952" y="784467"/>
                </a:lnTo>
                <a:lnTo>
                  <a:pt x="4783051" y="960578"/>
                </a:lnTo>
                <a:lnTo>
                  <a:pt x="4724714" y="934431"/>
                </a:lnTo>
                <a:close/>
                <a:moveTo>
                  <a:pt x="4482999" y="758317"/>
                </a:moveTo>
                <a:lnTo>
                  <a:pt x="4545651" y="771392"/>
                </a:lnTo>
                <a:lnTo>
                  <a:pt x="4523416" y="960578"/>
                </a:lnTo>
                <a:lnTo>
                  <a:pt x="4461548" y="947505"/>
                </a:lnTo>
                <a:close/>
                <a:moveTo>
                  <a:pt x="4196426" y="758317"/>
                </a:moveTo>
                <a:lnTo>
                  <a:pt x="4263388" y="758317"/>
                </a:lnTo>
                <a:lnTo>
                  <a:pt x="4263388" y="960578"/>
                </a:lnTo>
                <a:lnTo>
                  <a:pt x="4261555" y="960578"/>
                </a:lnTo>
                <a:lnTo>
                  <a:pt x="4261555" y="960584"/>
                </a:lnTo>
                <a:lnTo>
                  <a:pt x="4194593" y="960584"/>
                </a:lnTo>
                <a:lnTo>
                  <a:pt x="4194593" y="758454"/>
                </a:lnTo>
                <a:lnTo>
                  <a:pt x="4196426" y="758454"/>
                </a:lnTo>
                <a:close/>
                <a:moveTo>
                  <a:pt x="2542869" y="758193"/>
                </a:moveTo>
                <a:lnTo>
                  <a:pt x="2671576" y="882137"/>
                </a:lnTo>
                <a:lnTo>
                  <a:pt x="2630504" y="960584"/>
                </a:lnTo>
                <a:lnTo>
                  <a:pt x="2501930" y="836639"/>
                </a:lnTo>
                <a:close/>
                <a:moveTo>
                  <a:pt x="5913149" y="758187"/>
                </a:moveTo>
                <a:lnTo>
                  <a:pt x="5954220" y="836633"/>
                </a:lnTo>
                <a:lnTo>
                  <a:pt x="5825514" y="960578"/>
                </a:lnTo>
                <a:lnTo>
                  <a:pt x="5784445" y="882132"/>
                </a:lnTo>
                <a:close/>
                <a:moveTo>
                  <a:pt x="5626832" y="758187"/>
                </a:moveTo>
                <a:lnTo>
                  <a:pt x="5672219" y="823558"/>
                </a:lnTo>
                <a:lnTo>
                  <a:pt x="5564963" y="960578"/>
                </a:lnTo>
                <a:lnTo>
                  <a:pt x="5519577" y="895207"/>
                </a:lnTo>
                <a:close/>
                <a:moveTo>
                  <a:pt x="5340905" y="758187"/>
                </a:moveTo>
                <a:lnTo>
                  <a:pt x="5390609" y="810484"/>
                </a:lnTo>
                <a:lnTo>
                  <a:pt x="5304805" y="960578"/>
                </a:lnTo>
                <a:lnTo>
                  <a:pt x="5255101" y="908281"/>
                </a:lnTo>
                <a:close/>
                <a:moveTo>
                  <a:pt x="3832019" y="758063"/>
                </a:moveTo>
                <a:lnTo>
                  <a:pt x="3864196" y="941104"/>
                </a:lnTo>
                <a:lnTo>
                  <a:pt x="3803636" y="960716"/>
                </a:lnTo>
                <a:lnTo>
                  <a:pt x="3771460" y="777674"/>
                </a:lnTo>
                <a:close/>
                <a:moveTo>
                  <a:pt x="3545571" y="758063"/>
                </a:moveTo>
                <a:lnTo>
                  <a:pt x="3599198" y="928029"/>
                </a:lnTo>
                <a:lnTo>
                  <a:pt x="3542955" y="960716"/>
                </a:lnTo>
                <a:lnTo>
                  <a:pt x="3489328" y="790749"/>
                </a:lnTo>
                <a:close/>
                <a:moveTo>
                  <a:pt x="2257599" y="758063"/>
                </a:moveTo>
                <a:lnTo>
                  <a:pt x="2364592" y="836509"/>
                </a:lnTo>
                <a:lnTo>
                  <a:pt x="2400822" y="758063"/>
                </a:lnTo>
                <a:lnTo>
                  <a:pt x="2540121" y="875732"/>
                </a:lnTo>
                <a:lnTo>
                  <a:pt x="2500884" y="960584"/>
                </a:lnTo>
                <a:lnTo>
                  <a:pt x="2403568" y="878608"/>
                </a:lnTo>
                <a:lnTo>
                  <a:pt x="2370606" y="960584"/>
                </a:lnTo>
                <a:lnTo>
                  <a:pt x="2267277" y="884230"/>
                </a:lnTo>
                <a:lnTo>
                  <a:pt x="2240199" y="960584"/>
                </a:lnTo>
                <a:lnTo>
                  <a:pt x="2131770" y="890244"/>
                </a:lnTo>
                <a:lnTo>
                  <a:pt x="2109927" y="960584"/>
                </a:lnTo>
                <a:lnTo>
                  <a:pt x="1997178" y="896259"/>
                </a:lnTo>
                <a:lnTo>
                  <a:pt x="1979651" y="960584"/>
                </a:lnTo>
                <a:lnTo>
                  <a:pt x="1863240" y="902273"/>
                </a:lnTo>
                <a:lnTo>
                  <a:pt x="1849376" y="960584"/>
                </a:lnTo>
                <a:lnTo>
                  <a:pt x="1729956" y="908286"/>
                </a:lnTo>
                <a:lnTo>
                  <a:pt x="1718970" y="960584"/>
                </a:lnTo>
                <a:lnTo>
                  <a:pt x="1597195" y="913779"/>
                </a:lnTo>
                <a:lnTo>
                  <a:pt x="1588694" y="960584"/>
                </a:lnTo>
                <a:lnTo>
                  <a:pt x="1464959" y="919139"/>
                </a:lnTo>
                <a:lnTo>
                  <a:pt x="1458420" y="960584"/>
                </a:lnTo>
                <a:lnTo>
                  <a:pt x="1332983" y="924238"/>
                </a:lnTo>
                <a:lnTo>
                  <a:pt x="1328013" y="960584"/>
                </a:lnTo>
                <a:lnTo>
                  <a:pt x="1200877" y="929075"/>
                </a:lnTo>
                <a:lnTo>
                  <a:pt x="1197214" y="960584"/>
                </a:lnTo>
                <a:lnTo>
                  <a:pt x="1069037" y="933521"/>
                </a:lnTo>
                <a:lnTo>
                  <a:pt x="1066421" y="960584"/>
                </a:lnTo>
                <a:lnTo>
                  <a:pt x="938239" y="938096"/>
                </a:lnTo>
                <a:lnTo>
                  <a:pt x="936278" y="960584"/>
                </a:lnTo>
                <a:lnTo>
                  <a:pt x="807050" y="941758"/>
                </a:lnTo>
                <a:lnTo>
                  <a:pt x="805873" y="960584"/>
                </a:lnTo>
                <a:lnTo>
                  <a:pt x="676383" y="945418"/>
                </a:lnTo>
                <a:lnTo>
                  <a:pt x="675597" y="960584"/>
                </a:lnTo>
                <a:lnTo>
                  <a:pt x="545715" y="948817"/>
                </a:lnTo>
                <a:lnTo>
                  <a:pt x="545715" y="960584"/>
                </a:lnTo>
                <a:lnTo>
                  <a:pt x="415570" y="952086"/>
                </a:lnTo>
                <a:lnTo>
                  <a:pt x="415570" y="960584"/>
                </a:lnTo>
                <a:lnTo>
                  <a:pt x="285426" y="955094"/>
                </a:lnTo>
                <a:lnTo>
                  <a:pt x="285426" y="960584"/>
                </a:lnTo>
                <a:lnTo>
                  <a:pt x="154631" y="957839"/>
                </a:lnTo>
                <a:lnTo>
                  <a:pt x="154631" y="960584"/>
                </a:lnTo>
                <a:lnTo>
                  <a:pt x="0" y="960584"/>
                </a:lnTo>
                <a:lnTo>
                  <a:pt x="0" y="758586"/>
                </a:lnTo>
                <a:lnTo>
                  <a:pt x="155285" y="758586"/>
                </a:lnTo>
                <a:lnTo>
                  <a:pt x="155285" y="760547"/>
                </a:lnTo>
                <a:lnTo>
                  <a:pt x="243182" y="764207"/>
                </a:lnTo>
                <a:lnTo>
                  <a:pt x="252207" y="764207"/>
                </a:lnTo>
                <a:lnTo>
                  <a:pt x="252207" y="758324"/>
                </a:lnTo>
                <a:lnTo>
                  <a:pt x="394905" y="767738"/>
                </a:lnTo>
                <a:lnTo>
                  <a:pt x="394905" y="758324"/>
                </a:lnTo>
                <a:lnTo>
                  <a:pt x="537344" y="771398"/>
                </a:lnTo>
                <a:lnTo>
                  <a:pt x="538128" y="758324"/>
                </a:lnTo>
                <a:lnTo>
                  <a:pt x="680045" y="774927"/>
                </a:lnTo>
                <a:lnTo>
                  <a:pt x="681353" y="758324"/>
                </a:lnTo>
                <a:lnTo>
                  <a:pt x="822616" y="778981"/>
                </a:lnTo>
                <a:lnTo>
                  <a:pt x="824578" y="758324"/>
                </a:lnTo>
                <a:lnTo>
                  <a:pt x="964922" y="783295"/>
                </a:lnTo>
                <a:lnTo>
                  <a:pt x="967799" y="758324"/>
                </a:lnTo>
                <a:lnTo>
                  <a:pt x="1106968" y="787873"/>
                </a:lnTo>
                <a:lnTo>
                  <a:pt x="1110888" y="758324"/>
                </a:lnTo>
                <a:lnTo>
                  <a:pt x="1248748" y="792710"/>
                </a:lnTo>
                <a:lnTo>
                  <a:pt x="1254113" y="758324"/>
                </a:lnTo>
                <a:lnTo>
                  <a:pt x="1390141" y="797548"/>
                </a:lnTo>
                <a:lnTo>
                  <a:pt x="1397336" y="758324"/>
                </a:lnTo>
                <a:lnTo>
                  <a:pt x="1531928" y="803170"/>
                </a:lnTo>
                <a:lnTo>
                  <a:pt x="1541345" y="758324"/>
                </a:lnTo>
                <a:lnTo>
                  <a:pt x="1672144" y="808790"/>
                </a:lnTo>
                <a:lnTo>
                  <a:pt x="1684177" y="758324"/>
                </a:lnTo>
                <a:lnTo>
                  <a:pt x="1811966" y="814543"/>
                </a:lnTo>
                <a:lnTo>
                  <a:pt x="1826878" y="758324"/>
                </a:lnTo>
                <a:lnTo>
                  <a:pt x="1950876" y="820427"/>
                </a:lnTo>
                <a:lnTo>
                  <a:pt x="1969579" y="758324"/>
                </a:lnTo>
                <a:lnTo>
                  <a:pt x="2088736" y="826311"/>
                </a:lnTo>
                <a:lnTo>
                  <a:pt x="2112805" y="758324"/>
                </a:lnTo>
                <a:lnTo>
                  <a:pt x="2227908" y="831802"/>
                </a:lnTo>
                <a:close/>
                <a:moveTo>
                  <a:pt x="8206046" y="758056"/>
                </a:moveTo>
                <a:lnTo>
                  <a:pt x="8206046" y="763939"/>
                </a:lnTo>
                <a:lnTo>
                  <a:pt x="8215202" y="763939"/>
                </a:lnTo>
                <a:lnTo>
                  <a:pt x="8303100" y="760280"/>
                </a:lnTo>
                <a:lnTo>
                  <a:pt x="8303100" y="758317"/>
                </a:lnTo>
                <a:lnTo>
                  <a:pt x="12190037" y="758317"/>
                </a:lnTo>
                <a:lnTo>
                  <a:pt x="12190037" y="960578"/>
                </a:lnTo>
                <a:lnTo>
                  <a:pt x="8301529" y="960578"/>
                </a:lnTo>
                <a:lnTo>
                  <a:pt x="8304145" y="958226"/>
                </a:lnTo>
                <a:lnTo>
                  <a:pt x="8173347" y="960971"/>
                </a:lnTo>
                <a:lnTo>
                  <a:pt x="8173347" y="955480"/>
                </a:lnTo>
                <a:lnTo>
                  <a:pt x="8042548" y="960971"/>
                </a:lnTo>
                <a:lnTo>
                  <a:pt x="8042548" y="952473"/>
                </a:lnTo>
                <a:lnTo>
                  <a:pt x="7911749" y="960971"/>
                </a:lnTo>
                <a:lnTo>
                  <a:pt x="7911749" y="949205"/>
                </a:lnTo>
                <a:lnTo>
                  <a:pt x="7781867" y="960971"/>
                </a:lnTo>
                <a:lnTo>
                  <a:pt x="7781083" y="945804"/>
                </a:lnTo>
                <a:lnTo>
                  <a:pt x="7651461" y="960971"/>
                </a:lnTo>
                <a:lnTo>
                  <a:pt x="7650284" y="942144"/>
                </a:lnTo>
                <a:lnTo>
                  <a:pt x="7521186" y="960971"/>
                </a:lnTo>
                <a:lnTo>
                  <a:pt x="7519355" y="938091"/>
                </a:lnTo>
                <a:lnTo>
                  <a:pt x="7390649" y="960578"/>
                </a:lnTo>
                <a:lnTo>
                  <a:pt x="7388033" y="933515"/>
                </a:lnTo>
                <a:lnTo>
                  <a:pt x="7260243" y="960578"/>
                </a:lnTo>
                <a:lnTo>
                  <a:pt x="7256712" y="929069"/>
                </a:lnTo>
                <a:lnTo>
                  <a:pt x="7129968" y="960578"/>
                </a:lnTo>
                <a:lnTo>
                  <a:pt x="7125129" y="924232"/>
                </a:lnTo>
                <a:lnTo>
                  <a:pt x="6999693" y="960578"/>
                </a:lnTo>
                <a:lnTo>
                  <a:pt x="6993152" y="919133"/>
                </a:lnTo>
                <a:lnTo>
                  <a:pt x="6869416" y="960578"/>
                </a:lnTo>
                <a:lnTo>
                  <a:pt x="6860785" y="913773"/>
                </a:lnTo>
                <a:lnTo>
                  <a:pt x="6739534" y="960841"/>
                </a:lnTo>
                <a:lnTo>
                  <a:pt x="6728548" y="908542"/>
                </a:lnTo>
                <a:lnTo>
                  <a:pt x="6609259" y="960841"/>
                </a:lnTo>
                <a:lnTo>
                  <a:pt x="6595263" y="902528"/>
                </a:lnTo>
                <a:lnTo>
                  <a:pt x="6478983" y="960841"/>
                </a:lnTo>
                <a:lnTo>
                  <a:pt x="6461456" y="896515"/>
                </a:lnTo>
                <a:lnTo>
                  <a:pt x="6348578" y="960841"/>
                </a:lnTo>
                <a:lnTo>
                  <a:pt x="6326733" y="890499"/>
                </a:lnTo>
                <a:lnTo>
                  <a:pt x="6218303" y="960841"/>
                </a:lnTo>
                <a:lnTo>
                  <a:pt x="6191358" y="884485"/>
                </a:lnTo>
                <a:lnTo>
                  <a:pt x="6088026" y="960841"/>
                </a:lnTo>
                <a:lnTo>
                  <a:pt x="6055066" y="878863"/>
                </a:lnTo>
                <a:lnTo>
                  <a:pt x="5957752" y="960841"/>
                </a:lnTo>
                <a:lnTo>
                  <a:pt x="5918512" y="875988"/>
                </a:lnTo>
                <a:lnTo>
                  <a:pt x="6057943" y="758317"/>
                </a:lnTo>
                <a:lnTo>
                  <a:pt x="6094175" y="836764"/>
                </a:lnTo>
                <a:lnTo>
                  <a:pt x="6201168" y="758317"/>
                </a:lnTo>
                <a:lnTo>
                  <a:pt x="6230729" y="832058"/>
                </a:lnTo>
                <a:lnTo>
                  <a:pt x="6344261" y="758317"/>
                </a:lnTo>
                <a:lnTo>
                  <a:pt x="6368327" y="826305"/>
                </a:lnTo>
                <a:lnTo>
                  <a:pt x="6487486" y="758317"/>
                </a:lnTo>
                <a:lnTo>
                  <a:pt x="6506843" y="820422"/>
                </a:lnTo>
                <a:lnTo>
                  <a:pt x="6630841" y="758317"/>
                </a:lnTo>
                <a:lnTo>
                  <a:pt x="6646144" y="814537"/>
                </a:lnTo>
                <a:lnTo>
                  <a:pt x="6774064" y="758317"/>
                </a:lnTo>
                <a:lnTo>
                  <a:pt x="6786097" y="808784"/>
                </a:lnTo>
                <a:lnTo>
                  <a:pt x="6916896" y="758317"/>
                </a:lnTo>
                <a:lnTo>
                  <a:pt x="6926183" y="803164"/>
                </a:lnTo>
                <a:lnTo>
                  <a:pt x="7060383" y="758317"/>
                </a:lnTo>
                <a:lnTo>
                  <a:pt x="7067445" y="797541"/>
                </a:lnTo>
                <a:lnTo>
                  <a:pt x="7203476" y="758317"/>
                </a:lnTo>
                <a:lnTo>
                  <a:pt x="7208969" y="792704"/>
                </a:lnTo>
                <a:lnTo>
                  <a:pt x="7346701" y="758317"/>
                </a:lnTo>
                <a:lnTo>
                  <a:pt x="7350756" y="787866"/>
                </a:lnTo>
                <a:lnTo>
                  <a:pt x="7489924" y="758317"/>
                </a:lnTo>
                <a:lnTo>
                  <a:pt x="7492803" y="783289"/>
                </a:lnTo>
                <a:lnTo>
                  <a:pt x="7633149" y="758317"/>
                </a:lnTo>
                <a:lnTo>
                  <a:pt x="7635111" y="778975"/>
                </a:lnTo>
                <a:lnTo>
                  <a:pt x="7776374" y="758317"/>
                </a:lnTo>
                <a:lnTo>
                  <a:pt x="7777681" y="774922"/>
                </a:lnTo>
                <a:lnTo>
                  <a:pt x="7919990" y="758710"/>
                </a:lnTo>
                <a:lnTo>
                  <a:pt x="7920905" y="771785"/>
                </a:lnTo>
                <a:lnTo>
                  <a:pt x="8063215" y="758710"/>
                </a:lnTo>
                <a:lnTo>
                  <a:pt x="8063215" y="768123"/>
                </a:lnTo>
                <a:close/>
                <a:moveTo>
                  <a:pt x="5769663" y="758056"/>
                </a:moveTo>
                <a:lnTo>
                  <a:pt x="5812958" y="829835"/>
                </a:lnTo>
                <a:lnTo>
                  <a:pt x="5695239" y="960578"/>
                </a:lnTo>
                <a:lnTo>
                  <a:pt x="5651945" y="888800"/>
                </a:lnTo>
                <a:close/>
                <a:moveTo>
                  <a:pt x="5483607" y="758056"/>
                </a:moveTo>
                <a:lnTo>
                  <a:pt x="5531087" y="816760"/>
                </a:lnTo>
                <a:lnTo>
                  <a:pt x="5434558" y="960578"/>
                </a:lnTo>
                <a:lnTo>
                  <a:pt x="5387078" y="901874"/>
                </a:lnTo>
                <a:close/>
                <a:moveTo>
                  <a:pt x="4118075" y="757932"/>
                </a:moveTo>
                <a:lnTo>
                  <a:pt x="4128801" y="954048"/>
                </a:lnTo>
                <a:lnTo>
                  <a:pt x="4064053" y="960584"/>
                </a:lnTo>
                <a:lnTo>
                  <a:pt x="4053330" y="764470"/>
                </a:lnTo>
                <a:close/>
                <a:moveTo>
                  <a:pt x="3258860" y="757932"/>
                </a:moveTo>
                <a:lnTo>
                  <a:pt x="3333939" y="914825"/>
                </a:lnTo>
                <a:lnTo>
                  <a:pt x="3281619" y="960584"/>
                </a:lnTo>
                <a:lnTo>
                  <a:pt x="3206538" y="803692"/>
                </a:lnTo>
                <a:close/>
                <a:moveTo>
                  <a:pt x="2972543" y="757932"/>
                </a:moveTo>
                <a:lnTo>
                  <a:pt x="3069069" y="901749"/>
                </a:lnTo>
                <a:lnTo>
                  <a:pt x="3021459" y="960453"/>
                </a:lnTo>
                <a:lnTo>
                  <a:pt x="2924931" y="816635"/>
                </a:lnTo>
                <a:close/>
                <a:moveTo>
                  <a:pt x="2686354" y="757932"/>
                </a:moveTo>
                <a:lnTo>
                  <a:pt x="2804073" y="888675"/>
                </a:lnTo>
                <a:lnTo>
                  <a:pt x="2760911" y="960453"/>
                </a:lnTo>
                <a:lnTo>
                  <a:pt x="2643192" y="829710"/>
                </a:lnTo>
                <a:close/>
                <a:moveTo>
                  <a:pt x="5196767" y="757926"/>
                </a:moveTo>
                <a:lnTo>
                  <a:pt x="5249086" y="803686"/>
                </a:lnTo>
                <a:lnTo>
                  <a:pt x="5174007" y="960578"/>
                </a:lnTo>
                <a:lnTo>
                  <a:pt x="5121687" y="914819"/>
                </a:lnTo>
                <a:close/>
                <a:moveTo>
                  <a:pt x="4909794" y="757926"/>
                </a:moveTo>
                <a:lnTo>
                  <a:pt x="4966037" y="790611"/>
                </a:lnTo>
                <a:lnTo>
                  <a:pt x="4912410" y="960578"/>
                </a:lnTo>
                <a:lnTo>
                  <a:pt x="4856297" y="927893"/>
                </a:lnTo>
                <a:close/>
                <a:moveTo>
                  <a:pt x="4623868" y="757926"/>
                </a:moveTo>
                <a:lnTo>
                  <a:pt x="4684428" y="777538"/>
                </a:lnTo>
                <a:lnTo>
                  <a:pt x="4652253" y="960578"/>
                </a:lnTo>
                <a:lnTo>
                  <a:pt x="4591692" y="940968"/>
                </a:lnTo>
                <a:close/>
                <a:moveTo>
                  <a:pt x="4337943" y="757926"/>
                </a:moveTo>
                <a:lnTo>
                  <a:pt x="4403342" y="764463"/>
                </a:lnTo>
                <a:lnTo>
                  <a:pt x="4392617" y="960578"/>
                </a:lnTo>
                <a:lnTo>
                  <a:pt x="4327218" y="954043"/>
                </a:lnTo>
                <a:close/>
                <a:moveTo>
                  <a:pt x="3688795" y="504809"/>
                </a:moveTo>
                <a:lnTo>
                  <a:pt x="3731698" y="680927"/>
                </a:lnTo>
                <a:lnTo>
                  <a:pt x="3673360" y="706944"/>
                </a:lnTo>
                <a:lnTo>
                  <a:pt x="3630460" y="530962"/>
                </a:lnTo>
                <a:close/>
                <a:moveTo>
                  <a:pt x="3402348" y="504809"/>
                </a:moveTo>
                <a:lnTo>
                  <a:pt x="3466699" y="667854"/>
                </a:lnTo>
                <a:lnTo>
                  <a:pt x="3412680" y="707074"/>
                </a:lnTo>
                <a:lnTo>
                  <a:pt x="3348327" y="544035"/>
                </a:lnTo>
                <a:close/>
                <a:moveTo>
                  <a:pt x="3974849" y="504678"/>
                </a:moveTo>
                <a:lnTo>
                  <a:pt x="3996303" y="693870"/>
                </a:lnTo>
                <a:lnTo>
                  <a:pt x="3933650" y="706814"/>
                </a:lnTo>
                <a:lnTo>
                  <a:pt x="3912199" y="517753"/>
                </a:lnTo>
                <a:close/>
                <a:moveTo>
                  <a:pt x="3115768" y="504678"/>
                </a:moveTo>
                <a:lnTo>
                  <a:pt x="3201571" y="654649"/>
                </a:lnTo>
                <a:lnTo>
                  <a:pt x="3151736" y="706944"/>
                </a:lnTo>
                <a:lnTo>
                  <a:pt x="3066064" y="556979"/>
                </a:lnTo>
                <a:close/>
                <a:moveTo>
                  <a:pt x="2829580" y="504678"/>
                </a:moveTo>
                <a:lnTo>
                  <a:pt x="2936835" y="641704"/>
                </a:lnTo>
                <a:lnTo>
                  <a:pt x="2891449" y="706944"/>
                </a:lnTo>
                <a:lnTo>
                  <a:pt x="2784192" y="570054"/>
                </a:lnTo>
                <a:close/>
                <a:moveTo>
                  <a:pt x="2542869" y="504678"/>
                </a:moveTo>
                <a:lnTo>
                  <a:pt x="2671576" y="628629"/>
                </a:lnTo>
                <a:lnTo>
                  <a:pt x="2630504" y="706944"/>
                </a:lnTo>
                <a:lnTo>
                  <a:pt x="2501930" y="583129"/>
                </a:lnTo>
                <a:close/>
                <a:moveTo>
                  <a:pt x="4767616" y="504673"/>
                </a:moveTo>
                <a:lnTo>
                  <a:pt x="4825952" y="530822"/>
                </a:lnTo>
                <a:lnTo>
                  <a:pt x="4783051" y="706805"/>
                </a:lnTo>
                <a:lnTo>
                  <a:pt x="4724714" y="680787"/>
                </a:lnTo>
                <a:close/>
                <a:moveTo>
                  <a:pt x="4482999" y="504673"/>
                </a:moveTo>
                <a:lnTo>
                  <a:pt x="4545651" y="517748"/>
                </a:lnTo>
                <a:lnTo>
                  <a:pt x="4523416" y="706805"/>
                </a:lnTo>
                <a:lnTo>
                  <a:pt x="4461548" y="693861"/>
                </a:lnTo>
                <a:close/>
                <a:moveTo>
                  <a:pt x="4196426" y="504673"/>
                </a:moveTo>
                <a:lnTo>
                  <a:pt x="4263388" y="504673"/>
                </a:lnTo>
                <a:lnTo>
                  <a:pt x="4263388" y="706805"/>
                </a:lnTo>
                <a:lnTo>
                  <a:pt x="4261555" y="706805"/>
                </a:lnTo>
                <a:lnTo>
                  <a:pt x="4261555" y="706814"/>
                </a:lnTo>
                <a:lnTo>
                  <a:pt x="4194593" y="706814"/>
                </a:lnTo>
                <a:lnTo>
                  <a:pt x="4194593" y="504809"/>
                </a:lnTo>
                <a:lnTo>
                  <a:pt x="4196426" y="504809"/>
                </a:lnTo>
                <a:close/>
                <a:moveTo>
                  <a:pt x="5913149" y="504543"/>
                </a:moveTo>
                <a:lnTo>
                  <a:pt x="5954220" y="582990"/>
                </a:lnTo>
                <a:lnTo>
                  <a:pt x="5825514" y="706805"/>
                </a:lnTo>
                <a:lnTo>
                  <a:pt x="5784445" y="628489"/>
                </a:lnTo>
                <a:close/>
                <a:moveTo>
                  <a:pt x="5626832" y="504543"/>
                </a:moveTo>
                <a:lnTo>
                  <a:pt x="5672219" y="569916"/>
                </a:lnTo>
                <a:lnTo>
                  <a:pt x="5564963" y="706805"/>
                </a:lnTo>
                <a:lnTo>
                  <a:pt x="5519577" y="641564"/>
                </a:lnTo>
                <a:close/>
                <a:moveTo>
                  <a:pt x="5340905" y="504543"/>
                </a:moveTo>
                <a:lnTo>
                  <a:pt x="5390609" y="556840"/>
                </a:lnTo>
                <a:lnTo>
                  <a:pt x="5304805" y="706805"/>
                </a:lnTo>
                <a:lnTo>
                  <a:pt x="5255101" y="654507"/>
                </a:lnTo>
                <a:close/>
                <a:moveTo>
                  <a:pt x="5053410" y="504543"/>
                </a:moveTo>
                <a:lnTo>
                  <a:pt x="5107431" y="543766"/>
                </a:lnTo>
                <a:lnTo>
                  <a:pt x="5043209" y="706805"/>
                </a:lnTo>
                <a:lnTo>
                  <a:pt x="4989058" y="667582"/>
                </a:lnTo>
                <a:close/>
                <a:moveTo>
                  <a:pt x="3832019" y="504416"/>
                </a:moveTo>
                <a:lnTo>
                  <a:pt x="3864196" y="687464"/>
                </a:lnTo>
                <a:lnTo>
                  <a:pt x="3803636" y="707074"/>
                </a:lnTo>
                <a:lnTo>
                  <a:pt x="3771460" y="524028"/>
                </a:lnTo>
                <a:close/>
                <a:moveTo>
                  <a:pt x="3545571" y="504416"/>
                </a:moveTo>
                <a:lnTo>
                  <a:pt x="3599198" y="674390"/>
                </a:lnTo>
                <a:lnTo>
                  <a:pt x="3542955" y="707074"/>
                </a:lnTo>
                <a:lnTo>
                  <a:pt x="3489328" y="537107"/>
                </a:lnTo>
                <a:close/>
                <a:moveTo>
                  <a:pt x="2257599" y="504416"/>
                </a:moveTo>
                <a:lnTo>
                  <a:pt x="2364592" y="582869"/>
                </a:lnTo>
                <a:lnTo>
                  <a:pt x="2400822" y="504416"/>
                </a:lnTo>
                <a:lnTo>
                  <a:pt x="2540121" y="622091"/>
                </a:lnTo>
                <a:lnTo>
                  <a:pt x="2500884" y="706814"/>
                </a:lnTo>
                <a:lnTo>
                  <a:pt x="2403568" y="624969"/>
                </a:lnTo>
                <a:lnTo>
                  <a:pt x="2370606" y="706814"/>
                </a:lnTo>
                <a:lnTo>
                  <a:pt x="2267277" y="630589"/>
                </a:lnTo>
                <a:lnTo>
                  <a:pt x="2240199" y="706814"/>
                </a:lnTo>
                <a:lnTo>
                  <a:pt x="2131770" y="636473"/>
                </a:lnTo>
                <a:lnTo>
                  <a:pt x="2109927" y="706814"/>
                </a:lnTo>
                <a:lnTo>
                  <a:pt x="1997178" y="642619"/>
                </a:lnTo>
                <a:lnTo>
                  <a:pt x="1979651" y="706814"/>
                </a:lnTo>
                <a:lnTo>
                  <a:pt x="1863240" y="648633"/>
                </a:lnTo>
                <a:lnTo>
                  <a:pt x="1849376" y="706814"/>
                </a:lnTo>
                <a:lnTo>
                  <a:pt x="1729956" y="654516"/>
                </a:lnTo>
                <a:lnTo>
                  <a:pt x="1718970" y="706814"/>
                </a:lnTo>
                <a:lnTo>
                  <a:pt x="1597195" y="660139"/>
                </a:lnTo>
                <a:lnTo>
                  <a:pt x="1588694" y="706814"/>
                </a:lnTo>
                <a:lnTo>
                  <a:pt x="1464959" y="665500"/>
                </a:lnTo>
                <a:lnTo>
                  <a:pt x="1458420" y="706814"/>
                </a:lnTo>
                <a:lnTo>
                  <a:pt x="1332983" y="670599"/>
                </a:lnTo>
                <a:lnTo>
                  <a:pt x="1328013" y="706814"/>
                </a:lnTo>
                <a:lnTo>
                  <a:pt x="1200877" y="675306"/>
                </a:lnTo>
                <a:lnTo>
                  <a:pt x="1197214" y="706814"/>
                </a:lnTo>
                <a:lnTo>
                  <a:pt x="1069037" y="679882"/>
                </a:lnTo>
                <a:lnTo>
                  <a:pt x="1066421" y="706814"/>
                </a:lnTo>
                <a:lnTo>
                  <a:pt x="937977" y="684065"/>
                </a:lnTo>
                <a:lnTo>
                  <a:pt x="936278" y="706814"/>
                </a:lnTo>
                <a:lnTo>
                  <a:pt x="807050" y="687987"/>
                </a:lnTo>
                <a:lnTo>
                  <a:pt x="805873" y="706814"/>
                </a:lnTo>
                <a:lnTo>
                  <a:pt x="676383" y="691647"/>
                </a:lnTo>
                <a:lnTo>
                  <a:pt x="675597" y="706814"/>
                </a:lnTo>
                <a:lnTo>
                  <a:pt x="545715" y="695177"/>
                </a:lnTo>
                <a:lnTo>
                  <a:pt x="545715" y="706814"/>
                </a:lnTo>
                <a:lnTo>
                  <a:pt x="415570" y="698445"/>
                </a:lnTo>
                <a:lnTo>
                  <a:pt x="415570" y="706814"/>
                </a:lnTo>
                <a:lnTo>
                  <a:pt x="285426" y="701452"/>
                </a:lnTo>
                <a:lnTo>
                  <a:pt x="285426" y="706814"/>
                </a:lnTo>
                <a:lnTo>
                  <a:pt x="154631" y="704198"/>
                </a:lnTo>
                <a:lnTo>
                  <a:pt x="154631" y="706814"/>
                </a:lnTo>
                <a:lnTo>
                  <a:pt x="0" y="706814"/>
                </a:lnTo>
                <a:lnTo>
                  <a:pt x="0" y="504678"/>
                </a:lnTo>
                <a:lnTo>
                  <a:pt x="154631" y="504678"/>
                </a:lnTo>
                <a:lnTo>
                  <a:pt x="154631" y="506639"/>
                </a:lnTo>
                <a:lnTo>
                  <a:pt x="243182" y="510561"/>
                </a:lnTo>
                <a:lnTo>
                  <a:pt x="252207" y="510561"/>
                </a:lnTo>
                <a:lnTo>
                  <a:pt x="252207" y="504678"/>
                </a:lnTo>
                <a:lnTo>
                  <a:pt x="394905" y="513961"/>
                </a:lnTo>
                <a:lnTo>
                  <a:pt x="394905" y="504678"/>
                </a:lnTo>
                <a:lnTo>
                  <a:pt x="537344" y="517753"/>
                </a:lnTo>
                <a:lnTo>
                  <a:pt x="538128" y="504678"/>
                </a:lnTo>
                <a:lnTo>
                  <a:pt x="680045" y="521282"/>
                </a:lnTo>
                <a:lnTo>
                  <a:pt x="681353" y="504678"/>
                </a:lnTo>
                <a:lnTo>
                  <a:pt x="822616" y="525339"/>
                </a:lnTo>
                <a:lnTo>
                  <a:pt x="824578" y="504678"/>
                </a:lnTo>
                <a:lnTo>
                  <a:pt x="964922" y="529654"/>
                </a:lnTo>
                <a:lnTo>
                  <a:pt x="967799" y="504678"/>
                </a:lnTo>
                <a:lnTo>
                  <a:pt x="1106968" y="534098"/>
                </a:lnTo>
                <a:lnTo>
                  <a:pt x="1110888" y="504678"/>
                </a:lnTo>
                <a:lnTo>
                  <a:pt x="1248748" y="538936"/>
                </a:lnTo>
                <a:lnTo>
                  <a:pt x="1254113" y="504678"/>
                </a:lnTo>
                <a:lnTo>
                  <a:pt x="1390141" y="543905"/>
                </a:lnTo>
                <a:lnTo>
                  <a:pt x="1397336" y="504678"/>
                </a:lnTo>
                <a:lnTo>
                  <a:pt x="1531928" y="549527"/>
                </a:lnTo>
                <a:lnTo>
                  <a:pt x="1541345" y="504678"/>
                </a:lnTo>
                <a:lnTo>
                  <a:pt x="1672144" y="555019"/>
                </a:lnTo>
                <a:lnTo>
                  <a:pt x="1684177" y="504678"/>
                </a:lnTo>
                <a:lnTo>
                  <a:pt x="1811966" y="560902"/>
                </a:lnTo>
                <a:lnTo>
                  <a:pt x="1826355" y="504678"/>
                </a:lnTo>
                <a:lnTo>
                  <a:pt x="1950352" y="566785"/>
                </a:lnTo>
                <a:lnTo>
                  <a:pt x="1969579" y="504678"/>
                </a:lnTo>
                <a:lnTo>
                  <a:pt x="2088736" y="572669"/>
                </a:lnTo>
                <a:lnTo>
                  <a:pt x="2112805" y="504678"/>
                </a:lnTo>
                <a:lnTo>
                  <a:pt x="2227908" y="578161"/>
                </a:lnTo>
                <a:close/>
                <a:moveTo>
                  <a:pt x="7920121" y="504411"/>
                </a:moveTo>
                <a:lnTo>
                  <a:pt x="7921036" y="517486"/>
                </a:lnTo>
                <a:lnTo>
                  <a:pt x="8063346" y="504411"/>
                </a:lnTo>
                <a:lnTo>
                  <a:pt x="8063346" y="513695"/>
                </a:lnTo>
                <a:lnTo>
                  <a:pt x="8206046" y="504411"/>
                </a:lnTo>
                <a:lnTo>
                  <a:pt x="8206046" y="510296"/>
                </a:lnTo>
                <a:lnTo>
                  <a:pt x="8215202" y="510296"/>
                </a:lnTo>
                <a:lnTo>
                  <a:pt x="8303100" y="506634"/>
                </a:lnTo>
                <a:lnTo>
                  <a:pt x="8303100" y="504673"/>
                </a:lnTo>
                <a:lnTo>
                  <a:pt x="12190037" y="504673"/>
                </a:lnTo>
                <a:lnTo>
                  <a:pt x="12190037" y="706805"/>
                </a:lnTo>
                <a:lnTo>
                  <a:pt x="8301529" y="706805"/>
                </a:lnTo>
                <a:lnTo>
                  <a:pt x="8303884" y="704190"/>
                </a:lnTo>
                <a:lnTo>
                  <a:pt x="8173086" y="706805"/>
                </a:lnTo>
                <a:lnTo>
                  <a:pt x="8173086" y="701444"/>
                </a:lnTo>
                <a:lnTo>
                  <a:pt x="8042287" y="706805"/>
                </a:lnTo>
                <a:lnTo>
                  <a:pt x="8042287" y="698438"/>
                </a:lnTo>
                <a:lnTo>
                  <a:pt x="7911488" y="706805"/>
                </a:lnTo>
                <a:lnTo>
                  <a:pt x="7911488" y="695169"/>
                </a:lnTo>
                <a:lnTo>
                  <a:pt x="7781606" y="706805"/>
                </a:lnTo>
                <a:lnTo>
                  <a:pt x="7780822" y="691638"/>
                </a:lnTo>
                <a:lnTo>
                  <a:pt x="7651199" y="706805"/>
                </a:lnTo>
                <a:lnTo>
                  <a:pt x="7650023" y="687978"/>
                </a:lnTo>
                <a:lnTo>
                  <a:pt x="7520924" y="706805"/>
                </a:lnTo>
                <a:lnTo>
                  <a:pt x="7519094" y="684056"/>
                </a:lnTo>
                <a:lnTo>
                  <a:pt x="7390649" y="706805"/>
                </a:lnTo>
                <a:lnTo>
                  <a:pt x="7388033" y="679872"/>
                </a:lnTo>
                <a:lnTo>
                  <a:pt x="7260243" y="706805"/>
                </a:lnTo>
                <a:lnTo>
                  <a:pt x="7256712" y="675296"/>
                </a:lnTo>
                <a:lnTo>
                  <a:pt x="7129968" y="706805"/>
                </a:lnTo>
                <a:lnTo>
                  <a:pt x="7125129" y="670589"/>
                </a:lnTo>
                <a:lnTo>
                  <a:pt x="6999693" y="706805"/>
                </a:lnTo>
                <a:lnTo>
                  <a:pt x="6993152" y="665490"/>
                </a:lnTo>
                <a:lnTo>
                  <a:pt x="6869416" y="706805"/>
                </a:lnTo>
                <a:lnTo>
                  <a:pt x="6860785" y="660129"/>
                </a:lnTo>
                <a:lnTo>
                  <a:pt x="6739664" y="707066"/>
                </a:lnTo>
                <a:lnTo>
                  <a:pt x="6728678" y="654769"/>
                </a:lnTo>
                <a:lnTo>
                  <a:pt x="6609391" y="707066"/>
                </a:lnTo>
                <a:lnTo>
                  <a:pt x="6595394" y="648886"/>
                </a:lnTo>
                <a:lnTo>
                  <a:pt x="6479114" y="707066"/>
                </a:lnTo>
                <a:lnTo>
                  <a:pt x="6461586" y="642871"/>
                </a:lnTo>
                <a:lnTo>
                  <a:pt x="6348708" y="707066"/>
                </a:lnTo>
                <a:lnTo>
                  <a:pt x="6326865" y="636726"/>
                </a:lnTo>
                <a:lnTo>
                  <a:pt x="6218433" y="707066"/>
                </a:lnTo>
                <a:lnTo>
                  <a:pt x="6191488" y="630842"/>
                </a:lnTo>
                <a:lnTo>
                  <a:pt x="6088158" y="707066"/>
                </a:lnTo>
                <a:lnTo>
                  <a:pt x="6055197" y="625221"/>
                </a:lnTo>
                <a:lnTo>
                  <a:pt x="5957881" y="707066"/>
                </a:lnTo>
                <a:lnTo>
                  <a:pt x="5918642" y="622344"/>
                </a:lnTo>
                <a:lnTo>
                  <a:pt x="6058074" y="504673"/>
                </a:lnTo>
                <a:lnTo>
                  <a:pt x="6094305" y="583121"/>
                </a:lnTo>
                <a:lnTo>
                  <a:pt x="6201298" y="504673"/>
                </a:lnTo>
                <a:lnTo>
                  <a:pt x="6230859" y="578414"/>
                </a:lnTo>
                <a:lnTo>
                  <a:pt x="6344393" y="504673"/>
                </a:lnTo>
                <a:lnTo>
                  <a:pt x="6368459" y="572661"/>
                </a:lnTo>
                <a:lnTo>
                  <a:pt x="6487616" y="504673"/>
                </a:lnTo>
                <a:lnTo>
                  <a:pt x="6506974" y="566778"/>
                </a:lnTo>
                <a:lnTo>
                  <a:pt x="6630841" y="504673"/>
                </a:lnTo>
                <a:lnTo>
                  <a:pt x="6646144" y="560894"/>
                </a:lnTo>
                <a:lnTo>
                  <a:pt x="6774064" y="504673"/>
                </a:lnTo>
                <a:lnTo>
                  <a:pt x="6786097" y="555011"/>
                </a:lnTo>
                <a:lnTo>
                  <a:pt x="6916896" y="504673"/>
                </a:lnTo>
                <a:lnTo>
                  <a:pt x="6926183" y="549519"/>
                </a:lnTo>
                <a:lnTo>
                  <a:pt x="7060383" y="504673"/>
                </a:lnTo>
                <a:lnTo>
                  <a:pt x="7067445" y="543897"/>
                </a:lnTo>
                <a:lnTo>
                  <a:pt x="7203476" y="504673"/>
                </a:lnTo>
                <a:lnTo>
                  <a:pt x="7208969" y="538928"/>
                </a:lnTo>
                <a:lnTo>
                  <a:pt x="7346701" y="504673"/>
                </a:lnTo>
                <a:lnTo>
                  <a:pt x="7350756" y="534091"/>
                </a:lnTo>
                <a:lnTo>
                  <a:pt x="7489924" y="504673"/>
                </a:lnTo>
                <a:lnTo>
                  <a:pt x="7492803" y="529645"/>
                </a:lnTo>
                <a:lnTo>
                  <a:pt x="7633149" y="504673"/>
                </a:lnTo>
                <a:lnTo>
                  <a:pt x="7635111" y="525331"/>
                </a:lnTo>
                <a:lnTo>
                  <a:pt x="7776374" y="504673"/>
                </a:lnTo>
                <a:lnTo>
                  <a:pt x="7777681" y="521278"/>
                </a:lnTo>
                <a:close/>
                <a:moveTo>
                  <a:pt x="4118075" y="504285"/>
                </a:moveTo>
                <a:lnTo>
                  <a:pt x="4128801" y="700406"/>
                </a:lnTo>
                <a:lnTo>
                  <a:pt x="4064053" y="706944"/>
                </a:lnTo>
                <a:lnTo>
                  <a:pt x="4053330" y="510823"/>
                </a:lnTo>
                <a:close/>
                <a:moveTo>
                  <a:pt x="3258860" y="504285"/>
                </a:moveTo>
                <a:lnTo>
                  <a:pt x="3333939" y="661185"/>
                </a:lnTo>
                <a:lnTo>
                  <a:pt x="3281619" y="706814"/>
                </a:lnTo>
                <a:lnTo>
                  <a:pt x="3206538" y="549920"/>
                </a:lnTo>
                <a:close/>
                <a:moveTo>
                  <a:pt x="2972543" y="504285"/>
                </a:moveTo>
                <a:lnTo>
                  <a:pt x="3069069" y="648111"/>
                </a:lnTo>
                <a:lnTo>
                  <a:pt x="3021459" y="706814"/>
                </a:lnTo>
                <a:lnTo>
                  <a:pt x="2924931" y="562993"/>
                </a:lnTo>
                <a:close/>
                <a:moveTo>
                  <a:pt x="2686354" y="504285"/>
                </a:moveTo>
                <a:lnTo>
                  <a:pt x="2804073" y="635037"/>
                </a:lnTo>
                <a:lnTo>
                  <a:pt x="2760911" y="706814"/>
                </a:lnTo>
                <a:lnTo>
                  <a:pt x="2643192" y="576068"/>
                </a:lnTo>
                <a:close/>
                <a:moveTo>
                  <a:pt x="5769663" y="504280"/>
                </a:moveTo>
                <a:lnTo>
                  <a:pt x="5812958" y="576060"/>
                </a:lnTo>
                <a:lnTo>
                  <a:pt x="5695239" y="706805"/>
                </a:lnTo>
                <a:lnTo>
                  <a:pt x="5651945" y="635027"/>
                </a:lnTo>
                <a:close/>
                <a:moveTo>
                  <a:pt x="5483607" y="504280"/>
                </a:moveTo>
                <a:lnTo>
                  <a:pt x="5531087" y="562985"/>
                </a:lnTo>
                <a:lnTo>
                  <a:pt x="5434558" y="706805"/>
                </a:lnTo>
                <a:lnTo>
                  <a:pt x="5387078" y="648101"/>
                </a:lnTo>
                <a:close/>
                <a:moveTo>
                  <a:pt x="5196767" y="504280"/>
                </a:moveTo>
                <a:lnTo>
                  <a:pt x="5249086" y="549912"/>
                </a:lnTo>
                <a:lnTo>
                  <a:pt x="5174007" y="706805"/>
                </a:lnTo>
                <a:lnTo>
                  <a:pt x="5121687" y="661175"/>
                </a:lnTo>
                <a:close/>
                <a:moveTo>
                  <a:pt x="4909794" y="504150"/>
                </a:moveTo>
                <a:lnTo>
                  <a:pt x="4966037" y="536837"/>
                </a:lnTo>
                <a:lnTo>
                  <a:pt x="4912410" y="706805"/>
                </a:lnTo>
                <a:lnTo>
                  <a:pt x="4856297" y="674119"/>
                </a:lnTo>
                <a:close/>
                <a:moveTo>
                  <a:pt x="4623868" y="504150"/>
                </a:moveTo>
                <a:lnTo>
                  <a:pt x="4684428" y="523762"/>
                </a:lnTo>
                <a:lnTo>
                  <a:pt x="4652253" y="706805"/>
                </a:lnTo>
                <a:lnTo>
                  <a:pt x="4591692" y="687194"/>
                </a:lnTo>
                <a:close/>
                <a:moveTo>
                  <a:pt x="4337943" y="504150"/>
                </a:moveTo>
                <a:lnTo>
                  <a:pt x="4403342" y="510687"/>
                </a:lnTo>
                <a:lnTo>
                  <a:pt x="4392617" y="706805"/>
                </a:lnTo>
                <a:lnTo>
                  <a:pt x="4327218" y="700268"/>
                </a:lnTo>
                <a:close/>
                <a:moveTo>
                  <a:pt x="3688795" y="251164"/>
                </a:moveTo>
                <a:lnTo>
                  <a:pt x="3731698" y="427277"/>
                </a:lnTo>
                <a:lnTo>
                  <a:pt x="3673360" y="453427"/>
                </a:lnTo>
                <a:lnTo>
                  <a:pt x="3630460" y="277314"/>
                </a:lnTo>
                <a:close/>
                <a:moveTo>
                  <a:pt x="3402348" y="251164"/>
                </a:moveTo>
                <a:lnTo>
                  <a:pt x="3466699" y="414203"/>
                </a:lnTo>
                <a:lnTo>
                  <a:pt x="3412680" y="453427"/>
                </a:lnTo>
                <a:lnTo>
                  <a:pt x="3348327" y="290388"/>
                </a:lnTo>
                <a:close/>
                <a:moveTo>
                  <a:pt x="3974849" y="251034"/>
                </a:moveTo>
                <a:lnTo>
                  <a:pt x="3996303" y="440221"/>
                </a:lnTo>
                <a:lnTo>
                  <a:pt x="3933650" y="453295"/>
                </a:lnTo>
                <a:lnTo>
                  <a:pt x="3912199" y="264108"/>
                </a:lnTo>
                <a:close/>
                <a:moveTo>
                  <a:pt x="3115768" y="251034"/>
                </a:moveTo>
                <a:lnTo>
                  <a:pt x="3201571" y="401128"/>
                </a:lnTo>
                <a:lnTo>
                  <a:pt x="3151736" y="453427"/>
                </a:lnTo>
                <a:lnTo>
                  <a:pt x="3066064" y="303332"/>
                </a:lnTo>
                <a:close/>
                <a:moveTo>
                  <a:pt x="2829580" y="251034"/>
                </a:moveTo>
                <a:lnTo>
                  <a:pt x="2936835" y="388054"/>
                </a:lnTo>
                <a:lnTo>
                  <a:pt x="2891449" y="453427"/>
                </a:lnTo>
                <a:lnTo>
                  <a:pt x="2784192" y="316406"/>
                </a:lnTo>
                <a:close/>
                <a:moveTo>
                  <a:pt x="2542869" y="251034"/>
                </a:moveTo>
                <a:lnTo>
                  <a:pt x="2671576" y="374979"/>
                </a:lnTo>
                <a:lnTo>
                  <a:pt x="2630504" y="453427"/>
                </a:lnTo>
                <a:lnTo>
                  <a:pt x="2501930" y="329480"/>
                </a:lnTo>
                <a:close/>
                <a:moveTo>
                  <a:pt x="5053410" y="251029"/>
                </a:moveTo>
                <a:lnTo>
                  <a:pt x="5107431" y="290252"/>
                </a:lnTo>
                <a:lnTo>
                  <a:pt x="5043209" y="453290"/>
                </a:lnTo>
                <a:lnTo>
                  <a:pt x="4989058" y="414067"/>
                </a:lnTo>
                <a:close/>
                <a:moveTo>
                  <a:pt x="4767616" y="251029"/>
                </a:moveTo>
                <a:lnTo>
                  <a:pt x="4825952" y="277178"/>
                </a:lnTo>
                <a:lnTo>
                  <a:pt x="4783051" y="453290"/>
                </a:lnTo>
                <a:lnTo>
                  <a:pt x="4724714" y="427142"/>
                </a:lnTo>
                <a:close/>
                <a:moveTo>
                  <a:pt x="4482999" y="251029"/>
                </a:moveTo>
                <a:lnTo>
                  <a:pt x="4545651" y="264103"/>
                </a:lnTo>
                <a:lnTo>
                  <a:pt x="4523416" y="453290"/>
                </a:lnTo>
                <a:lnTo>
                  <a:pt x="4461548" y="440217"/>
                </a:lnTo>
                <a:close/>
                <a:moveTo>
                  <a:pt x="4196426" y="251029"/>
                </a:moveTo>
                <a:lnTo>
                  <a:pt x="4263388" y="251029"/>
                </a:lnTo>
                <a:lnTo>
                  <a:pt x="4263388" y="453290"/>
                </a:lnTo>
                <a:lnTo>
                  <a:pt x="4261555" y="453290"/>
                </a:lnTo>
                <a:lnTo>
                  <a:pt x="4261555" y="453295"/>
                </a:lnTo>
                <a:lnTo>
                  <a:pt x="4194593" y="453295"/>
                </a:lnTo>
                <a:lnTo>
                  <a:pt x="4194593" y="251164"/>
                </a:lnTo>
                <a:lnTo>
                  <a:pt x="4196426" y="251164"/>
                </a:lnTo>
                <a:close/>
                <a:moveTo>
                  <a:pt x="5913149" y="250898"/>
                </a:moveTo>
                <a:lnTo>
                  <a:pt x="5954220" y="329344"/>
                </a:lnTo>
                <a:lnTo>
                  <a:pt x="5825514" y="453290"/>
                </a:lnTo>
                <a:lnTo>
                  <a:pt x="5784445" y="374843"/>
                </a:lnTo>
                <a:close/>
                <a:moveTo>
                  <a:pt x="5626832" y="250898"/>
                </a:moveTo>
                <a:lnTo>
                  <a:pt x="5672219" y="316270"/>
                </a:lnTo>
                <a:lnTo>
                  <a:pt x="5564963" y="453290"/>
                </a:lnTo>
                <a:lnTo>
                  <a:pt x="5519577" y="387918"/>
                </a:lnTo>
                <a:close/>
                <a:moveTo>
                  <a:pt x="5340905" y="250898"/>
                </a:moveTo>
                <a:lnTo>
                  <a:pt x="5390609" y="303195"/>
                </a:lnTo>
                <a:lnTo>
                  <a:pt x="5304805" y="453290"/>
                </a:lnTo>
                <a:lnTo>
                  <a:pt x="5255101" y="400993"/>
                </a:lnTo>
                <a:close/>
                <a:moveTo>
                  <a:pt x="3832019" y="250773"/>
                </a:moveTo>
                <a:lnTo>
                  <a:pt x="3864196" y="433815"/>
                </a:lnTo>
                <a:lnTo>
                  <a:pt x="3803375" y="454342"/>
                </a:lnTo>
                <a:lnTo>
                  <a:pt x="3771198" y="271300"/>
                </a:lnTo>
                <a:close/>
                <a:moveTo>
                  <a:pt x="3545571" y="250773"/>
                </a:moveTo>
                <a:lnTo>
                  <a:pt x="3599198" y="420740"/>
                </a:lnTo>
                <a:lnTo>
                  <a:pt x="3542955" y="453427"/>
                </a:lnTo>
                <a:lnTo>
                  <a:pt x="3489328" y="283459"/>
                </a:lnTo>
                <a:close/>
                <a:moveTo>
                  <a:pt x="3258860" y="250773"/>
                </a:moveTo>
                <a:lnTo>
                  <a:pt x="3333939" y="407665"/>
                </a:lnTo>
                <a:lnTo>
                  <a:pt x="3281619" y="453427"/>
                </a:lnTo>
                <a:lnTo>
                  <a:pt x="3206538" y="296533"/>
                </a:lnTo>
                <a:close/>
                <a:moveTo>
                  <a:pt x="2972543" y="250773"/>
                </a:moveTo>
                <a:lnTo>
                  <a:pt x="3069069" y="394591"/>
                </a:lnTo>
                <a:lnTo>
                  <a:pt x="3021459" y="453295"/>
                </a:lnTo>
                <a:lnTo>
                  <a:pt x="2924931" y="309477"/>
                </a:lnTo>
                <a:close/>
                <a:moveTo>
                  <a:pt x="2686354" y="250773"/>
                </a:moveTo>
                <a:lnTo>
                  <a:pt x="2804073" y="381516"/>
                </a:lnTo>
                <a:lnTo>
                  <a:pt x="2760911" y="453295"/>
                </a:lnTo>
                <a:lnTo>
                  <a:pt x="2643192" y="322551"/>
                </a:lnTo>
                <a:close/>
                <a:moveTo>
                  <a:pt x="5769663" y="250767"/>
                </a:moveTo>
                <a:lnTo>
                  <a:pt x="5812958" y="322546"/>
                </a:lnTo>
                <a:lnTo>
                  <a:pt x="5695239" y="453290"/>
                </a:lnTo>
                <a:lnTo>
                  <a:pt x="5651945" y="381511"/>
                </a:lnTo>
                <a:close/>
                <a:moveTo>
                  <a:pt x="5483607" y="250767"/>
                </a:moveTo>
                <a:lnTo>
                  <a:pt x="5531087" y="309471"/>
                </a:lnTo>
                <a:lnTo>
                  <a:pt x="5434558" y="453290"/>
                </a:lnTo>
                <a:lnTo>
                  <a:pt x="5387078" y="394586"/>
                </a:lnTo>
                <a:close/>
                <a:moveTo>
                  <a:pt x="4118075" y="250642"/>
                </a:moveTo>
                <a:lnTo>
                  <a:pt x="4128801" y="446757"/>
                </a:lnTo>
                <a:lnTo>
                  <a:pt x="4064053" y="453295"/>
                </a:lnTo>
                <a:lnTo>
                  <a:pt x="4053330" y="257180"/>
                </a:lnTo>
                <a:close/>
                <a:moveTo>
                  <a:pt x="252207" y="250642"/>
                </a:moveTo>
                <a:lnTo>
                  <a:pt x="394905" y="260055"/>
                </a:lnTo>
                <a:lnTo>
                  <a:pt x="394905" y="250642"/>
                </a:lnTo>
                <a:lnTo>
                  <a:pt x="537344" y="263717"/>
                </a:lnTo>
                <a:lnTo>
                  <a:pt x="538128" y="250642"/>
                </a:lnTo>
                <a:lnTo>
                  <a:pt x="680045" y="267247"/>
                </a:lnTo>
                <a:lnTo>
                  <a:pt x="681353" y="250642"/>
                </a:lnTo>
                <a:lnTo>
                  <a:pt x="822616" y="271300"/>
                </a:lnTo>
                <a:lnTo>
                  <a:pt x="824578" y="251034"/>
                </a:lnTo>
                <a:lnTo>
                  <a:pt x="964922" y="276006"/>
                </a:lnTo>
                <a:lnTo>
                  <a:pt x="967799" y="251034"/>
                </a:lnTo>
                <a:lnTo>
                  <a:pt x="1106968" y="280582"/>
                </a:lnTo>
                <a:lnTo>
                  <a:pt x="1110888" y="251034"/>
                </a:lnTo>
                <a:lnTo>
                  <a:pt x="1248748" y="285420"/>
                </a:lnTo>
                <a:lnTo>
                  <a:pt x="1254113" y="251034"/>
                </a:lnTo>
                <a:lnTo>
                  <a:pt x="1390141" y="290258"/>
                </a:lnTo>
                <a:lnTo>
                  <a:pt x="1397336" y="251034"/>
                </a:lnTo>
                <a:lnTo>
                  <a:pt x="1531928" y="295880"/>
                </a:lnTo>
                <a:lnTo>
                  <a:pt x="1541345" y="251034"/>
                </a:lnTo>
                <a:lnTo>
                  <a:pt x="1672144" y="301501"/>
                </a:lnTo>
                <a:lnTo>
                  <a:pt x="1684177" y="251034"/>
                </a:lnTo>
                <a:lnTo>
                  <a:pt x="1811966" y="307254"/>
                </a:lnTo>
                <a:lnTo>
                  <a:pt x="1826355" y="251034"/>
                </a:lnTo>
                <a:lnTo>
                  <a:pt x="1950352" y="313138"/>
                </a:lnTo>
                <a:lnTo>
                  <a:pt x="1969579" y="251034"/>
                </a:lnTo>
                <a:lnTo>
                  <a:pt x="2088736" y="319022"/>
                </a:lnTo>
                <a:lnTo>
                  <a:pt x="2112805" y="251034"/>
                </a:lnTo>
                <a:lnTo>
                  <a:pt x="2226992" y="324774"/>
                </a:lnTo>
                <a:lnTo>
                  <a:pt x="2256680" y="251034"/>
                </a:lnTo>
                <a:lnTo>
                  <a:pt x="2363937" y="329873"/>
                </a:lnTo>
                <a:lnTo>
                  <a:pt x="2400168" y="250773"/>
                </a:lnTo>
                <a:lnTo>
                  <a:pt x="2539466" y="368443"/>
                </a:lnTo>
                <a:lnTo>
                  <a:pt x="2500230" y="453295"/>
                </a:lnTo>
                <a:lnTo>
                  <a:pt x="2402913" y="371319"/>
                </a:lnTo>
                <a:lnTo>
                  <a:pt x="2369951" y="453295"/>
                </a:lnTo>
                <a:lnTo>
                  <a:pt x="2266623" y="376941"/>
                </a:lnTo>
                <a:lnTo>
                  <a:pt x="2239548" y="453295"/>
                </a:lnTo>
                <a:lnTo>
                  <a:pt x="2131116" y="382955"/>
                </a:lnTo>
                <a:lnTo>
                  <a:pt x="2109273" y="453295"/>
                </a:lnTo>
                <a:lnTo>
                  <a:pt x="1996524" y="388969"/>
                </a:lnTo>
                <a:lnTo>
                  <a:pt x="1979651" y="453295"/>
                </a:lnTo>
                <a:lnTo>
                  <a:pt x="1863240" y="394984"/>
                </a:lnTo>
                <a:lnTo>
                  <a:pt x="1849376" y="453295"/>
                </a:lnTo>
                <a:lnTo>
                  <a:pt x="1729956" y="400998"/>
                </a:lnTo>
                <a:lnTo>
                  <a:pt x="1718970" y="453295"/>
                </a:lnTo>
                <a:lnTo>
                  <a:pt x="1597195" y="406489"/>
                </a:lnTo>
                <a:lnTo>
                  <a:pt x="1588694" y="453295"/>
                </a:lnTo>
                <a:lnTo>
                  <a:pt x="1464959" y="411849"/>
                </a:lnTo>
                <a:lnTo>
                  <a:pt x="1458420" y="453295"/>
                </a:lnTo>
                <a:lnTo>
                  <a:pt x="1332983" y="416948"/>
                </a:lnTo>
                <a:lnTo>
                  <a:pt x="1328013" y="453295"/>
                </a:lnTo>
                <a:lnTo>
                  <a:pt x="1200877" y="421786"/>
                </a:lnTo>
                <a:lnTo>
                  <a:pt x="1197214" y="453295"/>
                </a:lnTo>
                <a:lnTo>
                  <a:pt x="1069037" y="426232"/>
                </a:lnTo>
                <a:lnTo>
                  <a:pt x="1066421" y="453295"/>
                </a:lnTo>
                <a:lnTo>
                  <a:pt x="937977" y="430416"/>
                </a:lnTo>
                <a:lnTo>
                  <a:pt x="936278" y="453295"/>
                </a:lnTo>
                <a:lnTo>
                  <a:pt x="807050" y="434469"/>
                </a:lnTo>
                <a:lnTo>
                  <a:pt x="805873" y="453295"/>
                </a:lnTo>
                <a:lnTo>
                  <a:pt x="676383" y="438129"/>
                </a:lnTo>
                <a:lnTo>
                  <a:pt x="675597" y="453295"/>
                </a:lnTo>
                <a:lnTo>
                  <a:pt x="545715" y="441528"/>
                </a:lnTo>
                <a:lnTo>
                  <a:pt x="545715" y="453295"/>
                </a:lnTo>
                <a:lnTo>
                  <a:pt x="415570" y="444797"/>
                </a:lnTo>
                <a:lnTo>
                  <a:pt x="415570" y="453295"/>
                </a:lnTo>
                <a:lnTo>
                  <a:pt x="285426" y="447804"/>
                </a:lnTo>
                <a:lnTo>
                  <a:pt x="285426" y="453295"/>
                </a:lnTo>
                <a:lnTo>
                  <a:pt x="154631" y="450550"/>
                </a:lnTo>
                <a:lnTo>
                  <a:pt x="154631" y="453295"/>
                </a:lnTo>
                <a:lnTo>
                  <a:pt x="0" y="453295"/>
                </a:lnTo>
                <a:lnTo>
                  <a:pt x="0" y="250903"/>
                </a:lnTo>
                <a:lnTo>
                  <a:pt x="155285" y="250903"/>
                </a:lnTo>
                <a:lnTo>
                  <a:pt x="155285" y="252864"/>
                </a:lnTo>
                <a:lnTo>
                  <a:pt x="243182" y="256526"/>
                </a:lnTo>
                <a:lnTo>
                  <a:pt x="252207" y="256526"/>
                </a:lnTo>
                <a:close/>
                <a:moveTo>
                  <a:pt x="7060383" y="250637"/>
                </a:moveTo>
                <a:lnTo>
                  <a:pt x="7067445" y="289859"/>
                </a:lnTo>
                <a:lnTo>
                  <a:pt x="7203476" y="250637"/>
                </a:lnTo>
                <a:lnTo>
                  <a:pt x="7208969" y="285022"/>
                </a:lnTo>
                <a:lnTo>
                  <a:pt x="7346701" y="250637"/>
                </a:lnTo>
                <a:lnTo>
                  <a:pt x="7350756" y="280185"/>
                </a:lnTo>
                <a:lnTo>
                  <a:pt x="7489924" y="250637"/>
                </a:lnTo>
                <a:lnTo>
                  <a:pt x="7492803" y="275609"/>
                </a:lnTo>
                <a:lnTo>
                  <a:pt x="7633149" y="250637"/>
                </a:lnTo>
                <a:lnTo>
                  <a:pt x="7635111" y="271295"/>
                </a:lnTo>
                <a:lnTo>
                  <a:pt x="7776374" y="251029"/>
                </a:lnTo>
                <a:lnTo>
                  <a:pt x="7777681" y="267633"/>
                </a:lnTo>
                <a:lnTo>
                  <a:pt x="7920121" y="250767"/>
                </a:lnTo>
                <a:lnTo>
                  <a:pt x="7921036" y="263842"/>
                </a:lnTo>
                <a:lnTo>
                  <a:pt x="8063346" y="250767"/>
                </a:lnTo>
                <a:lnTo>
                  <a:pt x="8063346" y="260181"/>
                </a:lnTo>
                <a:lnTo>
                  <a:pt x="8206046" y="250767"/>
                </a:lnTo>
                <a:lnTo>
                  <a:pt x="8206046" y="256651"/>
                </a:lnTo>
                <a:lnTo>
                  <a:pt x="8215202" y="256651"/>
                </a:lnTo>
                <a:lnTo>
                  <a:pt x="8303100" y="252991"/>
                </a:lnTo>
                <a:lnTo>
                  <a:pt x="8303100" y="251029"/>
                </a:lnTo>
                <a:lnTo>
                  <a:pt x="12190037" y="251029"/>
                </a:lnTo>
                <a:lnTo>
                  <a:pt x="12190037" y="453290"/>
                </a:lnTo>
                <a:lnTo>
                  <a:pt x="8301529" y="453290"/>
                </a:lnTo>
                <a:lnTo>
                  <a:pt x="8303884" y="450545"/>
                </a:lnTo>
                <a:lnTo>
                  <a:pt x="8173086" y="453290"/>
                </a:lnTo>
                <a:lnTo>
                  <a:pt x="8173086" y="447799"/>
                </a:lnTo>
                <a:lnTo>
                  <a:pt x="8042287" y="453290"/>
                </a:lnTo>
                <a:lnTo>
                  <a:pt x="8042287" y="444792"/>
                </a:lnTo>
                <a:lnTo>
                  <a:pt x="7911488" y="453290"/>
                </a:lnTo>
                <a:lnTo>
                  <a:pt x="7911488" y="441523"/>
                </a:lnTo>
                <a:lnTo>
                  <a:pt x="7781606" y="453290"/>
                </a:lnTo>
                <a:lnTo>
                  <a:pt x="7780822" y="438124"/>
                </a:lnTo>
                <a:lnTo>
                  <a:pt x="7651199" y="453290"/>
                </a:lnTo>
                <a:lnTo>
                  <a:pt x="7650023" y="434464"/>
                </a:lnTo>
                <a:lnTo>
                  <a:pt x="7520924" y="453290"/>
                </a:lnTo>
                <a:lnTo>
                  <a:pt x="7519094" y="430411"/>
                </a:lnTo>
                <a:lnTo>
                  <a:pt x="7390649" y="453290"/>
                </a:lnTo>
                <a:lnTo>
                  <a:pt x="7388033" y="426227"/>
                </a:lnTo>
                <a:lnTo>
                  <a:pt x="7260243" y="453290"/>
                </a:lnTo>
                <a:lnTo>
                  <a:pt x="7256712" y="421781"/>
                </a:lnTo>
                <a:lnTo>
                  <a:pt x="7129968" y="453290"/>
                </a:lnTo>
                <a:lnTo>
                  <a:pt x="7125129" y="416943"/>
                </a:lnTo>
                <a:lnTo>
                  <a:pt x="6999693" y="453290"/>
                </a:lnTo>
                <a:lnTo>
                  <a:pt x="6993152" y="411844"/>
                </a:lnTo>
                <a:lnTo>
                  <a:pt x="6869416" y="453290"/>
                </a:lnTo>
                <a:lnTo>
                  <a:pt x="6860785" y="406484"/>
                </a:lnTo>
                <a:lnTo>
                  <a:pt x="6739273" y="453290"/>
                </a:lnTo>
                <a:lnTo>
                  <a:pt x="6728285" y="400993"/>
                </a:lnTo>
                <a:lnTo>
                  <a:pt x="6608998" y="453290"/>
                </a:lnTo>
                <a:lnTo>
                  <a:pt x="6595001" y="394979"/>
                </a:lnTo>
                <a:lnTo>
                  <a:pt x="6478721" y="453290"/>
                </a:lnTo>
                <a:lnTo>
                  <a:pt x="6461195" y="388964"/>
                </a:lnTo>
                <a:lnTo>
                  <a:pt x="6348708" y="453552"/>
                </a:lnTo>
                <a:lnTo>
                  <a:pt x="6326865" y="383211"/>
                </a:lnTo>
                <a:lnTo>
                  <a:pt x="6218433" y="453552"/>
                </a:lnTo>
                <a:lnTo>
                  <a:pt x="6191488" y="377197"/>
                </a:lnTo>
                <a:lnTo>
                  <a:pt x="6088158" y="453552"/>
                </a:lnTo>
                <a:lnTo>
                  <a:pt x="6055197" y="371575"/>
                </a:lnTo>
                <a:lnTo>
                  <a:pt x="5957881" y="453552"/>
                </a:lnTo>
                <a:lnTo>
                  <a:pt x="5918642" y="368699"/>
                </a:lnTo>
                <a:lnTo>
                  <a:pt x="6058074" y="251029"/>
                </a:lnTo>
                <a:lnTo>
                  <a:pt x="6094305" y="330129"/>
                </a:lnTo>
                <a:lnTo>
                  <a:pt x="6201298" y="251029"/>
                </a:lnTo>
                <a:lnTo>
                  <a:pt x="6230859" y="324769"/>
                </a:lnTo>
                <a:lnTo>
                  <a:pt x="6344393" y="251029"/>
                </a:lnTo>
                <a:lnTo>
                  <a:pt x="6368459" y="319016"/>
                </a:lnTo>
                <a:lnTo>
                  <a:pt x="6487616" y="251029"/>
                </a:lnTo>
                <a:lnTo>
                  <a:pt x="6506974" y="313133"/>
                </a:lnTo>
                <a:lnTo>
                  <a:pt x="6630841" y="251029"/>
                </a:lnTo>
                <a:lnTo>
                  <a:pt x="6646144" y="307248"/>
                </a:lnTo>
                <a:lnTo>
                  <a:pt x="6774064" y="251029"/>
                </a:lnTo>
                <a:lnTo>
                  <a:pt x="6786097" y="301496"/>
                </a:lnTo>
                <a:lnTo>
                  <a:pt x="6916896" y="251029"/>
                </a:lnTo>
                <a:lnTo>
                  <a:pt x="6926183" y="295875"/>
                </a:lnTo>
                <a:close/>
                <a:moveTo>
                  <a:pt x="5196767" y="250637"/>
                </a:moveTo>
                <a:lnTo>
                  <a:pt x="5249086" y="296397"/>
                </a:lnTo>
                <a:lnTo>
                  <a:pt x="5174007" y="453290"/>
                </a:lnTo>
                <a:lnTo>
                  <a:pt x="5121687" y="407530"/>
                </a:lnTo>
                <a:close/>
                <a:moveTo>
                  <a:pt x="4909794" y="250637"/>
                </a:moveTo>
                <a:lnTo>
                  <a:pt x="4966037" y="283322"/>
                </a:lnTo>
                <a:lnTo>
                  <a:pt x="4912410" y="453290"/>
                </a:lnTo>
                <a:lnTo>
                  <a:pt x="4856297" y="420605"/>
                </a:lnTo>
                <a:close/>
                <a:moveTo>
                  <a:pt x="4623868" y="250637"/>
                </a:moveTo>
                <a:lnTo>
                  <a:pt x="4684428" y="270249"/>
                </a:lnTo>
                <a:lnTo>
                  <a:pt x="4652253" y="453290"/>
                </a:lnTo>
                <a:lnTo>
                  <a:pt x="4591692" y="433679"/>
                </a:lnTo>
                <a:close/>
                <a:moveTo>
                  <a:pt x="4337943" y="250637"/>
                </a:moveTo>
                <a:lnTo>
                  <a:pt x="4403342" y="257174"/>
                </a:lnTo>
                <a:lnTo>
                  <a:pt x="4392617" y="453290"/>
                </a:lnTo>
                <a:lnTo>
                  <a:pt x="4327218" y="446752"/>
                </a:lnTo>
                <a:close/>
                <a:moveTo>
                  <a:pt x="3974849" y="529"/>
                </a:moveTo>
                <a:lnTo>
                  <a:pt x="3996303" y="189715"/>
                </a:lnTo>
                <a:lnTo>
                  <a:pt x="3933650" y="202659"/>
                </a:lnTo>
                <a:lnTo>
                  <a:pt x="3912199" y="13602"/>
                </a:lnTo>
                <a:close/>
                <a:moveTo>
                  <a:pt x="3688533" y="529"/>
                </a:moveTo>
                <a:lnTo>
                  <a:pt x="3731698" y="176641"/>
                </a:lnTo>
                <a:lnTo>
                  <a:pt x="3673098" y="202659"/>
                </a:lnTo>
                <a:lnTo>
                  <a:pt x="3630198" y="26677"/>
                </a:lnTo>
                <a:close/>
                <a:moveTo>
                  <a:pt x="3402084" y="529"/>
                </a:moveTo>
                <a:lnTo>
                  <a:pt x="3466699" y="163566"/>
                </a:lnTo>
                <a:lnTo>
                  <a:pt x="3412419" y="202790"/>
                </a:lnTo>
                <a:lnTo>
                  <a:pt x="3348062" y="39752"/>
                </a:lnTo>
                <a:close/>
                <a:moveTo>
                  <a:pt x="3115768" y="529"/>
                </a:moveTo>
                <a:lnTo>
                  <a:pt x="3201571" y="150491"/>
                </a:lnTo>
                <a:lnTo>
                  <a:pt x="3151736" y="202790"/>
                </a:lnTo>
                <a:lnTo>
                  <a:pt x="3066064" y="52826"/>
                </a:lnTo>
                <a:close/>
                <a:moveTo>
                  <a:pt x="2829580" y="529"/>
                </a:moveTo>
                <a:lnTo>
                  <a:pt x="2936835" y="137417"/>
                </a:lnTo>
                <a:lnTo>
                  <a:pt x="2891449" y="202790"/>
                </a:lnTo>
                <a:lnTo>
                  <a:pt x="2784192" y="65901"/>
                </a:lnTo>
                <a:close/>
                <a:moveTo>
                  <a:pt x="2542869" y="529"/>
                </a:moveTo>
                <a:lnTo>
                  <a:pt x="2671576" y="124474"/>
                </a:lnTo>
                <a:lnTo>
                  <a:pt x="2630504" y="202790"/>
                </a:lnTo>
                <a:lnTo>
                  <a:pt x="2501930" y="78975"/>
                </a:lnTo>
                <a:close/>
                <a:moveTo>
                  <a:pt x="4911887" y="523"/>
                </a:moveTo>
                <a:lnTo>
                  <a:pt x="4966037" y="32686"/>
                </a:lnTo>
                <a:lnTo>
                  <a:pt x="4912410" y="202654"/>
                </a:lnTo>
                <a:lnTo>
                  <a:pt x="4858390" y="170491"/>
                </a:lnTo>
                <a:close/>
                <a:moveTo>
                  <a:pt x="4767616" y="523"/>
                </a:moveTo>
                <a:lnTo>
                  <a:pt x="4825952" y="26671"/>
                </a:lnTo>
                <a:lnTo>
                  <a:pt x="4783051" y="202654"/>
                </a:lnTo>
                <a:lnTo>
                  <a:pt x="4724714" y="176635"/>
                </a:lnTo>
                <a:close/>
                <a:moveTo>
                  <a:pt x="4482999" y="523"/>
                </a:moveTo>
                <a:lnTo>
                  <a:pt x="4545651" y="13597"/>
                </a:lnTo>
                <a:lnTo>
                  <a:pt x="4523416" y="202654"/>
                </a:lnTo>
                <a:lnTo>
                  <a:pt x="4461548" y="189710"/>
                </a:lnTo>
                <a:close/>
                <a:moveTo>
                  <a:pt x="4196426" y="523"/>
                </a:moveTo>
                <a:lnTo>
                  <a:pt x="4263388" y="523"/>
                </a:lnTo>
                <a:lnTo>
                  <a:pt x="4263388" y="202654"/>
                </a:lnTo>
                <a:lnTo>
                  <a:pt x="4261294" y="202654"/>
                </a:lnTo>
                <a:lnTo>
                  <a:pt x="4261294" y="202659"/>
                </a:lnTo>
                <a:lnTo>
                  <a:pt x="4194332" y="202659"/>
                </a:lnTo>
                <a:lnTo>
                  <a:pt x="4194332" y="529"/>
                </a:lnTo>
                <a:lnTo>
                  <a:pt x="4196426" y="529"/>
                </a:lnTo>
                <a:close/>
                <a:moveTo>
                  <a:pt x="5913149" y="391"/>
                </a:moveTo>
                <a:lnTo>
                  <a:pt x="5954220" y="78838"/>
                </a:lnTo>
                <a:lnTo>
                  <a:pt x="5825514" y="202654"/>
                </a:lnTo>
                <a:lnTo>
                  <a:pt x="5784445" y="124338"/>
                </a:lnTo>
                <a:close/>
                <a:moveTo>
                  <a:pt x="5626832" y="391"/>
                </a:moveTo>
                <a:lnTo>
                  <a:pt x="5672219" y="65765"/>
                </a:lnTo>
                <a:lnTo>
                  <a:pt x="5564963" y="202654"/>
                </a:lnTo>
                <a:lnTo>
                  <a:pt x="5519577" y="137281"/>
                </a:lnTo>
                <a:close/>
                <a:moveTo>
                  <a:pt x="5340905" y="391"/>
                </a:moveTo>
                <a:lnTo>
                  <a:pt x="5390609" y="52690"/>
                </a:lnTo>
                <a:lnTo>
                  <a:pt x="5304805" y="202654"/>
                </a:lnTo>
                <a:lnTo>
                  <a:pt x="5255101" y="150355"/>
                </a:lnTo>
                <a:close/>
                <a:moveTo>
                  <a:pt x="5053410" y="391"/>
                </a:moveTo>
                <a:lnTo>
                  <a:pt x="5107431" y="39615"/>
                </a:lnTo>
                <a:lnTo>
                  <a:pt x="5043209" y="202654"/>
                </a:lnTo>
                <a:lnTo>
                  <a:pt x="4989058" y="163430"/>
                </a:lnTo>
                <a:close/>
                <a:moveTo>
                  <a:pt x="3832019" y="136"/>
                </a:moveTo>
                <a:lnTo>
                  <a:pt x="3864196" y="183178"/>
                </a:lnTo>
                <a:lnTo>
                  <a:pt x="3803636" y="202790"/>
                </a:lnTo>
                <a:lnTo>
                  <a:pt x="3771460" y="19748"/>
                </a:lnTo>
                <a:close/>
                <a:moveTo>
                  <a:pt x="3545571" y="136"/>
                </a:moveTo>
                <a:lnTo>
                  <a:pt x="3599198" y="170103"/>
                </a:lnTo>
                <a:lnTo>
                  <a:pt x="3542955" y="202659"/>
                </a:lnTo>
                <a:lnTo>
                  <a:pt x="3489328" y="32692"/>
                </a:lnTo>
                <a:close/>
                <a:moveTo>
                  <a:pt x="3258860" y="136"/>
                </a:moveTo>
                <a:lnTo>
                  <a:pt x="3333939" y="157029"/>
                </a:lnTo>
                <a:lnTo>
                  <a:pt x="3281619" y="202659"/>
                </a:lnTo>
                <a:lnTo>
                  <a:pt x="3206538" y="45765"/>
                </a:lnTo>
                <a:close/>
                <a:moveTo>
                  <a:pt x="2972543" y="136"/>
                </a:moveTo>
                <a:lnTo>
                  <a:pt x="3069069" y="143954"/>
                </a:lnTo>
                <a:lnTo>
                  <a:pt x="3021459" y="202659"/>
                </a:lnTo>
                <a:lnTo>
                  <a:pt x="2924931" y="58840"/>
                </a:lnTo>
                <a:close/>
                <a:moveTo>
                  <a:pt x="2686354" y="136"/>
                </a:moveTo>
                <a:lnTo>
                  <a:pt x="2804073" y="130881"/>
                </a:lnTo>
                <a:lnTo>
                  <a:pt x="2760911" y="202659"/>
                </a:lnTo>
                <a:lnTo>
                  <a:pt x="2643192" y="71915"/>
                </a:lnTo>
                <a:close/>
                <a:moveTo>
                  <a:pt x="5769663" y="130"/>
                </a:moveTo>
                <a:lnTo>
                  <a:pt x="5812958" y="71909"/>
                </a:lnTo>
                <a:lnTo>
                  <a:pt x="5695239" y="202654"/>
                </a:lnTo>
                <a:lnTo>
                  <a:pt x="5651945" y="130875"/>
                </a:lnTo>
                <a:close/>
                <a:moveTo>
                  <a:pt x="5483607" y="130"/>
                </a:moveTo>
                <a:lnTo>
                  <a:pt x="5531087" y="58834"/>
                </a:lnTo>
                <a:lnTo>
                  <a:pt x="5434558" y="202654"/>
                </a:lnTo>
                <a:lnTo>
                  <a:pt x="5387078" y="143949"/>
                </a:lnTo>
                <a:close/>
                <a:moveTo>
                  <a:pt x="5196767" y="130"/>
                </a:moveTo>
                <a:lnTo>
                  <a:pt x="5249086" y="45760"/>
                </a:lnTo>
                <a:lnTo>
                  <a:pt x="5174007" y="202654"/>
                </a:lnTo>
                <a:lnTo>
                  <a:pt x="5121687" y="157023"/>
                </a:lnTo>
                <a:close/>
                <a:moveTo>
                  <a:pt x="4118075" y="6"/>
                </a:moveTo>
                <a:lnTo>
                  <a:pt x="4128801" y="196122"/>
                </a:lnTo>
                <a:lnTo>
                  <a:pt x="4064053" y="202659"/>
                </a:lnTo>
                <a:lnTo>
                  <a:pt x="4053330" y="6543"/>
                </a:lnTo>
                <a:close/>
                <a:moveTo>
                  <a:pt x="1826878" y="6"/>
                </a:moveTo>
                <a:lnTo>
                  <a:pt x="1950876" y="62109"/>
                </a:lnTo>
                <a:lnTo>
                  <a:pt x="1969579" y="529"/>
                </a:lnTo>
                <a:lnTo>
                  <a:pt x="2088736" y="68515"/>
                </a:lnTo>
                <a:lnTo>
                  <a:pt x="2112805" y="529"/>
                </a:lnTo>
                <a:lnTo>
                  <a:pt x="2227908" y="73875"/>
                </a:lnTo>
                <a:lnTo>
                  <a:pt x="2257599" y="267"/>
                </a:lnTo>
                <a:lnTo>
                  <a:pt x="2364592" y="78713"/>
                </a:lnTo>
                <a:lnTo>
                  <a:pt x="2400822" y="267"/>
                </a:lnTo>
                <a:lnTo>
                  <a:pt x="2540121" y="117937"/>
                </a:lnTo>
                <a:lnTo>
                  <a:pt x="2500884" y="202659"/>
                </a:lnTo>
                <a:lnTo>
                  <a:pt x="2403568" y="120682"/>
                </a:lnTo>
                <a:lnTo>
                  <a:pt x="2370606" y="202659"/>
                </a:lnTo>
                <a:lnTo>
                  <a:pt x="2267277" y="126435"/>
                </a:lnTo>
                <a:lnTo>
                  <a:pt x="2240199" y="202659"/>
                </a:lnTo>
                <a:lnTo>
                  <a:pt x="2131770" y="132318"/>
                </a:lnTo>
                <a:lnTo>
                  <a:pt x="2109927" y="202659"/>
                </a:lnTo>
                <a:lnTo>
                  <a:pt x="1997178" y="138464"/>
                </a:lnTo>
                <a:lnTo>
                  <a:pt x="1979651" y="202659"/>
                </a:lnTo>
                <a:lnTo>
                  <a:pt x="1863240" y="144478"/>
                </a:lnTo>
                <a:lnTo>
                  <a:pt x="1849376" y="202659"/>
                </a:lnTo>
                <a:lnTo>
                  <a:pt x="1729956" y="150361"/>
                </a:lnTo>
                <a:lnTo>
                  <a:pt x="1718970" y="202659"/>
                </a:lnTo>
                <a:lnTo>
                  <a:pt x="1597195" y="155853"/>
                </a:lnTo>
                <a:lnTo>
                  <a:pt x="1588694" y="202659"/>
                </a:lnTo>
                <a:lnTo>
                  <a:pt x="1464959" y="161343"/>
                </a:lnTo>
                <a:lnTo>
                  <a:pt x="1458420" y="202659"/>
                </a:lnTo>
                <a:lnTo>
                  <a:pt x="1332983" y="166443"/>
                </a:lnTo>
                <a:lnTo>
                  <a:pt x="1328013" y="202659"/>
                </a:lnTo>
                <a:lnTo>
                  <a:pt x="1200877" y="171149"/>
                </a:lnTo>
                <a:lnTo>
                  <a:pt x="1197214" y="202659"/>
                </a:lnTo>
                <a:lnTo>
                  <a:pt x="1069037" y="175726"/>
                </a:lnTo>
                <a:lnTo>
                  <a:pt x="1066421" y="202659"/>
                </a:lnTo>
                <a:lnTo>
                  <a:pt x="938239" y="179779"/>
                </a:lnTo>
                <a:lnTo>
                  <a:pt x="936278" y="202659"/>
                </a:lnTo>
                <a:lnTo>
                  <a:pt x="807050" y="183832"/>
                </a:lnTo>
                <a:lnTo>
                  <a:pt x="805873" y="202659"/>
                </a:lnTo>
                <a:lnTo>
                  <a:pt x="676383" y="187492"/>
                </a:lnTo>
                <a:lnTo>
                  <a:pt x="675597" y="202659"/>
                </a:lnTo>
                <a:lnTo>
                  <a:pt x="545715" y="191022"/>
                </a:lnTo>
                <a:lnTo>
                  <a:pt x="545715" y="202659"/>
                </a:lnTo>
                <a:lnTo>
                  <a:pt x="415570" y="194160"/>
                </a:lnTo>
                <a:lnTo>
                  <a:pt x="415570" y="202659"/>
                </a:lnTo>
                <a:lnTo>
                  <a:pt x="285426" y="197168"/>
                </a:lnTo>
                <a:lnTo>
                  <a:pt x="285426" y="202659"/>
                </a:lnTo>
                <a:lnTo>
                  <a:pt x="154631" y="200043"/>
                </a:lnTo>
                <a:lnTo>
                  <a:pt x="154631" y="202659"/>
                </a:lnTo>
                <a:lnTo>
                  <a:pt x="0" y="202659"/>
                </a:lnTo>
                <a:lnTo>
                  <a:pt x="0" y="529"/>
                </a:lnTo>
                <a:lnTo>
                  <a:pt x="154501" y="529"/>
                </a:lnTo>
                <a:lnTo>
                  <a:pt x="154501" y="2620"/>
                </a:lnTo>
                <a:lnTo>
                  <a:pt x="242397" y="6280"/>
                </a:lnTo>
                <a:lnTo>
                  <a:pt x="252207" y="6280"/>
                </a:lnTo>
                <a:lnTo>
                  <a:pt x="252207" y="529"/>
                </a:lnTo>
                <a:lnTo>
                  <a:pt x="394905" y="9812"/>
                </a:lnTo>
                <a:lnTo>
                  <a:pt x="394905" y="529"/>
                </a:lnTo>
                <a:lnTo>
                  <a:pt x="537344" y="13602"/>
                </a:lnTo>
                <a:lnTo>
                  <a:pt x="538128" y="529"/>
                </a:lnTo>
                <a:lnTo>
                  <a:pt x="680045" y="17133"/>
                </a:lnTo>
                <a:lnTo>
                  <a:pt x="681353" y="529"/>
                </a:lnTo>
                <a:lnTo>
                  <a:pt x="822616" y="21187"/>
                </a:lnTo>
                <a:lnTo>
                  <a:pt x="824578" y="529"/>
                </a:lnTo>
                <a:lnTo>
                  <a:pt x="964922" y="25370"/>
                </a:lnTo>
                <a:lnTo>
                  <a:pt x="967799" y="529"/>
                </a:lnTo>
                <a:lnTo>
                  <a:pt x="1106968" y="29945"/>
                </a:lnTo>
                <a:lnTo>
                  <a:pt x="1110888" y="529"/>
                </a:lnTo>
                <a:lnTo>
                  <a:pt x="1248748" y="34783"/>
                </a:lnTo>
                <a:lnTo>
                  <a:pt x="1254113" y="529"/>
                </a:lnTo>
                <a:lnTo>
                  <a:pt x="1390141" y="39752"/>
                </a:lnTo>
                <a:lnTo>
                  <a:pt x="1397336" y="529"/>
                </a:lnTo>
                <a:lnTo>
                  <a:pt x="1531928" y="45243"/>
                </a:lnTo>
                <a:lnTo>
                  <a:pt x="1541345" y="529"/>
                </a:lnTo>
                <a:lnTo>
                  <a:pt x="1672144" y="50866"/>
                </a:lnTo>
                <a:lnTo>
                  <a:pt x="1684177" y="529"/>
                </a:lnTo>
                <a:lnTo>
                  <a:pt x="1811966" y="56749"/>
                </a:lnTo>
                <a:close/>
                <a:moveTo>
                  <a:pt x="6057943" y="0"/>
                </a:moveTo>
                <a:lnTo>
                  <a:pt x="6094175" y="78446"/>
                </a:lnTo>
                <a:lnTo>
                  <a:pt x="6201168" y="0"/>
                </a:lnTo>
                <a:lnTo>
                  <a:pt x="6230729" y="73609"/>
                </a:lnTo>
                <a:lnTo>
                  <a:pt x="6344261" y="0"/>
                </a:lnTo>
                <a:lnTo>
                  <a:pt x="6368327" y="67986"/>
                </a:lnTo>
                <a:lnTo>
                  <a:pt x="6487486" y="0"/>
                </a:lnTo>
                <a:lnTo>
                  <a:pt x="6506843" y="62103"/>
                </a:lnTo>
                <a:lnTo>
                  <a:pt x="6630841" y="523"/>
                </a:lnTo>
                <a:lnTo>
                  <a:pt x="6646144" y="56743"/>
                </a:lnTo>
                <a:lnTo>
                  <a:pt x="6774064" y="523"/>
                </a:lnTo>
                <a:lnTo>
                  <a:pt x="6786097" y="50860"/>
                </a:lnTo>
                <a:lnTo>
                  <a:pt x="6916896" y="523"/>
                </a:lnTo>
                <a:lnTo>
                  <a:pt x="6926183" y="45238"/>
                </a:lnTo>
                <a:lnTo>
                  <a:pt x="7060383" y="523"/>
                </a:lnTo>
                <a:lnTo>
                  <a:pt x="7067445" y="39746"/>
                </a:lnTo>
                <a:lnTo>
                  <a:pt x="7203476" y="523"/>
                </a:lnTo>
                <a:lnTo>
                  <a:pt x="7208969" y="34778"/>
                </a:lnTo>
                <a:lnTo>
                  <a:pt x="7346701" y="523"/>
                </a:lnTo>
                <a:lnTo>
                  <a:pt x="7350756" y="29940"/>
                </a:lnTo>
                <a:lnTo>
                  <a:pt x="7489924" y="523"/>
                </a:lnTo>
                <a:lnTo>
                  <a:pt x="7492803" y="25365"/>
                </a:lnTo>
                <a:lnTo>
                  <a:pt x="7633149" y="523"/>
                </a:lnTo>
                <a:lnTo>
                  <a:pt x="7635111" y="21181"/>
                </a:lnTo>
                <a:lnTo>
                  <a:pt x="7776374" y="523"/>
                </a:lnTo>
                <a:lnTo>
                  <a:pt x="7777681" y="17128"/>
                </a:lnTo>
                <a:lnTo>
                  <a:pt x="7919336" y="261"/>
                </a:lnTo>
                <a:lnTo>
                  <a:pt x="7920251" y="13335"/>
                </a:lnTo>
                <a:lnTo>
                  <a:pt x="8063215" y="523"/>
                </a:lnTo>
                <a:lnTo>
                  <a:pt x="8063215" y="9806"/>
                </a:lnTo>
                <a:lnTo>
                  <a:pt x="8206046" y="523"/>
                </a:lnTo>
                <a:lnTo>
                  <a:pt x="8206046" y="6144"/>
                </a:lnTo>
                <a:lnTo>
                  <a:pt x="8215202" y="6144"/>
                </a:lnTo>
                <a:lnTo>
                  <a:pt x="8303100" y="2484"/>
                </a:lnTo>
                <a:lnTo>
                  <a:pt x="8303100" y="523"/>
                </a:lnTo>
                <a:lnTo>
                  <a:pt x="12190037" y="523"/>
                </a:lnTo>
                <a:lnTo>
                  <a:pt x="12190037" y="202654"/>
                </a:lnTo>
                <a:lnTo>
                  <a:pt x="8301529" y="202654"/>
                </a:lnTo>
                <a:lnTo>
                  <a:pt x="8304145" y="199907"/>
                </a:lnTo>
                <a:lnTo>
                  <a:pt x="8173347" y="202522"/>
                </a:lnTo>
                <a:lnTo>
                  <a:pt x="8173347" y="197032"/>
                </a:lnTo>
                <a:lnTo>
                  <a:pt x="8042548" y="202522"/>
                </a:lnTo>
                <a:lnTo>
                  <a:pt x="8042548" y="194024"/>
                </a:lnTo>
                <a:lnTo>
                  <a:pt x="7911749" y="202522"/>
                </a:lnTo>
                <a:lnTo>
                  <a:pt x="7911749" y="190886"/>
                </a:lnTo>
                <a:lnTo>
                  <a:pt x="7781867" y="202522"/>
                </a:lnTo>
                <a:lnTo>
                  <a:pt x="7781083" y="187356"/>
                </a:lnTo>
                <a:lnTo>
                  <a:pt x="7651461" y="202522"/>
                </a:lnTo>
                <a:lnTo>
                  <a:pt x="7650284" y="183696"/>
                </a:lnTo>
                <a:lnTo>
                  <a:pt x="7521186" y="202522"/>
                </a:lnTo>
                <a:lnTo>
                  <a:pt x="7519355" y="179773"/>
                </a:lnTo>
                <a:lnTo>
                  <a:pt x="7390911" y="202915"/>
                </a:lnTo>
                <a:lnTo>
                  <a:pt x="7388295" y="175981"/>
                </a:lnTo>
                <a:lnTo>
                  <a:pt x="7260504" y="202915"/>
                </a:lnTo>
                <a:lnTo>
                  <a:pt x="7256973" y="171406"/>
                </a:lnTo>
                <a:lnTo>
                  <a:pt x="7130229" y="202915"/>
                </a:lnTo>
                <a:lnTo>
                  <a:pt x="7125390" y="166699"/>
                </a:lnTo>
                <a:lnTo>
                  <a:pt x="6999693" y="202654"/>
                </a:lnTo>
                <a:lnTo>
                  <a:pt x="6993152" y="161338"/>
                </a:lnTo>
                <a:lnTo>
                  <a:pt x="6869416" y="202654"/>
                </a:lnTo>
                <a:lnTo>
                  <a:pt x="6860785" y="155847"/>
                </a:lnTo>
                <a:lnTo>
                  <a:pt x="6739534" y="202392"/>
                </a:lnTo>
                <a:lnTo>
                  <a:pt x="6728548" y="150094"/>
                </a:lnTo>
                <a:lnTo>
                  <a:pt x="6609259" y="202392"/>
                </a:lnTo>
                <a:lnTo>
                  <a:pt x="6595263" y="144211"/>
                </a:lnTo>
                <a:lnTo>
                  <a:pt x="6478983" y="202392"/>
                </a:lnTo>
                <a:lnTo>
                  <a:pt x="6461456" y="138196"/>
                </a:lnTo>
                <a:lnTo>
                  <a:pt x="6348578" y="202392"/>
                </a:lnTo>
                <a:lnTo>
                  <a:pt x="6326733" y="132052"/>
                </a:lnTo>
                <a:lnTo>
                  <a:pt x="6218303" y="202392"/>
                </a:lnTo>
                <a:lnTo>
                  <a:pt x="6191358" y="126168"/>
                </a:lnTo>
                <a:lnTo>
                  <a:pt x="6088026" y="202392"/>
                </a:lnTo>
                <a:lnTo>
                  <a:pt x="6055066" y="120415"/>
                </a:lnTo>
                <a:lnTo>
                  <a:pt x="5957752" y="202392"/>
                </a:lnTo>
                <a:lnTo>
                  <a:pt x="5918512" y="117670"/>
                </a:lnTo>
                <a:close/>
                <a:moveTo>
                  <a:pt x="4623868" y="0"/>
                </a:moveTo>
                <a:lnTo>
                  <a:pt x="4684428" y="19612"/>
                </a:lnTo>
                <a:lnTo>
                  <a:pt x="4652253" y="202654"/>
                </a:lnTo>
                <a:lnTo>
                  <a:pt x="4591692" y="183042"/>
                </a:lnTo>
                <a:close/>
                <a:moveTo>
                  <a:pt x="4337943" y="0"/>
                </a:moveTo>
                <a:lnTo>
                  <a:pt x="4403342" y="6537"/>
                </a:lnTo>
                <a:lnTo>
                  <a:pt x="4392617" y="202654"/>
                </a:lnTo>
                <a:lnTo>
                  <a:pt x="4327218" y="196117"/>
                </a:lnTo>
                <a:close/>
              </a:path>
            </a:pathLst>
          </a:custGeom>
          <a:gradFill>
            <a:gsLst>
              <a:gs pos="0">
                <a:schemeClr val="bg1">
                  <a:alpha val="70000"/>
                </a:schemeClr>
              </a:gs>
              <a:gs pos="100000">
                <a:schemeClr val="bg1">
                  <a:alpha val="70000"/>
                </a:schemeClr>
              </a:gs>
              <a:gs pos="25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Picture Placeholder 9">
            <a:extLst>
              <a:ext uri="{FF2B5EF4-FFF2-40B4-BE49-F238E27FC236}">
                <a16:creationId xmlns:a16="http://schemas.microsoft.com/office/drawing/2014/main" id="{F5DDB565-5A21-2C45-988E-C3907F575B22}"/>
              </a:ext>
            </a:extLst>
          </p:cNvPr>
          <p:cNvSpPr>
            <a:spLocks noGrp="1"/>
          </p:cNvSpPr>
          <p:nvPr>
            <p:ph type="pic" sz="quarter" idx="17" hasCustomPrompt="1"/>
          </p:nvPr>
        </p:nvSpPr>
        <p:spPr>
          <a:xfrm>
            <a:off x="284672" y="741872"/>
            <a:ext cx="6494464" cy="6116128"/>
          </a:xfrm>
          <a:prstGeom prst="rect">
            <a:avLst/>
          </a:prstGeom>
          <a:noFill/>
        </p:spPr>
        <p:txBody>
          <a:bodyPr bIns="45720" anchor="ctr"/>
          <a:lstStyle>
            <a:lvl1pPr marL="7938" indent="0" algn="ctr">
              <a:buNone/>
              <a:tabLst/>
              <a:defRPr/>
            </a:lvl1pPr>
          </a:lstStyle>
          <a:p>
            <a:r>
              <a:rPr lang="en-US"/>
              <a:t>Silhouette</a:t>
            </a:r>
          </a:p>
          <a:p>
            <a:r>
              <a:rPr lang="en-US"/>
              <a:t>Photography</a:t>
            </a:r>
          </a:p>
          <a:p>
            <a:r>
              <a:rPr lang="en-US"/>
              <a:t>Only</a:t>
            </a:r>
          </a:p>
        </p:txBody>
      </p:sp>
      <p:sp>
        <p:nvSpPr>
          <p:cNvPr id="32" name="Rectangle 31">
            <a:extLst>
              <a:ext uri="{FF2B5EF4-FFF2-40B4-BE49-F238E27FC236}">
                <a16:creationId xmlns:a16="http://schemas.microsoft.com/office/drawing/2014/main" id="{6457E89D-281C-0E4C-B758-E56A871695C6}"/>
              </a:ext>
            </a:extLst>
          </p:cNvPr>
          <p:cNvSpPr/>
          <p:nvPr/>
        </p:nvSpPr>
        <p:spPr>
          <a:xfrm>
            <a:off x="6780786" y="1635370"/>
            <a:ext cx="4572000" cy="45368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a:extLst>
              <a:ext uri="{FF2B5EF4-FFF2-40B4-BE49-F238E27FC236}">
                <a16:creationId xmlns:a16="http://schemas.microsoft.com/office/drawing/2014/main" id="{99C2B2A5-C177-4445-AF46-3ED43A1CC4CB}"/>
              </a:ext>
            </a:extLst>
          </p:cNvPr>
          <p:cNvSpPr>
            <a:spLocks noGrp="1"/>
          </p:cNvSpPr>
          <p:nvPr>
            <p:ph type="subTitle" idx="1"/>
          </p:nvPr>
        </p:nvSpPr>
        <p:spPr>
          <a:xfrm>
            <a:off x="7063992" y="4180114"/>
            <a:ext cx="3868615" cy="502418"/>
          </a:xfrm>
          <a:prstGeom prst="rect">
            <a:avLst/>
          </a:prstGeom>
        </p:spPr>
        <p:txBody>
          <a:bodyPr/>
          <a:lstStyle>
            <a:lvl1pPr marL="0" indent="0" algn="l">
              <a:buNone/>
              <a:defRPr sz="1700" b="1" i="0">
                <a:solidFill>
                  <a:schemeClr val="accent1"/>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8">
            <a:extLst>
              <a:ext uri="{FF2B5EF4-FFF2-40B4-BE49-F238E27FC236}">
                <a16:creationId xmlns:a16="http://schemas.microsoft.com/office/drawing/2014/main" id="{FD3B8154-5856-0144-90B5-3564DC77E658}"/>
              </a:ext>
            </a:extLst>
          </p:cNvPr>
          <p:cNvSpPr>
            <a:spLocks noGrp="1"/>
          </p:cNvSpPr>
          <p:nvPr>
            <p:ph type="title"/>
          </p:nvPr>
        </p:nvSpPr>
        <p:spPr>
          <a:xfrm>
            <a:off x="7063992" y="2690834"/>
            <a:ext cx="3868615" cy="1489280"/>
          </a:xfrm>
          <a:prstGeom prst="rect">
            <a:avLst/>
          </a:prstGeom>
        </p:spPr>
        <p:txBody>
          <a:bodyPr/>
          <a:lstStyle>
            <a:lvl1pPr>
              <a:lnSpc>
                <a:spcPct val="84000"/>
              </a:lnSpc>
              <a:defRPr/>
            </a:lvl1pPr>
          </a:lstStyle>
          <a:p>
            <a:r>
              <a:rPr lang="en-US"/>
              <a:t>Click to edit Master title style</a:t>
            </a:r>
          </a:p>
        </p:txBody>
      </p:sp>
      <p:sp>
        <p:nvSpPr>
          <p:cNvPr id="29" name="Date Placeholder 28">
            <a:extLst>
              <a:ext uri="{FF2B5EF4-FFF2-40B4-BE49-F238E27FC236}">
                <a16:creationId xmlns:a16="http://schemas.microsoft.com/office/drawing/2014/main" id="{3773F558-72F9-3249-B110-C7FCBFFFD680}"/>
              </a:ext>
            </a:extLst>
          </p:cNvPr>
          <p:cNvSpPr>
            <a:spLocks noGrp="1"/>
          </p:cNvSpPr>
          <p:nvPr>
            <p:ph type="dt" sz="half" idx="10"/>
          </p:nvPr>
        </p:nvSpPr>
        <p:spPr>
          <a:xfrm>
            <a:off x="7063992" y="2216659"/>
            <a:ext cx="2743200" cy="365125"/>
          </a:xfrm>
          <a:prstGeom prst="rect">
            <a:avLst/>
          </a:prstGeom>
        </p:spPr>
        <p:txBody>
          <a:bodyPr anchor="b"/>
          <a:lstStyle>
            <a:lvl1pPr>
              <a:defRPr sz="1100" b="0" cap="all" spc="20" baseline="0">
                <a:solidFill>
                  <a:schemeClr val="accent1"/>
                </a:solidFill>
                <a:latin typeface="+mn-lt"/>
              </a:defRPr>
            </a:lvl1pPr>
          </a:lstStyle>
          <a:p>
            <a:fld id="{F978891D-A1B2-4803-8CE5-704822140BC9}" type="datetimeFigureOut">
              <a:rPr lang="en-US" smtClean="0"/>
              <a:t>1/27/2021</a:t>
            </a:fld>
            <a:endParaRPr lang="en-US"/>
          </a:p>
        </p:txBody>
      </p:sp>
      <p:sp>
        <p:nvSpPr>
          <p:cNvPr id="26" name="Rectangle 25">
            <a:extLst>
              <a:ext uri="{FF2B5EF4-FFF2-40B4-BE49-F238E27FC236}">
                <a16:creationId xmlns:a16="http://schemas.microsoft.com/office/drawing/2014/main" id="{EF3AA683-5AE9-CA4F-B319-F94DBFC8B7C2}"/>
              </a:ext>
            </a:extLst>
          </p:cNvPr>
          <p:cNvSpPr/>
          <p:nvPr/>
        </p:nvSpPr>
        <p:spPr>
          <a:xfrm>
            <a:off x="6780786" y="1585321"/>
            <a:ext cx="4572000" cy="919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0" name="Group 29">
            <a:extLst>
              <a:ext uri="{FF2B5EF4-FFF2-40B4-BE49-F238E27FC236}">
                <a16:creationId xmlns:a16="http://schemas.microsoft.com/office/drawing/2014/main" id="{DB6D3A75-5C31-3342-87D4-6136C6865009}"/>
              </a:ext>
            </a:extLst>
          </p:cNvPr>
          <p:cNvGrpSpPr/>
          <p:nvPr/>
        </p:nvGrpSpPr>
        <p:grpSpPr>
          <a:xfrm>
            <a:off x="7150135" y="5095453"/>
            <a:ext cx="1878930" cy="691431"/>
            <a:chOff x="7150135" y="5095453"/>
            <a:chExt cx="1878930" cy="691431"/>
          </a:xfrm>
        </p:grpSpPr>
        <p:grpSp>
          <p:nvGrpSpPr>
            <p:cNvPr id="31" name="Group 30">
              <a:extLst>
                <a:ext uri="{FF2B5EF4-FFF2-40B4-BE49-F238E27FC236}">
                  <a16:creationId xmlns:a16="http://schemas.microsoft.com/office/drawing/2014/main" id="{182934F5-C743-284A-B1F0-203D9714C637}"/>
                </a:ext>
              </a:extLst>
            </p:cNvPr>
            <p:cNvGrpSpPr/>
            <p:nvPr/>
          </p:nvGrpSpPr>
          <p:grpSpPr>
            <a:xfrm>
              <a:off x="7150135" y="5095453"/>
              <a:ext cx="698487" cy="691431"/>
              <a:chOff x="7150135" y="5095453"/>
              <a:chExt cx="698487" cy="691431"/>
            </a:xfrm>
          </p:grpSpPr>
          <p:sp>
            <p:nvSpPr>
              <p:cNvPr id="34" name="Rectangle 33">
                <a:extLst>
                  <a:ext uri="{FF2B5EF4-FFF2-40B4-BE49-F238E27FC236}">
                    <a16:creationId xmlns:a16="http://schemas.microsoft.com/office/drawing/2014/main" id="{74E9A63B-069E-5347-93AA-09206F5F637D}"/>
                  </a:ext>
                </a:extLst>
              </p:cNvPr>
              <p:cNvSpPr/>
              <p:nvPr/>
            </p:nvSpPr>
            <p:spPr>
              <a:xfrm>
                <a:off x="7150135" y="5095453"/>
                <a:ext cx="698487" cy="691431"/>
              </a:xfrm>
              <a:prstGeom prst="rect">
                <a:avLst/>
              </a:prstGeom>
              <a:solidFill>
                <a:srgbClr val="5369E4"/>
              </a:solidFill>
              <a:ln w="9525"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C7029918-2D1B-6A4B-AB89-7669E3E100DF}"/>
                  </a:ext>
                </a:extLst>
              </p:cNvPr>
              <p:cNvSpPr/>
              <p:nvPr/>
            </p:nvSpPr>
            <p:spPr>
              <a:xfrm>
                <a:off x="7373270" y="5335821"/>
                <a:ext cx="343911" cy="216985"/>
              </a:xfrm>
              <a:custGeom>
                <a:avLst/>
                <a:gdLst>
                  <a:gd name="connsiteX0" fmla="*/ 126744 w 343911"/>
                  <a:gd name="connsiteY0" fmla="*/ 73417 h 216985"/>
                  <a:gd name="connsiteX1" fmla="*/ 162938 w 343911"/>
                  <a:gd name="connsiteY1" fmla="*/ 109246 h 216985"/>
                  <a:gd name="connsiteX2" fmla="*/ 126744 w 343911"/>
                  <a:gd name="connsiteY2" fmla="*/ 145074 h 216985"/>
                  <a:gd name="connsiteX3" fmla="*/ 90549 w 343911"/>
                  <a:gd name="connsiteY3" fmla="*/ 109246 h 216985"/>
                  <a:gd name="connsiteX4" fmla="*/ 126744 w 343911"/>
                  <a:gd name="connsiteY4" fmla="*/ 73417 h 216985"/>
                  <a:gd name="connsiteX5" fmla="*/ 180972 w 343911"/>
                  <a:gd name="connsiteY5" fmla="*/ 2137 h 216985"/>
                  <a:gd name="connsiteX6" fmla="*/ 253361 w 343911"/>
                  <a:gd name="connsiteY6" fmla="*/ 2137 h 216985"/>
                  <a:gd name="connsiteX7" fmla="*/ 253361 w 343911"/>
                  <a:gd name="connsiteY7" fmla="*/ 73669 h 216985"/>
                  <a:gd name="connsiteX8" fmla="*/ 253361 w 343911"/>
                  <a:gd name="connsiteY8" fmla="*/ 145326 h 216985"/>
                  <a:gd name="connsiteX9" fmla="*/ 253361 w 343911"/>
                  <a:gd name="connsiteY9" fmla="*/ 216985 h 216985"/>
                  <a:gd name="connsiteX10" fmla="*/ 180972 w 343911"/>
                  <a:gd name="connsiteY10" fmla="*/ 216985 h 216985"/>
                  <a:gd name="connsiteX11" fmla="*/ 180972 w 343911"/>
                  <a:gd name="connsiteY11" fmla="*/ 145326 h 216985"/>
                  <a:gd name="connsiteX12" fmla="*/ 180972 w 343911"/>
                  <a:gd name="connsiteY12" fmla="*/ 73669 h 216985"/>
                  <a:gd name="connsiteX13" fmla="*/ 0 w 343911"/>
                  <a:gd name="connsiteY13" fmla="*/ 2137 h 216985"/>
                  <a:gd name="connsiteX14" fmla="*/ 72389 w 343911"/>
                  <a:gd name="connsiteY14" fmla="*/ 2137 h 216985"/>
                  <a:gd name="connsiteX15" fmla="*/ 72389 w 343911"/>
                  <a:gd name="connsiteY15" fmla="*/ 73669 h 216985"/>
                  <a:gd name="connsiteX16" fmla="*/ 72389 w 343911"/>
                  <a:gd name="connsiteY16" fmla="*/ 145326 h 216985"/>
                  <a:gd name="connsiteX17" fmla="*/ 72389 w 343911"/>
                  <a:gd name="connsiteY17" fmla="*/ 216985 h 216985"/>
                  <a:gd name="connsiteX18" fmla="*/ 0 w 343911"/>
                  <a:gd name="connsiteY18" fmla="*/ 216985 h 216985"/>
                  <a:gd name="connsiteX19" fmla="*/ 0 w 343911"/>
                  <a:gd name="connsiteY19" fmla="*/ 145326 h 216985"/>
                  <a:gd name="connsiteX20" fmla="*/ 0 w 343911"/>
                  <a:gd name="connsiteY20" fmla="*/ 73669 h 216985"/>
                  <a:gd name="connsiteX21" fmla="*/ 307716 w 343911"/>
                  <a:gd name="connsiteY21" fmla="*/ 0 h 216985"/>
                  <a:gd name="connsiteX22" fmla="*/ 343911 w 343911"/>
                  <a:gd name="connsiteY22" fmla="*/ 35829 h 216985"/>
                  <a:gd name="connsiteX23" fmla="*/ 307716 w 343911"/>
                  <a:gd name="connsiteY23" fmla="*/ 71657 h 216985"/>
                  <a:gd name="connsiteX24" fmla="*/ 271521 w 343911"/>
                  <a:gd name="connsiteY24" fmla="*/ 35829 h 216985"/>
                  <a:gd name="connsiteX25" fmla="*/ 307716 w 343911"/>
                  <a:gd name="connsiteY25" fmla="*/ 0 h 216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43911" h="216985">
                    <a:moveTo>
                      <a:pt x="126744" y="73417"/>
                    </a:moveTo>
                    <a:cubicBezTo>
                      <a:pt x="146734" y="73417"/>
                      <a:pt x="162938" y="89458"/>
                      <a:pt x="162938" y="109246"/>
                    </a:cubicBezTo>
                    <a:cubicBezTo>
                      <a:pt x="162938" y="129034"/>
                      <a:pt x="146734" y="145074"/>
                      <a:pt x="126744" y="145074"/>
                    </a:cubicBezTo>
                    <a:cubicBezTo>
                      <a:pt x="106754" y="145074"/>
                      <a:pt x="90549" y="129034"/>
                      <a:pt x="90549" y="109246"/>
                    </a:cubicBezTo>
                    <a:cubicBezTo>
                      <a:pt x="90549" y="89458"/>
                      <a:pt x="106754" y="73417"/>
                      <a:pt x="126744" y="73417"/>
                    </a:cubicBezTo>
                    <a:close/>
                    <a:moveTo>
                      <a:pt x="180972" y="2137"/>
                    </a:moveTo>
                    <a:lnTo>
                      <a:pt x="253361" y="2137"/>
                    </a:lnTo>
                    <a:lnTo>
                      <a:pt x="253361" y="73669"/>
                    </a:lnTo>
                    <a:lnTo>
                      <a:pt x="253361" y="145326"/>
                    </a:lnTo>
                    <a:lnTo>
                      <a:pt x="253361" y="216985"/>
                    </a:lnTo>
                    <a:lnTo>
                      <a:pt x="180972" y="216985"/>
                    </a:lnTo>
                    <a:lnTo>
                      <a:pt x="180972" y="145326"/>
                    </a:lnTo>
                    <a:lnTo>
                      <a:pt x="180972" y="73669"/>
                    </a:lnTo>
                    <a:close/>
                    <a:moveTo>
                      <a:pt x="0" y="2137"/>
                    </a:moveTo>
                    <a:lnTo>
                      <a:pt x="72389" y="2137"/>
                    </a:lnTo>
                    <a:lnTo>
                      <a:pt x="72389" y="73669"/>
                    </a:lnTo>
                    <a:lnTo>
                      <a:pt x="72389" y="145326"/>
                    </a:lnTo>
                    <a:lnTo>
                      <a:pt x="72389" y="216985"/>
                    </a:lnTo>
                    <a:lnTo>
                      <a:pt x="0" y="216985"/>
                    </a:lnTo>
                    <a:lnTo>
                      <a:pt x="0" y="145326"/>
                    </a:lnTo>
                    <a:lnTo>
                      <a:pt x="0" y="73669"/>
                    </a:lnTo>
                    <a:close/>
                    <a:moveTo>
                      <a:pt x="307716" y="0"/>
                    </a:moveTo>
                    <a:cubicBezTo>
                      <a:pt x="327706" y="0"/>
                      <a:pt x="343911" y="16041"/>
                      <a:pt x="343911" y="35829"/>
                    </a:cubicBezTo>
                    <a:cubicBezTo>
                      <a:pt x="343911" y="55617"/>
                      <a:pt x="327706" y="71657"/>
                      <a:pt x="307716" y="71657"/>
                    </a:cubicBezTo>
                    <a:cubicBezTo>
                      <a:pt x="287726" y="71657"/>
                      <a:pt x="271521" y="55617"/>
                      <a:pt x="271521" y="35829"/>
                    </a:cubicBezTo>
                    <a:cubicBezTo>
                      <a:pt x="271521" y="16041"/>
                      <a:pt x="287726" y="0"/>
                      <a:pt x="307716" y="0"/>
                    </a:cubicBezTo>
                    <a:close/>
                  </a:path>
                </a:pathLst>
              </a:custGeom>
              <a:solidFill>
                <a:srgbClr val="FFFFFF"/>
              </a:solidFill>
              <a:ln w="9525" cap="flat">
                <a:noFill/>
                <a:prstDash val="solid"/>
                <a:miter/>
              </a:ln>
            </p:spPr>
            <p:txBody>
              <a:bodyPr wrap="square" rtlCol="0" anchor="ctr">
                <a:noAutofit/>
              </a:bodyPr>
              <a:lstStyle/>
              <a:p>
                <a:endParaRPr lang="en-US"/>
              </a:p>
            </p:txBody>
          </p:sp>
        </p:grpSp>
        <p:sp>
          <p:nvSpPr>
            <p:cNvPr id="33" name="Freeform 32">
              <a:extLst>
                <a:ext uri="{FF2B5EF4-FFF2-40B4-BE49-F238E27FC236}">
                  <a16:creationId xmlns:a16="http://schemas.microsoft.com/office/drawing/2014/main" id="{92F1E855-458B-4D4D-80C4-2362C1B1B6DB}"/>
                </a:ext>
              </a:extLst>
            </p:cNvPr>
            <p:cNvSpPr/>
            <p:nvPr/>
          </p:nvSpPr>
          <p:spPr>
            <a:xfrm>
              <a:off x="8030102" y="5323621"/>
              <a:ext cx="998963" cy="232831"/>
            </a:xfrm>
            <a:custGeom>
              <a:avLst/>
              <a:gdLst>
                <a:gd name="connsiteX0" fmla="*/ 654292 w 998963"/>
                <a:gd name="connsiteY0" fmla="*/ 111515 h 232831"/>
                <a:gd name="connsiteX1" fmla="*/ 613018 w 998963"/>
                <a:gd name="connsiteY1" fmla="*/ 152373 h 232831"/>
                <a:gd name="connsiteX2" fmla="*/ 654292 w 998963"/>
                <a:gd name="connsiteY2" fmla="*/ 193230 h 232831"/>
                <a:gd name="connsiteX3" fmla="*/ 695566 w 998963"/>
                <a:gd name="connsiteY3" fmla="*/ 152373 h 232831"/>
                <a:gd name="connsiteX4" fmla="*/ 654292 w 998963"/>
                <a:gd name="connsiteY4" fmla="*/ 111515 h 232831"/>
                <a:gd name="connsiteX5" fmla="*/ 458842 w 998963"/>
                <a:gd name="connsiteY5" fmla="*/ 74429 h 232831"/>
                <a:gd name="connsiteX6" fmla="*/ 504435 w 998963"/>
                <a:gd name="connsiteY6" fmla="*/ 74429 h 232831"/>
                <a:gd name="connsiteX7" fmla="*/ 504435 w 998963"/>
                <a:gd name="connsiteY7" fmla="*/ 229310 h 232831"/>
                <a:gd name="connsiteX8" fmla="*/ 458842 w 998963"/>
                <a:gd name="connsiteY8" fmla="*/ 229310 h 232831"/>
                <a:gd name="connsiteX9" fmla="*/ 218944 w 998963"/>
                <a:gd name="connsiteY9" fmla="*/ 74428 h 232831"/>
                <a:gd name="connsiteX10" fmla="*/ 264536 w 998963"/>
                <a:gd name="connsiteY10" fmla="*/ 74428 h 232831"/>
                <a:gd name="connsiteX11" fmla="*/ 264536 w 998963"/>
                <a:gd name="connsiteY11" fmla="*/ 229308 h 232831"/>
                <a:gd name="connsiteX12" fmla="*/ 218944 w 998963"/>
                <a:gd name="connsiteY12" fmla="*/ 229308 h 232831"/>
                <a:gd name="connsiteX13" fmla="*/ 542535 w 998963"/>
                <a:gd name="connsiteY13" fmla="*/ 73170 h 232831"/>
                <a:gd name="connsiteX14" fmla="*/ 569713 w 998963"/>
                <a:gd name="connsiteY14" fmla="*/ 100074 h 232831"/>
                <a:gd name="connsiteX15" fmla="*/ 542535 w 998963"/>
                <a:gd name="connsiteY15" fmla="*/ 126976 h 232831"/>
                <a:gd name="connsiteX16" fmla="*/ 515604 w 998963"/>
                <a:gd name="connsiteY16" fmla="*/ 100836 h 232831"/>
                <a:gd name="connsiteX17" fmla="*/ 515610 w 998963"/>
                <a:gd name="connsiteY17" fmla="*/ 99948 h 232831"/>
                <a:gd name="connsiteX18" fmla="*/ 541637 w 998963"/>
                <a:gd name="connsiteY18" fmla="*/ 73172 h 232831"/>
                <a:gd name="connsiteX19" fmla="*/ 542535 w 998963"/>
                <a:gd name="connsiteY19" fmla="*/ 73170 h 232831"/>
                <a:gd name="connsiteX20" fmla="*/ 842756 w 998963"/>
                <a:gd name="connsiteY20" fmla="*/ 72166 h 232831"/>
                <a:gd name="connsiteX21" fmla="*/ 889999 w 998963"/>
                <a:gd name="connsiteY21" fmla="*/ 99824 h 232831"/>
                <a:gd name="connsiteX22" fmla="*/ 942830 w 998963"/>
                <a:gd name="connsiteY22" fmla="*/ 72166 h 232831"/>
                <a:gd name="connsiteX23" fmla="*/ 998816 w 998963"/>
                <a:gd name="connsiteY23" fmla="*/ 119789 h 232831"/>
                <a:gd name="connsiteX24" fmla="*/ 998962 w 998963"/>
                <a:gd name="connsiteY24" fmla="*/ 124087 h 232831"/>
                <a:gd name="connsiteX25" fmla="*/ 998962 w 998963"/>
                <a:gd name="connsiteY25" fmla="*/ 229562 h 232831"/>
                <a:gd name="connsiteX26" fmla="*/ 953625 w 998963"/>
                <a:gd name="connsiteY26" fmla="*/ 229562 h 232831"/>
                <a:gd name="connsiteX27" fmla="*/ 953625 w 998963"/>
                <a:gd name="connsiteY27" fmla="*/ 137036 h 232831"/>
                <a:gd name="connsiteX28" fmla="*/ 932658 w 998963"/>
                <a:gd name="connsiteY28" fmla="*/ 109934 h 232831"/>
                <a:gd name="connsiteX29" fmla="*/ 928225 w 998963"/>
                <a:gd name="connsiteY29" fmla="*/ 109755 h 232831"/>
                <a:gd name="connsiteX30" fmla="*/ 898380 w 998963"/>
                <a:gd name="connsiteY30" fmla="*/ 149984 h 232831"/>
                <a:gd name="connsiteX31" fmla="*/ 898380 w 998963"/>
                <a:gd name="connsiteY31" fmla="*/ 229311 h 232831"/>
                <a:gd name="connsiteX32" fmla="*/ 853296 w 998963"/>
                <a:gd name="connsiteY32" fmla="*/ 229311 h 232831"/>
                <a:gd name="connsiteX33" fmla="*/ 853296 w 998963"/>
                <a:gd name="connsiteY33" fmla="*/ 137036 h 232831"/>
                <a:gd name="connsiteX34" fmla="*/ 832330 w 998963"/>
                <a:gd name="connsiteY34" fmla="*/ 109934 h 232831"/>
                <a:gd name="connsiteX35" fmla="*/ 827896 w 998963"/>
                <a:gd name="connsiteY35" fmla="*/ 109755 h 232831"/>
                <a:gd name="connsiteX36" fmla="*/ 798434 w 998963"/>
                <a:gd name="connsiteY36" fmla="*/ 149984 h 232831"/>
                <a:gd name="connsiteX37" fmla="*/ 798434 w 998963"/>
                <a:gd name="connsiteY37" fmla="*/ 229311 h 232831"/>
                <a:gd name="connsiteX38" fmla="*/ 752841 w 998963"/>
                <a:gd name="connsiteY38" fmla="*/ 229311 h 232831"/>
                <a:gd name="connsiteX39" fmla="*/ 753095 w 998963"/>
                <a:gd name="connsiteY39" fmla="*/ 74430 h 232831"/>
                <a:gd name="connsiteX40" fmla="*/ 798687 w 998963"/>
                <a:gd name="connsiteY40" fmla="*/ 74430 h 232831"/>
                <a:gd name="connsiteX41" fmla="*/ 798687 w 998963"/>
                <a:gd name="connsiteY41" fmla="*/ 95549 h 232831"/>
                <a:gd name="connsiteX42" fmla="*/ 842756 w 998963"/>
                <a:gd name="connsiteY42" fmla="*/ 72166 h 232831"/>
                <a:gd name="connsiteX43" fmla="*/ 655053 w 998963"/>
                <a:gd name="connsiteY43" fmla="*/ 71915 h 232831"/>
                <a:gd name="connsiteX44" fmla="*/ 736332 w 998963"/>
                <a:gd name="connsiteY44" fmla="*/ 152373 h 232831"/>
                <a:gd name="connsiteX45" fmla="*/ 655053 w 998963"/>
                <a:gd name="connsiteY45" fmla="*/ 232831 h 232831"/>
                <a:gd name="connsiteX46" fmla="*/ 573775 w 998963"/>
                <a:gd name="connsiteY46" fmla="*/ 152373 h 232831"/>
                <a:gd name="connsiteX47" fmla="*/ 655053 w 998963"/>
                <a:gd name="connsiteY47" fmla="*/ 71915 h 232831"/>
                <a:gd name="connsiteX48" fmla="*/ 0 w 998963"/>
                <a:gd name="connsiteY48" fmla="*/ 14211 h 232831"/>
                <a:gd name="connsiteX49" fmla="*/ 49022 w 998963"/>
                <a:gd name="connsiteY49" fmla="*/ 14211 h 232831"/>
                <a:gd name="connsiteX50" fmla="*/ 49022 w 998963"/>
                <a:gd name="connsiteY50" fmla="*/ 97812 h 232831"/>
                <a:gd name="connsiteX51" fmla="*/ 135253 w 998963"/>
                <a:gd name="connsiteY51" fmla="*/ 97812 h 232831"/>
                <a:gd name="connsiteX52" fmla="*/ 135253 w 998963"/>
                <a:gd name="connsiteY52" fmla="*/ 14211 h 232831"/>
                <a:gd name="connsiteX53" fmla="*/ 184655 w 998963"/>
                <a:gd name="connsiteY53" fmla="*/ 14211 h 232831"/>
                <a:gd name="connsiteX54" fmla="*/ 184655 w 998963"/>
                <a:gd name="connsiteY54" fmla="*/ 229310 h 232831"/>
                <a:gd name="connsiteX55" fmla="*/ 135253 w 998963"/>
                <a:gd name="connsiteY55" fmla="*/ 229310 h 232831"/>
                <a:gd name="connsiteX56" fmla="*/ 135253 w 998963"/>
                <a:gd name="connsiteY56" fmla="*/ 139298 h 232831"/>
                <a:gd name="connsiteX57" fmla="*/ 49022 w 998963"/>
                <a:gd name="connsiteY57" fmla="*/ 139298 h 232831"/>
                <a:gd name="connsiteX58" fmla="*/ 49022 w 998963"/>
                <a:gd name="connsiteY58" fmla="*/ 229310 h 232831"/>
                <a:gd name="connsiteX59" fmla="*/ 0 w 998963"/>
                <a:gd name="connsiteY59" fmla="*/ 229310 h 232831"/>
                <a:gd name="connsiteX60" fmla="*/ 378834 w 998963"/>
                <a:gd name="connsiteY60" fmla="*/ 11697 h 232831"/>
                <a:gd name="connsiteX61" fmla="*/ 424935 w 998963"/>
                <a:gd name="connsiteY61" fmla="*/ 11697 h 232831"/>
                <a:gd name="connsiteX62" fmla="*/ 424935 w 998963"/>
                <a:gd name="connsiteY62" fmla="*/ 229310 h 232831"/>
                <a:gd name="connsiteX63" fmla="*/ 378834 w 998963"/>
                <a:gd name="connsiteY63" fmla="*/ 229310 h 232831"/>
                <a:gd name="connsiteX64" fmla="*/ 299587 w 998963"/>
                <a:gd name="connsiteY64" fmla="*/ 11697 h 232831"/>
                <a:gd name="connsiteX65" fmla="*/ 345181 w 998963"/>
                <a:gd name="connsiteY65" fmla="*/ 11697 h 232831"/>
                <a:gd name="connsiteX66" fmla="*/ 345181 w 998963"/>
                <a:gd name="connsiteY66" fmla="*/ 229310 h 232831"/>
                <a:gd name="connsiteX67" fmla="*/ 299587 w 998963"/>
                <a:gd name="connsiteY67" fmla="*/ 229310 h 232831"/>
                <a:gd name="connsiteX68" fmla="*/ 240651 w 998963"/>
                <a:gd name="connsiteY68" fmla="*/ 5 h 232831"/>
                <a:gd name="connsiteX69" fmla="*/ 241677 w 998963"/>
                <a:gd name="connsiteY69" fmla="*/ 5 h 232831"/>
                <a:gd name="connsiteX70" fmla="*/ 268855 w 998963"/>
                <a:gd name="connsiteY70" fmla="*/ 26908 h 232831"/>
                <a:gd name="connsiteX71" fmla="*/ 241677 w 998963"/>
                <a:gd name="connsiteY71" fmla="*/ 53811 h 232831"/>
                <a:gd name="connsiteX72" fmla="*/ 214621 w 998963"/>
                <a:gd name="connsiteY72" fmla="*/ 27798 h 232831"/>
                <a:gd name="connsiteX73" fmla="*/ 214626 w 998963"/>
                <a:gd name="connsiteY73" fmla="*/ 26782 h 232831"/>
                <a:gd name="connsiteX74" fmla="*/ 240651 w 998963"/>
                <a:gd name="connsiteY74" fmla="*/ 5 h 232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998963" h="232831">
                  <a:moveTo>
                    <a:pt x="654292" y="111515"/>
                  </a:moveTo>
                  <a:cubicBezTo>
                    <a:pt x="631497" y="111515"/>
                    <a:pt x="613018" y="129808"/>
                    <a:pt x="613018" y="152373"/>
                  </a:cubicBezTo>
                  <a:cubicBezTo>
                    <a:pt x="613018" y="174938"/>
                    <a:pt x="631497" y="193230"/>
                    <a:pt x="654292" y="193230"/>
                  </a:cubicBezTo>
                  <a:cubicBezTo>
                    <a:pt x="677086" y="193230"/>
                    <a:pt x="695566" y="174938"/>
                    <a:pt x="695566" y="152373"/>
                  </a:cubicBezTo>
                  <a:cubicBezTo>
                    <a:pt x="695566" y="129808"/>
                    <a:pt x="677086" y="111515"/>
                    <a:pt x="654292" y="111515"/>
                  </a:cubicBezTo>
                  <a:close/>
                  <a:moveTo>
                    <a:pt x="458842" y="74429"/>
                  </a:moveTo>
                  <a:lnTo>
                    <a:pt x="504435" y="74429"/>
                  </a:lnTo>
                  <a:lnTo>
                    <a:pt x="504435" y="229310"/>
                  </a:lnTo>
                  <a:lnTo>
                    <a:pt x="458842" y="229310"/>
                  </a:lnTo>
                  <a:close/>
                  <a:moveTo>
                    <a:pt x="218944" y="74428"/>
                  </a:moveTo>
                  <a:lnTo>
                    <a:pt x="264536" y="74428"/>
                  </a:lnTo>
                  <a:lnTo>
                    <a:pt x="264536" y="229308"/>
                  </a:lnTo>
                  <a:lnTo>
                    <a:pt x="218944" y="229308"/>
                  </a:lnTo>
                  <a:close/>
                  <a:moveTo>
                    <a:pt x="542535" y="73170"/>
                  </a:moveTo>
                  <a:cubicBezTo>
                    <a:pt x="557545" y="73170"/>
                    <a:pt x="569713" y="85215"/>
                    <a:pt x="569713" y="100074"/>
                  </a:cubicBezTo>
                  <a:cubicBezTo>
                    <a:pt x="569713" y="114932"/>
                    <a:pt x="557545" y="126976"/>
                    <a:pt x="542535" y="126976"/>
                  </a:cubicBezTo>
                  <a:cubicBezTo>
                    <a:pt x="527805" y="127119"/>
                    <a:pt x="515749" y="115417"/>
                    <a:pt x="515604" y="100836"/>
                  </a:cubicBezTo>
                  <a:cubicBezTo>
                    <a:pt x="515601" y="100541"/>
                    <a:pt x="515603" y="100244"/>
                    <a:pt x="515610" y="99948"/>
                  </a:cubicBezTo>
                  <a:cubicBezTo>
                    <a:pt x="515328" y="85439"/>
                    <a:pt x="526982" y="73452"/>
                    <a:pt x="541637" y="73172"/>
                  </a:cubicBezTo>
                  <a:cubicBezTo>
                    <a:pt x="541936" y="73167"/>
                    <a:pt x="542236" y="73166"/>
                    <a:pt x="542535" y="73170"/>
                  </a:cubicBezTo>
                  <a:close/>
                  <a:moveTo>
                    <a:pt x="842756" y="72166"/>
                  </a:moveTo>
                  <a:cubicBezTo>
                    <a:pt x="862917" y="70174"/>
                    <a:pt x="882049" y="81374"/>
                    <a:pt x="889999" y="99824"/>
                  </a:cubicBezTo>
                  <a:cubicBezTo>
                    <a:pt x="901342" y="81913"/>
                    <a:pt x="921489" y="71365"/>
                    <a:pt x="942830" y="72166"/>
                  </a:cubicBezTo>
                  <a:cubicBezTo>
                    <a:pt x="971575" y="70013"/>
                    <a:pt x="996640" y="91334"/>
                    <a:pt x="998816" y="119789"/>
                  </a:cubicBezTo>
                  <a:cubicBezTo>
                    <a:pt x="998924" y="121219"/>
                    <a:pt x="998974" y="122652"/>
                    <a:pt x="998962" y="124087"/>
                  </a:cubicBezTo>
                  <a:lnTo>
                    <a:pt x="998962" y="229562"/>
                  </a:lnTo>
                  <a:lnTo>
                    <a:pt x="953625" y="229562"/>
                  </a:lnTo>
                  <a:lnTo>
                    <a:pt x="953625" y="137036"/>
                  </a:lnTo>
                  <a:cubicBezTo>
                    <a:pt x="955395" y="123820"/>
                    <a:pt x="946008" y="111687"/>
                    <a:pt x="932658" y="109934"/>
                  </a:cubicBezTo>
                  <a:cubicBezTo>
                    <a:pt x="931190" y="109741"/>
                    <a:pt x="929705" y="109682"/>
                    <a:pt x="928225" y="109755"/>
                  </a:cubicBezTo>
                  <a:cubicBezTo>
                    <a:pt x="909303" y="109755"/>
                    <a:pt x="898380" y="125093"/>
                    <a:pt x="898380" y="149984"/>
                  </a:cubicBezTo>
                  <a:lnTo>
                    <a:pt x="898380" y="229311"/>
                  </a:lnTo>
                  <a:lnTo>
                    <a:pt x="853296" y="229311"/>
                  </a:lnTo>
                  <a:lnTo>
                    <a:pt x="853296" y="137036"/>
                  </a:lnTo>
                  <a:cubicBezTo>
                    <a:pt x="855067" y="123820"/>
                    <a:pt x="845680" y="111687"/>
                    <a:pt x="832330" y="109934"/>
                  </a:cubicBezTo>
                  <a:cubicBezTo>
                    <a:pt x="830860" y="109741"/>
                    <a:pt x="829377" y="109682"/>
                    <a:pt x="827896" y="109755"/>
                  </a:cubicBezTo>
                  <a:cubicBezTo>
                    <a:pt x="809355" y="109755"/>
                    <a:pt x="798434" y="125344"/>
                    <a:pt x="798434" y="149984"/>
                  </a:cubicBezTo>
                  <a:lnTo>
                    <a:pt x="798434" y="229311"/>
                  </a:lnTo>
                  <a:lnTo>
                    <a:pt x="752841" y="229311"/>
                  </a:lnTo>
                  <a:lnTo>
                    <a:pt x="753095" y="74430"/>
                  </a:lnTo>
                  <a:lnTo>
                    <a:pt x="798687" y="74430"/>
                  </a:lnTo>
                  <a:lnTo>
                    <a:pt x="798687" y="95549"/>
                  </a:lnTo>
                  <a:cubicBezTo>
                    <a:pt x="808089" y="80509"/>
                    <a:pt x="824896" y="71590"/>
                    <a:pt x="842756" y="72166"/>
                  </a:cubicBezTo>
                  <a:close/>
                  <a:moveTo>
                    <a:pt x="655053" y="71915"/>
                  </a:moveTo>
                  <a:cubicBezTo>
                    <a:pt x="699942" y="71915"/>
                    <a:pt x="736332" y="107937"/>
                    <a:pt x="736332" y="152373"/>
                  </a:cubicBezTo>
                  <a:cubicBezTo>
                    <a:pt x="736332" y="196808"/>
                    <a:pt x="699942" y="232831"/>
                    <a:pt x="655053" y="232831"/>
                  </a:cubicBezTo>
                  <a:cubicBezTo>
                    <a:pt x="610165" y="232831"/>
                    <a:pt x="573775" y="196808"/>
                    <a:pt x="573775" y="152373"/>
                  </a:cubicBezTo>
                  <a:cubicBezTo>
                    <a:pt x="573775" y="107937"/>
                    <a:pt x="610165" y="71915"/>
                    <a:pt x="655053" y="71915"/>
                  </a:cubicBezTo>
                  <a:close/>
                  <a:moveTo>
                    <a:pt x="0" y="14211"/>
                  </a:moveTo>
                  <a:lnTo>
                    <a:pt x="49022" y="14211"/>
                  </a:lnTo>
                  <a:lnTo>
                    <a:pt x="49022" y="97812"/>
                  </a:lnTo>
                  <a:lnTo>
                    <a:pt x="135253" y="97812"/>
                  </a:lnTo>
                  <a:lnTo>
                    <a:pt x="135253" y="14211"/>
                  </a:lnTo>
                  <a:lnTo>
                    <a:pt x="184655" y="14211"/>
                  </a:lnTo>
                  <a:lnTo>
                    <a:pt x="184655" y="229310"/>
                  </a:lnTo>
                  <a:lnTo>
                    <a:pt x="135253" y="229310"/>
                  </a:lnTo>
                  <a:lnTo>
                    <a:pt x="135253" y="139298"/>
                  </a:lnTo>
                  <a:lnTo>
                    <a:pt x="49022" y="139298"/>
                  </a:lnTo>
                  <a:lnTo>
                    <a:pt x="49022" y="229310"/>
                  </a:lnTo>
                  <a:lnTo>
                    <a:pt x="0" y="229310"/>
                  </a:lnTo>
                  <a:close/>
                  <a:moveTo>
                    <a:pt x="378834" y="11697"/>
                  </a:moveTo>
                  <a:lnTo>
                    <a:pt x="424935" y="11697"/>
                  </a:lnTo>
                  <a:lnTo>
                    <a:pt x="424935" y="229310"/>
                  </a:lnTo>
                  <a:lnTo>
                    <a:pt x="378834" y="229310"/>
                  </a:lnTo>
                  <a:close/>
                  <a:moveTo>
                    <a:pt x="299587" y="11697"/>
                  </a:moveTo>
                  <a:lnTo>
                    <a:pt x="345181" y="11697"/>
                  </a:lnTo>
                  <a:lnTo>
                    <a:pt x="345181" y="229310"/>
                  </a:lnTo>
                  <a:lnTo>
                    <a:pt x="299587" y="229310"/>
                  </a:lnTo>
                  <a:close/>
                  <a:moveTo>
                    <a:pt x="240651" y="5"/>
                  </a:moveTo>
                  <a:cubicBezTo>
                    <a:pt x="240993" y="-2"/>
                    <a:pt x="241335" y="-2"/>
                    <a:pt x="241677" y="5"/>
                  </a:cubicBezTo>
                  <a:cubicBezTo>
                    <a:pt x="256687" y="5"/>
                    <a:pt x="268855" y="12049"/>
                    <a:pt x="268855" y="26908"/>
                  </a:cubicBezTo>
                  <a:cubicBezTo>
                    <a:pt x="268855" y="41766"/>
                    <a:pt x="256687" y="53811"/>
                    <a:pt x="241677" y="53811"/>
                  </a:cubicBezTo>
                  <a:cubicBezTo>
                    <a:pt x="226949" y="54023"/>
                    <a:pt x="214835" y="42377"/>
                    <a:pt x="214621" y="27798"/>
                  </a:cubicBezTo>
                  <a:cubicBezTo>
                    <a:pt x="214616" y="27460"/>
                    <a:pt x="214617" y="27121"/>
                    <a:pt x="214626" y="26782"/>
                  </a:cubicBezTo>
                  <a:cubicBezTo>
                    <a:pt x="214342" y="12273"/>
                    <a:pt x="225994" y="285"/>
                    <a:pt x="240651" y="5"/>
                  </a:cubicBezTo>
                  <a:close/>
                </a:path>
              </a:pathLst>
            </a:custGeom>
            <a:solidFill>
              <a:srgbClr val="000839"/>
            </a:solidFill>
            <a:ln w="9525" cap="flat">
              <a:noFill/>
              <a:prstDash val="solid"/>
              <a:miter/>
            </a:ln>
          </p:spPr>
          <p:txBody>
            <a:bodyPr wrap="square" rtlCol="0" anchor="ctr">
              <a:noAutofit/>
            </a:bodyPr>
            <a:lstStyle/>
            <a:p>
              <a:endParaRPr lang="en-US"/>
            </a:p>
          </p:txBody>
        </p:sp>
      </p:grpSp>
    </p:spTree>
    <p:extLst>
      <p:ext uri="{BB962C8B-B14F-4D97-AF65-F5344CB8AC3E}">
        <p14:creationId xmlns:p14="http://schemas.microsoft.com/office/powerpoint/2010/main" val="51534344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Divider - Inset Pattern">
    <p:bg>
      <p:bgPr>
        <a:solidFill>
          <a:schemeClr val="accent2"/>
        </a:solidFill>
        <a:effectLst/>
      </p:bgPr>
    </p:bg>
    <p:spTree>
      <p:nvGrpSpPr>
        <p:cNvPr id="1" name=""/>
        <p:cNvGrpSpPr/>
        <p:nvPr/>
      </p:nvGrpSpPr>
      <p:grpSpPr>
        <a:xfrm>
          <a:off x="0" y="0"/>
          <a:ext cx="0" cy="0"/>
          <a:chOff x="0" y="0"/>
          <a:chExt cx="0" cy="0"/>
        </a:xfrm>
      </p:grpSpPr>
      <p:sp>
        <p:nvSpPr>
          <p:cNvPr id="26" name="Slide Number Placeholder 5">
            <a:extLst>
              <a:ext uri="{FF2B5EF4-FFF2-40B4-BE49-F238E27FC236}">
                <a16:creationId xmlns:a16="http://schemas.microsoft.com/office/drawing/2014/main" id="{6AA0B4D3-F1D5-E840-816A-8B71734B0CEE}"/>
              </a:ext>
            </a:extLst>
          </p:cNvPr>
          <p:cNvSpPr>
            <a:spLocks noGrp="1"/>
          </p:cNvSpPr>
          <p:nvPr>
            <p:ph type="sldNum" sz="quarter" idx="4"/>
          </p:nvPr>
        </p:nvSpPr>
        <p:spPr>
          <a:xfrm>
            <a:off x="11537879" y="6325527"/>
            <a:ext cx="370726" cy="365125"/>
          </a:xfrm>
          <a:prstGeom prst="rect">
            <a:avLst/>
          </a:prstGeom>
        </p:spPr>
        <p:txBody>
          <a:bodyPr vert="horz" lIns="91440" tIns="45720" rIns="91440" bIns="45720" rtlCol="0" anchor="b"/>
          <a:lstStyle>
            <a:lvl1pPr algn="r">
              <a:defRPr sz="800" b="1" i="0">
                <a:solidFill>
                  <a:schemeClr val="bg1"/>
                </a:solidFill>
                <a:latin typeface="+mj-lt"/>
              </a:defRPr>
            </a:lvl1pPr>
          </a:lstStyle>
          <a:p>
            <a:fld id="{EB3C441C-A16D-4531-8F9E-BFE4D57FBC82}" type="slidenum">
              <a:rPr lang="en-US" smtClean="0"/>
              <a:t>‹N°›</a:t>
            </a:fld>
            <a:endParaRPr lang="en-US"/>
          </a:p>
        </p:txBody>
      </p:sp>
      <p:sp>
        <p:nvSpPr>
          <p:cNvPr id="30" name="Footer Placeholder 54">
            <a:extLst>
              <a:ext uri="{FF2B5EF4-FFF2-40B4-BE49-F238E27FC236}">
                <a16:creationId xmlns:a16="http://schemas.microsoft.com/office/drawing/2014/main" id="{FBF5E17B-C670-4E4D-BB7F-743CB1137D68}"/>
              </a:ext>
            </a:extLst>
          </p:cNvPr>
          <p:cNvSpPr>
            <a:spLocks noGrp="1"/>
          </p:cNvSpPr>
          <p:nvPr>
            <p:ph type="ftr" sz="quarter" idx="15"/>
          </p:nvPr>
        </p:nvSpPr>
        <p:spPr>
          <a:xfrm>
            <a:off x="1819551" y="6340392"/>
            <a:ext cx="4114800" cy="365125"/>
          </a:xfrm>
          <a:prstGeom prst="rect">
            <a:avLst/>
          </a:prstGeom>
        </p:spPr>
        <p:txBody>
          <a:bodyPr anchor="b" anchorCtr="0"/>
          <a:lstStyle>
            <a:lvl1pPr>
              <a:defRPr sz="700">
                <a:solidFill>
                  <a:schemeClr val="bg1"/>
                </a:solidFill>
              </a:defRPr>
            </a:lvl1pPr>
          </a:lstStyle>
          <a:p>
            <a:endParaRPr lang="en-US"/>
          </a:p>
        </p:txBody>
      </p:sp>
      <p:sp>
        <p:nvSpPr>
          <p:cNvPr id="31" name="Title 8">
            <a:extLst>
              <a:ext uri="{FF2B5EF4-FFF2-40B4-BE49-F238E27FC236}">
                <a16:creationId xmlns:a16="http://schemas.microsoft.com/office/drawing/2014/main" id="{9577566B-579A-F64E-8ABD-A539C8592B64}"/>
              </a:ext>
            </a:extLst>
          </p:cNvPr>
          <p:cNvSpPr>
            <a:spLocks noGrp="1"/>
          </p:cNvSpPr>
          <p:nvPr>
            <p:ph type="title"/>
          </p:nvPr>
        </p:nvSpPr>
        <p:spPr>
          <a:xfrm>
            <a:off x="591194" y="1634837"/>
            <a:ext cx="5904997" cy="2968831"/>
          </a:xfrm>
          <a:prstGeom prst="rect">
            <a:avLst/>
          </a:prstGeom>
        </p:spPr>
        <p:txBody>
          <a:bodyPr/>
          <a:lstStyle>
            <a:lvl1pPr>
              <a:lnSpc>
                <a:spcPct val="84000"/>
              </a:lnSpc>
              <a:defRPr sz="4800" b="1" i="0" cap="all" baseline="0">
                <a:solidFill>
                  <a:schemeClr val="bg1"/>
                </a:solidFill>
                <a:latin typeface="+mj-lt"/>
              </a:defRPr>
            </a:lvl1pPr>
          </a:lstStyle>
          <a:p>
            <a:r>
              <a:rPr lang="en-US"/>
              <a:t>Click to edit Master title style</a:t>
            </a:r>
          </a:p>
        </p:txBody>
      </p:sp>
      <p:sp>
        <p:nvSpPr>
          <p:cNvPr id="22" name="Text Placeholder 3">
            <a:extLst>
              <a:ext uri="{FF2B5EF4-FFF2-40B4-BE49-F238E27FC236}">
                <a16:creationId xmlns:a16="http://schemas.microsoft.com/office/drawing/2014/main" id="{33FB9C49-9DBC-3E4D-A8EB-ABE9A53CF81B}"/>
              </a:ext>
            </a:extLst>
          </p:cNvPr>
          <p:cNvSpPr>
            <a:spLocks noGrp="1"/>
          </p:cNvSpPr>
          <p:nvPr>
            <p:ph type="body" sz="quarter" idx="13"/>
          </p:nvPr>
        </p:nvSpPr>
        <p:spPr>
          <a:xfrm>
            <a:off x="688350" y="498222"/>
            <a:ext cx="1997663" cy="244682"/>
          </a:xfrm>
          <a:prstGeom prst="rect">
            <a:avLst/>
          </a:prstGeom>
          <a:solidFill>
            <a:schemeClr val="accent1"/>
          </a:solidFill>
          <a:ln>
            <a:noFill/>
          </a:ln>
        </p:spPr>
        <p:txBody>
          <a:bodyPr wrap="none" anchor="ctr">
            <a:spAutoFit/>
          </a:bodyPr>
          <a:lstStyle>
            <a:lvl1pPr marL="0" indent="0">
              <a:buNone/>
              <a:defRPr sz="1100" b="1" cap="all" spc="50" baseline="0">
                <a:solidFill>
                  <a:schemeClr val="bg1"/>
                </a:solidFill>
                <a:latin typeface="+mj-lt"/>
              </a:defRPr>
            </a:lvl1pPr>
          </a:lstStyle>
          <a:p>
            <a:pPr lvl="0"/>
            <a:r>
              <a:rPr lang="en-US"/>
              <a:t>Edit Master text styles</a:t>
            </a:r>
          </a:p>
        </p:txBody>
      </p:sp>
      <p:sp>
        <p:nvSpPr>
          <p:cNvPr id="24" name="Picture 23">
            <a:extLst>
              <a:ext uri="{FF2B5EF4-FFF2-40B4-BE49-F238E27FC236}">
                <a16:creationId xmlns:a16="http://schemas.microsoft.com/office/drawing/2014/main" id="{9F846B53-6F96-6943-A7C8-4B9C7C18BE3E}"/>
              </a:ext>
            </a:extLst>
          </p:cNvPr>
          <p:cNvSpPr/>
          <p:nvPr/>
        </p:nvSpPr>
        <p:spPr>
          <a:xfrm>
            <a:off x="6835833" y="0"/>
            <a:ext cx="5359400" cy="5359400"/>
          </a:xfrm>
          <a:custGeom>
            <a:avLst/>
            <a:gdLst>
              <a:gd name="connsiteX0" fmla="*/ 9525 w 5359400"/>
              <a:gd name="connsiteY0" fmla="*/ 1839976 h 5359400"/>
              <a:gd name="connsiteX1" fmla="*/ 80772 w 5359400"/>
              <a:gd name="connsiteY1" fmla="*/ 1839976 h 5359400"/>
              <a:gd name="connsiteX2" fmla="*/ 80772 w 5359400"/>
              <a:gd name="connsiteY2" fmla="*/ 2200529 h 5359400"/>
              <a:gd name="connsiteX3" fmla="*/ 9525 w 5359400"/>
              <a:gd name="connsiteY3" fmla="*/ 2200529 h 5359400"/>
              <a:gd name="connsiteX4" fmla="*/ 9525 w 5359400"/>
              <a:gd name="connsiteY4" fmla="*/ 2658237 h 5359400"/>
              <a:gd name="connsiteX5" fmla="*/ 80772 w 5359400"/>
              <a:gd name="connsiteY5" fmla="*/ 2658237 h 5359400"/>
              <a:gd name="connsiteX6" fmla="*/ 80772 w 5359400"/>
              <a:gd name="connsiteY6" fmla="*/ 2297557 h 5359400"/>
              <a:gd name="connsiteX7" fmla="*/ 9525 w 5359400"/>
              <a:gd name="connsiteY7" fmla="*/ 2297557 h 5359400"/>
              <a:gd name="connsiteX8" fmla="*/ 9525 w 5359400"/>
              <a:gd name="connsiteY8" fmla="*/ 3115437 h 5359400"/>
              <a:gd name="connsiteX9" fmla="*/ 80772 w 5359400"/>
              <a:gd name="connsiteY9" fmla="*/ 3115437 h 5359400"/>
              <a:gd name="connsiteX10" fmla="*/ 80772 w 5359400"/>
              <a:gd name="connsiteY10" fmla="*/ 2754757 h 5359400"/>
              <a:gd name="connsiteX11" fmla="*/ 9525 w 5359400"/>
              <a:gd name="connsiteY11" fmla="*/ 2754757 h 5359400"/>
              <a:gd name="connsiteX12" fmla="*/ 9525 w 5359400"/>
              <a:gd name="connsiteY12" fmla="*/ 1285367 h 5359400"/>
              <a:gd name="connsiteX13" fmla="*/ 80772 w 5359400"/>
              <a:gd name="connsiteY13" fmla="*/ 1285367 h 5359400"/>
              <a:gd name="connsiteX14" fmla="*/ 80772 w 5359400"/>
              <a:gd name="connsiteY14" fmla="*/ 924687 h 5359400"/>
              <a:gd name="connsiteX15" fmla="*/ 9525 w 5359400"/>
              <a:gd name="connsiteY15" fmla="*/ 924687 h 5359400"/>
              <a:gd name="connsiteX16" fmla="*/ 9525 w 5359400"/>
              <a:gd name="connsiteY16" fmla="*/ 1742567 h 5359400"/>
              <a:gd name="connsiteX17" fmla="*/ 80772 w 5359400"/>
              <a:gd name="connsiteY17" fmla="*/ 1742567 h 5359400"/>
              <a:gd name="connsiteX18" fmla="*/ 80772 w 5359400"/>
              <a:gd name="connsiteY18" fmla="*/ 1382395 h 5359400"/>
              <a:gd name="connsiteX19" fmla="*/ 9525 w 5359400"/>
              <a:gd name="connsiteY19" fmla="*/ 1382395 h 5359400"/>
              <a:gd name="connsiteX20" fmla="*/ 1280414 w 5359400"/>
              <a:gd name="connsiteY20" fmla="*/ 2564765 h 5359400"/>
              <a:gd name="connsiteX21" fmla="*/ 1189101 w 5359400"/>
              <a:gd name="connsiteY21" fmla="*/ 2297176 h 5359400"/>
              <a:gd name="connsiteX22" fmla="*/ 1136269 w 5359400"/>
              <a:gd name="connsiteY22" fmla="*/ 2390267 h 5359400"/>
              <a:gd name="connsiteX23" fmla="*/ 1227455 w 5359400"/>
              <a:gd name="connsiteY23" fmla="*/ 2657856 h 5359400"/>
              <a:gd name="connsiteX24" fmla="*/ 1280414 w 5359400"/>
              <a:gd name="connsiteY24" fmla="*/ 1191895 h 5359400"/>
              <a:gd name="connsiteX25" fmla="*/ 1189101 w 5359400"/>
              <a:gd name="connsiteY25" fmla="*/ 924687 h 5359400"/>
              <a:gd name="connsiteX26" fmla="*/ 1136269 w 5359400"/>
              <a:gd name="connsiteY26" fmla="*/ 1017778 h 5359400"/>
              <a:gd name="connsiteX27" fmla="*/ 1227455 w 5359400"/>
              <a:gd name="connsiteY27" fmla="*/ 1285367 h 5359400"/>
              <a:gd name="connsiteX28" fmla="*/ 9525 w 5359400"/>
              <a:gd name="connsiteY28" fmla="*/ 827786 h 5359400"/>
              <a:gd name="connsiteX29" fmla="*/ 80772 w 5359400"/>
              <a:gd name="connsiteY29" fmla="*/ 827786 h 5359400"/>
              <a:gd name="connsiteX30" fmla="*/ 80772 w 5359400"/>
              <a:gd name="connsiteY30" fmla="*/ 466725 h 5359400"/>
              <a:gd name="connsiteX31" fmla="*/ 9525 w 5359400"/>
              <a:gd name="connsiteY31" fmla="*/ 466725 h 5359400"/>
              <a:gd name="connsiteX32" fmla="*/ 1280414 w 5359400"/>
              <a:gd name="connsiteY32" fmla="*/ 734695 h 5359400"/>
              <a:gd name="connsiteX33" fmla="*/ 1189101 w 5359400"/>
              <a:gd name="connsiteY33" fmla="*/ 466725 h 5359400"/>
              <a:gd name="connsiteX34" fmla="*/ 1136269 w 5359400"/>
              <a:gd name="connsiteY34" fmla="*/ 559816 h 5359400"/>
              <a:gd name="connsiteX35" fmla="*/ 1227455 w 5359400"/>
              <a:gd name="connsiteY35" fmla="*/ 827786 h 5359400"/>
              <a:gd name="connsiteX36" fmla="*/ 1280414 w 5359400"/>
              <a:gd name="connsiteY36" fmla="*/ 1649857 h 5359400"/>
              <a:gd name="connsiteX37" fmla="*/ 1189101 w 5359400"/>
              <a:gd name="connsiteY37" fmla="*/ 1382395 h 5359400"/>
              <a:gd name="connsiteX38" fmla="*/ 1136269 w 5359400"/>
              <a:gd name="connsiteY38" fmla="*/ 1475359 h 5359400"/>
              <a:gd name="connsiteX39" fmla="*/ 1227455 w 5359400"/>
              <a:gd name="connsiteY39" fmla="*/ 1742948 h 5359400"/>
              <a:gd name="connsiteX40" fmla="*/ 1280414 w 5359400"/>
              <a:gd name="connsiteY40" fmla="*/ 2107057 h 5359400"/>
              <a:gd name="connsiteX41" fmla="*/ 1189101 w 5359400"/>
              <a:gd name="connsiteY41" fmla="*/ 1839468 h 5359400"/>
              <a:gd name="connsiteX42" fmla="*/ 1136269 w 5359400"/>
              <a:gd name="connsiteY42" fmla="*/ 1932559 h 5359400"/>
              <a:gd name="connsiteX43" fmla="*/ 1227455 w 5359400"/>
              <a:gd name="connsiteY43" fmla="*/ 2200021 h 5359400"/>
              <a:gd name="connsiteX44" fmla="*/ 9525 w 5359400"/>
              <a:gd name="connsiteY44" fmla="*/ 370205 h 5359400"/>
              <a:gd name="connsiteX45" fmla="*/ 80772 w 5359400"/>
              <a:gd name="connsiteY45" fmla="*/ 370205 h 5359400"/>
              <a:gd name="connsiteX46" fmla="*/ 80772 w 5359400"/>
              <a:gd name="connsiteY46" fmla="*/ 9525 h 5359400"/>
              <a:gd name="connsiteX47" fmla="*/ 9525 w 5359400"/>
              <a:gd name="connsiteY47" fmla="*/ 9525 h 5359400"/>
              <a:gd name="connsiteX48" fmla="*/ 291211 w 5359400"/>
              <a:gd name="connsiteY48" fmla="*/ 2778125 h 5359400"/>
              <a:gd name="connsiteX49" fmla="*/ 314325 w 5359400"/>
              <a:gd name="connsiteY49" fmla="*/ 3115818 h 5359400"/>
              <a:gd name="connsiteX50" fmla="*/ 380873 w 5359400"/>
              <a:gd name="connsiteY50" fmla="*/ 3092577 h 5359400"/>
              <a:gd name="connsiteX51" fmla="*/ 358140 w 5359400"/>
              <a:gd name="connsiteY51" fmla="*/ 2755138 h 5359400"/>
              <a:gd name="connsiteX52" fmla="*/ 150368 w 5359400"/>
              <a:gd name="connsiteY52" fmla="*/ 21209 h 5359400"/>
              <a:gd name="connsiteX53" fmla="*/ 161925 w 5359400"/>
              <a:gd name="connsiteY53" fmla="*/ 370205 h 5359400"/>
              <a:gd name="connsiteX54" fmla="*/ 230886 w 5359400"/>
              <a:gd name="connsiteY54" fmla="*/ 358521 h 5359400"/>
              <a:gd name="connsiteX55" fmla="*/ 219329 w 5359400"/>
              <a:gd name="connsiteY55" fmla="*/ 9525 h 5359400"/>
              <a:gd name="connsiteX56" fmla="*/ 150368 w 5359400"/>
              <a:gd name="connsiteY56" fmla="*/ 478409 h 5359400"/>
              <a:gd name="connsiteX57" fmla="*/ 161925 w 5359400"/>
              <a:gd name="connsiteY57" fmla="*/ 827786 h 5359400"/>
              <a:gd name="connsiteX58" fmla="*/ 230886 w 5359400"/>
              <a:gd name="connsiteY58" fmla="*/ 816102 h 5359400"/>
              <a:gd name="connsiteX59" fmla="*/ 219329 w 5359400"/>
              <a:gd name="connsiteY59" fmla="*/ 466725 h 5359400"/>
              <a:gd name="connsiteX60" fmla="*/ 291211 w 5359400"/>
              <a:gd name="connsiteY60" fmla="*/ 1863725 h 5359400"/>
              <a:gd name="connsiteX61" fmla="*/ 314325 w 5359400"/>
              <a:gd name="connsiteY61" fmla="*/ 2200529 h 5359400"/>
              <a:gd name="connsiteX62" fmla="*/ 380873 w 5359400"/>
              <a:gd name="connsiteY62" fmla="*/ 2177288 h 5359400"/>
              <a:gd name="connsiteX63" fmla="*/ 358140 w 5359400"/>
              <a:gd name="connsiteY63" fmla="*/ 1839976 h 5359400"/>
              <a:gd name="connsiteX64" fmla="*/ 1280414 w 5359400"/>
              <a:gd name="connsiteY64" fmla="*/ 277114 h 5359400"/>
              <a:gd name="connsiteX65" fmla="*/ 1189101 w 5359400"/>
              <a:gd name="connsiteY65" fmla="*/ 9525 h 5359400"/>
              <a:gd name="connsiteX66" fmla="*/ 1136269 w 5359400"/>
              <a:gd name="connsiteY66" fmla="*/ 102616 h 5359400"/>
              <a:gd name="connsiteX67" fmla="*/ 1227455 w 5359400"/>
              <a:gd name="connsiteY67" fmla="*/ 370205 h 5359400"/>
              <a:gd name="connsiteX68" fmla="*/ 291211 w 5359400"/>
              <a:gd name="connsiteY68" fmla="*/ 2320925 h 5359400"/>
              <a:gd name="connsiteX69" fmla="*/ 314325 w 5359400"/>
              <a:gd name="connsiteY69" fmla="*/ 2658237 h 5359400"/>
              <a:gd name="connsiteX70" fmla="*/ 380873 w 5359400"/>
              <a:gd name="connsiteY70" fmla="*/ 2634869 h 5359400"/>
              <a:gd name="connsiteX71" fmla="*/ 358140 w 5359400"/>
              <a:gd name="connsiteY71" fmla="*/ 2297557 h 5359400"/>
              <a:gd name="connsiteX72" fmla="*/ 150368 w 5359400"/>
              <a:gd name="connsiteY72" fmla="*/ 2766822 h 5359400"/>
              <a:gd name="connsiteX73" fmla="*/ 161798 w 5359400"/>
              <a:gd name="connsiteY73" fmla="*/ 3115818 h 5359400"/>
              <a:gd name="connsiteX74" fmla="*/ 230759 w 5359400"/>
              <a:gd name="connsiteY74" fmla="*/ 3104134 h 5359400"/>
              <a:gd name="connsiteX75" fmla="*/ 219329 w 5359400"/>
              <a:gd name="connsiteY75" fmla="*/ 2755138 h 5359400"/>
              <a:gd name="connsiteX76" fmla="*/ 150368 w 5359400"/>
              <a:gd name="connsiteY76" fmla="*/ 2309622 h 5359400"/>
              <a:gd name="connsiteX77" fmla="*/ 161798 w 5359400"/>
              <a:gd name="connsiteY77" fmla="*/ 2658745 h 5359400"/>
              <a:gd name="connsiteX78" fmla="*/ 230759 w 5359400"/>
              <a:gd name="connsiteY78" fmla="*/ 2647061 h 5359400"/>
              <a:gd name="connsiteX79" fmla="*/ 219329 w 5359400"/>
              <a:gd name="connsiteY79" fmla="*/ 2298065 h 5359400"/>
              <a:gd name="connsiteX80" fmla="*/ 150368 w 5359400"/>
              <a:gd name="connsiteY80" fmla="*/ 1852422 h 5359400"/>
              <a:gd name="connsiteX81" fmla="*/ 161798 w 5359400"/>
              <a:gd name="connsiteY81" fmla="*/ 2201418 h 5359400"/>
              <a:gd name="connsiteX82" fmla="*/ 230759 w 5359400"/>
              <a:gd name="connsiteY82" fmla="*/ 2189861 h 5359400"/>
              <a:gd name="connsiteX83" fmla="*/ 219329 w 5359400"/>
              <a:gd name="connsiteY83" fmla="*/ 1840865 h 5359400"/>
              <a:gd name="connsiteX84" fmla="*/ 150368 w 5359400"/>
              <a:gd name="connsiteY84" fmla="*/ 937260 h 5359400"/>
              <a:gd name="connsiteX85" fmla="*/ 161798 w 5359400"/>
              <a:gd name="connsiteY85" fmla="*/ 1286256 h 5359400"/>
              <a:gd name="connsiteX86" fmla="*/ 230759 w 5359400"/>
              <a:gd name="connsiteY86" fmla="*/ 1274572 h 5359400"/>
              <a:gd name="connsiteX87" fmla="*/ 219329 w 5359400"/>
              <a:gd name="connsiteY87" fmla="*/ 925576 h 5359400"/>
              <a:gd name="connsiteX88" fmla="*/ 291211 w 5359400"/>
              <a:gd name="connsiteY88" fmla="*/ 948944 h 5359400"/>
              <a:gd name="connsiteX89" fmla="*/ 314325 w 5359400"/>
              <a:gd name="connsiteY89" fmla="*/ 1285367 h 5359400"/>
              <a:gd name="connsiteX90" fmla="*/ 380873 w 5359400"/>
              <a:gd name="connsiteY90" fmla="*/ 1262126 h 5359400"/>
              <a:gd name="connsiteX91" fmla="*/ 357886 w 5359400"/>
              <a:gd name="connsiteY91" fmla="*/ 924687 h 5359400"/>
              <a:gd name="connsiteX92" fmla="*/ 150368 w 5359400"/>
              <a:gd name="connsiteY92" fmla="*/ 1393825 h 5359400"/>
              <a:gd name="connsiteX93" fmla="*/ 161798 w 5359400"/>
              <a:gd name="connsiteY93" fmla="*/ 1742821 h 5359400"/>
              <a:gd name="connsiteX94" fmla="*/ 230759 w 5359400"/>
              <a:gd name="connsiteY94" fmla="*/ 1731264 h 5359400"/>
              <a:gd name="connsiteX95" fmla="*/ 219329 w 5359400"/>
              <a:gd name="connsiteY95" fmla="*/ 1382268 h 5359400"/>
              <a:gd name="connsiteX96" fmla="*/ 1604772 w 5359400"/>
              <a:gd name="connsiteY96" fmla="*/ 466725 h 5359400"/>
              <a:gd name="connsiteX97" fmla="*/ 1558925 w 5359400"/>
              <a:gd name="connsiteY97" fmla="*/ 595122 h 5359400"/>
              <a:gd name="connsiteX98" fmla="*/ 1684401 w 5359400"/>
              <a:gd name="connsiteY98" fmla="*/ 827786 h 5359400"/>
              <a:gd name="connsiteX99" fmla="*/ 1730375 w 5359400"/>
              <a:gd name="connsiteY99" fmla="*/ 699770 h 5359400"/>
              <a:gd name="connsiteX100" fmla="*/ 1417955 w 5359400"/>
              <a:gd name="connsiteY100" fmla="*/ 583438 h 5359400"/>
              <a:gd name="connsiteX101" fmla="*/ 1532255 w 5359400"/>
              <a:gd name="connsiteY101" fmla="*/ 827786 h 5359400"/>
              <a:gd name="connsiteX102" fmla="*/ 1580515 w 5359400"/>
              <a:gd name="connsiteY102" fmla="*/ 711454 h 5359400"/>
              <a:gd name="connsiteX103" fmla="*/ 1466215 w 5359400"/>
              <a:gd name="connsiteY103" fmla="*/ 466725 h 5359400"/>
              <a:gd name="connsiteX104" fmla="*/ 1604772 w 5359400"/>
              <a:gd name="connsiteY104" fmla="*/ 924687 h 5359400"/>
              <a:gd name="connsiteX105" fmla="*/ 1558925 w 5359400"/>
              <a:gd name="connsiteY105" fmla="*/ 1052703 h 5359400"/>
              <a:gd name="connsiteX106" fmla="*/ 1684401 w 5359400"/>
              <a:gd name="connsiteY106" fmla="*/ 1285367 h 5359400"/>
              <a:gd name="connsiteX107" fmla="*/ 1730375 w 5359400"/>
              <a:gd name="connsiteY107" fmla="*/ 1157351 h 5359400"/>
              <a:gd name="connsiteX108" fmla="*/ 1379728 w 5359400"/>
              <a:gd name="connsiteY108" fmla="*/ 1742948 h 5359400"/>
              <a:gd name="connsiteX109" fmla="*/ 1430528 w 5359400"/>
              <a:gd name="connsiteY109" fmla="*/ 1638300 h 5359400"/>
              <a:gd name="connsiteX110" fmla="*/ 1327912 w 5359400"/>
              <a:gd name="connsiteY110" fmla="*/ 1382395 h 5359400"/>
              <a:gd name="connsiteX111" fmla="*/ 1277112 w 5359400"/>
              <a:gd name="connsiteY111" fmla="*/ 1487043 h 5359400"/>
              <a:gd name="connsiteX112" fmla="*/ 1277112 w 5359400"/>
              <a:gd name="connsiteY112" fmla="*/ 571881 h 5359400"/>
              <a:gd name="connsiteX113" fmla="*/ 1379728 w 5359400"/>
              <a:gd name="connsiteY113" fmla="*/ 827786 h 5359400"/>
              <a:gd name="connsiteX114" fmla="*/ 1430528 w 5359400"/>
              <a:gd name="connsiteY114" fmla="*/ 723011 h 5359400"/>
              <a:gd name="connsiteX115" fmla="*/ 1327658 w 5359400"/>
              <a:gd name="connsiteY115" fmla="*/ 466725 h 5359400"/>
              <a:gd name="connsiteX116" fmla="*/ 1604772 w 5359400"/>
              <a:gd name="connsiteY116" fmla="*/ 1382395 h 5359400"/>
              <a:gd name="connsiteX117" fmla="*/ 1558925 w 5359400"/>
              <a:gd name="connsiteY117" fmla="*/ 1510284 h 5359400"/>
              <a:gd name="connsiteX118" fmla="*/ 1684401 w 5359400"/>
              <a:gd name="connsiteY118" fmla="*/ 1742948 h 5359400"/>
              <a:gd name="connsiteX119" fmla="*/ 1730375 w 5359400"/>
              <a:gd name="connsiteY119" fmla="*/ 1615059 h 5359400"/>
              <a:gd name="connsiteX120" fmla="*/ 1379728 w 5359400"/>
              <a:gd name="connsiteY120" fmla="*/ 1285367 h 5359400"/>
              <a:gd name="connsiteX121" fmla="*/ 1430528 w 5359400"/>
              <a:gd name="connsiteY121" fmla="*/ 1180719 h 5359400"/>
              <a:gd name="connsiteX122" fmla="*/ 1327912 w 5359400"/>
              <a:gd name="connsiteY122" fmla="*/ 924687 h 5359400"/>
              <a:gd name="connsiteX123" fmla="*/ 1277112 w 5359400"/>
              <a:gd name="connsiteY123" fmla="*/ 1029462 h 5359400"/>
              <a:gd name="connsiteX124" fmla="*/ 1880108 w 5359400"/>
              <a:gd name="connsiteY124" fmla="*/ 231267 h 5359400"/>
              <a:gd name="connsiteX125" fmla="*/ 1743329 w 5359400"/>
              <a:gd name="connsiteY125" fmla="*/ 9525 h 5359400"/>
              <a:gd name="connsiteX126" fmla="*/ 1699641 w 5359400"/>
              <a:gd name="connsiteY126" fmla="*/ 149225 h 5359400"/>
              <a:gd name="connsiteX127" fmla="*/ 1836547 w 5359400"/>
              <a:gd name="connsiteY127" fmla="*/ 370205 h 5359400"/>
              <a:gd name="connsiteX128" fmla="*/ 1532001 w 5359400"/>
              <a:gd name="connsiteY128" fmla="*/ 1742948 h 5359400"/>
              <a:gd name="connsiteX129" fmla="*/ 1580261 w 5359400"/>
              <a:gd name="connsiteY129" fmla="*/ 1626616 h 5359400"/>
              <a:gd name="connsiteX130" fmla="*/ 1465961 w 5359400"/>
              <a:gd name="connsiteY130" fmla="*/ 1382395 h 5359400"/>
              <a:gd name="connsiteX131" fmla="*/ 1417701 w 5359400"/>
              <a:gd name="connsiteY131" fmla="*/ 1498727 h 5359400"/>
              <a:gd name="connsiteX132" fmla="*/ 1532001 w 5359400"/>
              <a:gd name="connsiteY132" fmla="*/ 2200148 h 5359400"/>
              <a:gd name="connsiteX133" fmla="*/ 1580261 w 5359400"/>
              <a:gd name="connsiteY133" fmla="*/ 2083816 h 5359400"/>
              <a:gd name="connsiteX134" fmla="*/ 1465961 w 5359400"/>
              <a:gd name="connsiteY134" fmla="*/ 1839595 h 5359400"/>
              <a:gd name="connsiteX135" fmla="*/ 1417701 w 5359400"/>
              <a:gd name="connsiteY135" fmla="*/ 1955927 h 5359400"/>
              <a:gd name="connsiteX136" fmla="*/ 1466215 w 5359400"/>
              <a:gd name="connsiteY136" fmla="*/ 924687 h 5359400"/>
              <a:gd name="connsiteX137" fmla="*/ 1417955 w 5359400"/>
              <a:gd name="connsiteY137" fmla="*/ 1041019 h 5359400"/>
              <a:gd name="connsiteX138" fmla="*/ 1532255 w 5359400"/>
              <a:gd name="connsiteY138" fmla="*/ 1285367 h 5359400"/>
              <a:gd name="connsiteX139" fmla="*/ 1580515 w 5359400"/>
              <a:gd name="connsiteY139" fmla="*/ 1169035 h 5359400"/>
              <a:gd name="connsiteX140" fmla="*/ 1730248 w 5359400"/>
              <a:gd name="connsiteY140" fmla="*/ 2072640 h 5359400"/>
              <a:gd name="connsiteX141" fmla="*/ 1604772 w 5359400"/>
              <a:gd name="connsiteY141" fmla="*/ 1839976 h 5359400"/>
              <a:gd name="connsiteX142" fmla="*/ 1558925 w 5359400"/>
              <a:gd name="connsiteY142" fmla="*/ 1967865 h 5359400"/>
              <a:gd name="connsiteX143" fmla="*/ 1684401 w 5359400"/>
              <a:gd name="connsiteY143" fmla="*/ 2200529 h 5359400"/>
              <a:gd name="connsiteX144" fmla="*/ 1580261 w 5359400"/>
              <a:gd name="connsiteY144" fmla="*/ 253873 h 5359400"/>
              <a:gd name="connsiteX145" fmla="*/ 1466215 w 5359400"/>
              <a:gd name="connsiteY145" fmla="*/ 9525 h 5359400"/>
              <a:gd name="connsiteX146" fmla="*/ 1417955 w 5359400"/>
              <a:gd name="connsiteY146" fmla="*/ 125857 h 5359400"/>
              <a:gd name="connsiteX147" fmla="*/ 1532255 w 5359400"/>
              <a:gd name="connsiteY147" fmla="*/ 370205 h 5359400"/>
              <a:gd name="connsiteX148" fmla="*/ 1743329 w 5359400"/>
              <a:gd name="connsiteY148" fmla="*/ 466725 h 5359400"/>
              <a:gd name="connsiteX149" fmla="*/ 1699641 w 5359400"/>
              <a:gd name="connsiteY149" fmla="*/ 606425 h 5359400"/>
              <a:gd name="connsiteX150" fmla="*/ 1836547 w 5359400"/>
              <a:gd name="connsiteY150" fmla="*/ 827532 h 5359400"/>
              <a:gd name="connsiteX151" fmla="*/ 1880108 w 5359400"/>
              <a:gd name="connsiteY151" fmla="*/ 687832 h 5359400"/>
              <a:gd name="connsiteX152" fmla="*/ 1379728 w 5359400"/>
              <a:gd name="connsiteY152" fmla="*/ 2200529 h 5359400"/>
              <a:gd name="connsiteX153" fmla="*/ 1430528 w 5359400"/>
              <a:gd name="connsiteY153" fmla="*/ 2095881 h 5359400"/>
              <a:gd name="connsiteX154" fmla="*/ 1327912 w 5359400"/>
              <a:gd name="connsiteY154" fmla="*/ 1839976 h 5359400"/>
              <a:gd name="connsiteX155" fmla="*/ 1277112 w 5359400"/>
              <a:gd name="connsiteY155" fmla="*/ 1944624 h 5359400"/>
              <a:gd name="connsiteX156" fmla="*/ 1730248 w 5359400"/>
              <a:gd name="connsiteY156" fmla="*/ 242189 h 5359400"/>
              <a:gd name="connsiteX157" fmla="*/ 1604772 w 5359400"/>
              <a:gd name="connsiteY157" fmla="*/ 9525 h 5359400"/>
              <a:gd name="connsiteX158" fmla="*/ 1558925 w 5359400"/>
              <a:gd name="connsiteY158" fmla="*/ 137541 h 5359400"/>
              <a:gd name="connsiteX159" fmla="*/ 1684401 w 5359400"/>
              <a:gd name="connsiteY159" fmla="*/ 370205 h 5359400"/>
              <a:gd name="connsiteX160" fmla="*/ 1742948 w 5359400"/>
              <a:gd name="connsiteY160" fmla="*/ 1382395 h 5359400"/>
              <a:gd name="connsiteX161" fmla="*/ 1699260 w 5359400"/>
              <a:gd name="connsiteY161" fmla="*/ 1522095 h 5359400"/>
              <a:gd name="connsiteX162" fmla="*/ 1836166 w 5359400"/>
              <a:gd name="connsiteY162" fmla="*/ 1743075 h 5359400"/>
              <a:gd name="connsiteX163" fmla="*/ 1879727 w 5359400"/>
              <a:gd name="connsiteY163" fmla="*/ 1603375 h 5359400"/>
              <a:gd name="connsiteX164" fmla="*/ 1430274 w 5359400"/>
              <a:gd name="connsiteY164" fmla="*/ 265430 h 5359400"/>
              <a:gd name="connsiteX165" fmla="*/ 1327658 w 5359400"/>
              <a:gd name="connsiteY165" fmla="*/ 9525 h 5359400"/>
              <a:gd name="connsiteX166" fmla="*/ 1276858 w 5359400"/>
              <a:gd name="connsiteY166" fmla="*/ 114173 h 5359400"/>
              <a:gd name="connsiteX167" fmla="*/ 1379474 w 5359400"/>
              <a:gd name="connsiteY167" fmla="*/ 370205 h 5359400"/>
              <a:gd name="connsiteX168" fmla="*/ 1743329 w 5359400"/>
              <a:gd name="connsiteY168" fmla="*/ 924687 h 5359400"/>
              <a:gd name="connsiteX169" fmla="*/ 1699641 w 5359400"/>
              <a:gd name="connsiteY169" fmla="*/ 1064387 h 5359400"/>
              <a:gd name="connsiteX170" fmla="*/ 1836547 w 5359400"/>
              <a:gd name="connsiteY170" fmla="*/ 1285367 h 5359400"/>
              <a:gd name="connsiteX171" fmla="*/ 1880108 w 5359400"/>
              <a:gd name="connsiteY171" fmla="*/ 1145667 h 5359400"/>
              <a:gd name="connsiteX172" fmla="*/ 1580261 w 5359400"/>
              <a:gd name="connsiteY172" fmla="*/ 2541905 h 5359400"/>
              <a:gd name="connsiteX173" fmla="*/ 1465961 w 5359400"/>
              <a:gd name="connsiteY173" fmla="*/ 2297557 h 5359400"/>
              <a:gd name="connsiteX174" fmla="*/ 1417701 w 5359400"/>
              <a:gd name="connsiteY174" fmla="*/ 2413889 h 5359400"/>
              <a:gd name="connsiteX175" fmla="*/ 1532001 w 5359400"/>
              <a:gd name="connsiteY175" fmla="*/ 2658237 h 5359400"/>
              <a:gd name="connsiteX176" fmla="*/ 1379728 w 5359400"/>
              <a:gd name="connsiteY176" fmla="*/ 2658237 h 5359400"/>
              <a:gd name="connsiteX177" fmla="*/ 1430528 w 5359400"/>
              <a:gd name="connsiteY177" fmla="*/ 2553462 h 5359400"/>
              <a:gd name="connsiteX178" fmla="*/ 1327912 w 5359400"/>
              <a:gd name="connsiteY178" fmla="*/ 2297557 h 5359400"/>
              <a:gd name="connsiteX179" fmla="*/ 1277112 w 5359400"/>
              <a:gd name="connsiteY179" fmla="*/ 2402205 h 5359400"/>
              <a:gd name="connsiteX180" fmla="*/ 1730248 w 5359400"/>
              <a:gd name="connsiteY180" fmla="*/ 2530221 h 5359400"/>
              <a:gd name="connsiteX181" fmla="*/ 1604772 w 5359400"/>
              <a:gd name="connsiteY181" fmla="*/ 2297557 h 5359400"/>
              <a:gd name="connsiteX182" fmla="*/ 1558925 w 5359400"/>
              <a:gd name="connsiteY182" fmla="*/ 2425573 h 5359400"/>
              <a:gd name="connsiteX183" fmla="*/ 1684401 w 5359400"/>
              <a:gd name="connsiteY183" fmla="*/ 2658237 h 5359400"/>
              <a:gd name="connsiteX184" fmla="*/ 1742948 w 5359400"/>
              <a:gd name="connsiteY184" fmla="*/ 1839976 h 5359400"/>
              <a:gd name="connsiteX185" fmla="*/ 1699260 w 5359400"/>
              <a:gd name="connsiteY185" fmla="*/ 1979676 h 5359400"/>
              <a:gd name="connsiteX186" fmla="*/ 1836166 w 5359400"/>
              <a:gd name="connsiteY186" fmla="*/ 2200656 h 5359400"/>
              <a:gd name="connsiteX187" fmla="*/ 1879727 w 5359400"/>
              <a:gd name="connsiteY187" fmla="*/ 2060956 h 5359400"/>
              <a:gd name="connsiteX188" fmla="*/ 1879727 w 5359400"/>
              <a:gd name="connsiteY188" fmla="*/ 2518537 h 5359400"/>
              <a:gd name="connsiteX189" fmla="*/ 1742948 w 5359400"/>
              <a:gd name="connsiteY189" fmla="*/ 2297557 h 5359400"/>
              <a:gd name="connsiteX190" fmla="*/ 1699260 w 5359400"/>
              <a:gd name="connsiteY190" fmla="*/ 2437257 h 5359400"/>
              <a:gd name="connsiteX191" fmla="*/ 1836166 w 5359400"/>
              <a:gd name="connsiteY191" fmla="*/ 2658364 h 5359400"/>
              <a:gd name="connsiteX192" fmla="*/ 291211 w 5359400"/>
              <a:gd name="connsiteY192" fmla="*/ 1405636 h 5359400"/>
              <a:gd name="connsiteX193" fmla="*/ 314325 w 5359400"/>
              <a:gd name="connsiteY193" fmla="*/ 1742948 h 5359400"/>
              <a:gd name="connsiteX194" fmla="*/ 380873 w 5359400"/>
              <a:gd name="connsiteY194" fmla="*/ 1719707 h 5359400"/>
              <a:gd name="connsiteX195" fmla="*/ 357886 w 5359400"/>
              <a:gd name="connsiteY195" fmla="*/ 1382395 h 5359400"/>
              <a:gd name="connsiteX196" fmla="*/ 995426 w 5359400"/>
              <a:gd name="connsiteY196" fmla="*/ 1463802 h 5359400"/>
              <a:gd name="connsiteX197" fmla="*/ 1075309 w 5359400"/>
              <a:gd name="connsiteY197" fmla="*/ 1743202 h 5359400"/>
              <a:gd name="connsiteX198" fmla="*/ 1130427 w 5359400"/>
              <a:gd name="connsiteY198" fmla="*/ 1661795 h 5359400"/>
              <a:gd name="connsiteX199" fmla="*/ 1050925 w 5359400"/>
              <a:gd name="connsiteY199" fmla="*/ 1382395 h 5359400"/>
              <a:gd name="connsiteX200" fmla="*/ 1136269 w 5359400"/>
              <a:gd name="connsiteY200" fmla="*/ 2848102 h 5359400"/>
              <a:gd name="connsiteX201" fmla="*/ 1227455 w 5359400"/>
              <a:gd name="connsiteY201" fmla="*/ 3115691 h 5359400"/>
              <a:gd name="connsiteX202" fmla="*/ 1280414 w 5359400"/>
              <a:gd name="connsiteY202" fmla="*/ 3022600 h 5359400"/>
              <a:gd name="connsiteX203" fmla="*/ 1189101 w 5359400"/>
              <a:gd name="connsiteY203" fmla="*/ 2755011 h 5359400"/>
              <a:gd name="connsiteX204" fmla="*/ 995426 w 5359400"/>
              <a:gd name="connsiteY204" fmla="*/ 1006602 h 5359400"/>
              <a:gd name="connsiteX205" fmla="*/ 1075309 w 5359400"/>
              <a:gd name="connsiteY205" fmla="*/ 1286002 h 5359400"/>
              <a:gd name="connsiteX206" fmla="*/ 1130427 w 5359400"/>
              <a:gd name="connsiteY206" fmla="*/ 1204595 h 5359400"/>
              <a:gd name="connsiteX207" fmla="*/ 1050925 w 5359400"/>
              <a:gd name="connsiteY207" fmla="*/ 924687 h 5359400"/>
              <a:gd name="connsiteX208" fmla="*/ 995426 w 5359400"/>
              <a:gd name="connsiteY208" fmla="*/ 2379345 h 5359400"/>
              <a:gd name="connsiteX209" fmla="*/ 1075309 w 5359400"/>
              <a:gd name="connsiteY209" fmla="*/ 2658745 h 5359400"/>
              <a:gd name="connsiteX210" fmla="*/ 1130427 w 5359400"/>
              <a:gd name="connsiteY210" fmla="*/ 2577211 h 5359400"/>
              <a:gd name="connsiteX211" fmla="*/ 1050544 w 5359400"/>
              <a:gd name="connsiteY211" fmla="*/ 2297811 h 5359400"/>
              <a:gd name="connsiteX212" fmla="*/ 995426 w 5359400"/>
              <a:gd name="connsiteY212" fmla="*/ 548894 h 5359400"/>
              <a:gd name="connsiteX213" fmla="*/ 1075309 w 5359400"/>
              <a:gd name="connsiteY213" fmla="*/ 828294 h 5359400"/>
              <a:gd name="connsiteX214" fmla="*/ 1130427 w 5359400"/>
              <a:gd name="connsiteY214" fmla="*/ 746125 h 5359400"/>
              <a:gd name="connsiteX215" fmla="*/ 1050925 w 5359400"/>
              <a:gd name="connsiteY215" fmla="*/ 466725 h 5359400"/>
              <a:gd name="connsiteX216" fmla="*/ 995426 w 5359400"/>
              <a:gd name="connsiteY216" fmla="*/ 91694 h 5359400"/>
              <a:gd name="connsiteX217" fmla="*/ 1075309 w 5359400"/>
              <a:gd name="connsiteY217" fmla="*/ 371094 h 5359400"/>
              <a:gd name="connsiteX218" fmla="*/ 1130427 w 5359400"/>
              <a:gd name="connsiteY218" fmla="*/ 288925 h 5359400"/>
              <a:gd name="connsiteX219" fmla="*/ 1050925 w 5359400"/>
              <a:gd name="connsiteY219" fmla="*/ 9525 h 5359400"/>
              <a:gd name="connsiteX220" fmla="*/ 995426 w 5359400"/>
              <a:gd name="connsiteY220" fmla="*/ 1922145 h 5359400"/>
              <a:gd name="connsiteX221" fmla="*/ 1075309 w 5359400"/>
              <a:gd name="connsiteY221" fmla="*/ 2201545 h 5359400"/>
              <a:gd name="connsiteX222" fmla="*/ 1130427 w 5359400"/>
              <a:gd name="connsiteY222" fmla="*/ 2120138 h 5359400"/>
              <a:gd name="connsiteX223" fmla="*/ 1050544 w 5359400"/>
              <a:gd name="connsiteY223" fmla="*/ 1840738 h 5359400"/>
              <a:gd name="connsiteX224" fmla="*/ 854583 w 5359400"/>
              <a:gd name="connsiteY224" fmla="*/ 1452118 h 5359400"/>
              <a:gd name="connsiteX225" fmla="*/ 923036 w 5359400"/>
              <a:gd name="connsiteY225" fmla="*/ 1742948 h 5359400"/>
              <a:gd name="connsiteX226" fmla="*/ 980440 w 5359400"/>
              <a:gd name="connsiteY226" fmla="*/ 1673225 h 5359400"/>
              <a:gd name="connsiteX227" fmla="*/ 911987 w 5359400"/>
              <a:gd name="connsiteY227" fmla="*/ 1382395 h 5359400"/>
              <a:gd name="connsiteX228" fmla="*/ 854583 w 5359400"/>
              <a:gd name="connsiteY228" fmla="*/ 994918 h 5359400"/>
              <a:gd name="connsiteX229" fmla="*/ 923036 w 5359400"/>
              <a:gd name="connsiteY229" fmla="*/ 1285748 h 5359400"/>
              <a:gd name="connsiteX230" fmla="*/ 980440 w 5359400"/>
              <a:gd name="connsiteY230" fmla="*/ 1216025 h 5359400"/>
              <a:gd name="connsiteX231" fmla="*/ 911987 w 5359400"/>
              <a:gd name="connsiteY231" fmla="*/ 925195 h 5359400"/>
              <a:gd name="connsiteX232" fmla="*/ 854583 w 5359400"/>
              <a:gd name="connsiteY232" fmla="*/ 79756 h 5359400"/>
              <a:gd name="connsiteX233" fmla="*/ 923036 w 5359400"/>
              <a:gd name="connsiteY233" fmla="*/ 370586 h 5359400"/>
              <a:gd name="connsiteX234" fmla="*/ 980440 w 5359400"/>
              <a:gd name="connsiteY234" fmla="*/ 300736 h 5359400"/>
              <a:gd name="connsiteX235" fmla="*/ 911987 w 5359400"/>
              <a:gd name="connsiteY235" fmla="*/ 9525 h 5359400"/>
              <a:gd name="connsiteX236" fmla="*/ 854583 w 5359400"/>
              <a:gd name="connsiteY236" fmla="*/ 536956 h 5359400"/>
              <a:gd name="connsiteX237" fmla="*/ 923036 w 5359400"/>
              <a:gd name="connsiteY237" fmla="*/ 827786 h 5359400"/>
              <a:gd name="connsiteX238" fmla="*/ 980440 w 5359400"/>
              <a:gd name="connsiteY238" fmla="*/ 757936 h 5359400"/>
              <a:gd name="connsiteX239" fmla="*/ 911987 w 5359400"/>
              <a:gd name="connsiteY239" fmla="*/ 466725 h 5359400"/>
              <a:gd name="connsiteX240" fmla="*/ 995426 w 5359400"/>
              <a:gd name="connsiteY240" fmla="*/ 2836545 h 5359400"/>
              <a:gd name="connsiteX241" fmla="*/ 1075309 w 5359400"/>
              <a:gd name="connsiteY241" fmla="*/ 3115945 h 5359400"/>
              <a:gd name="connsiteX242" fmla="*/ 1130427 w 5359400"/>
              <a:gd name="connsiteY242" fmla="*/ 3034538 h 5359400"/>
              <a:gd name="connsiteX243" fmla="*/ 1050544 w 5359400"/>
              <a:gd name="connsiteY243" fmla="*/ 2755138 h 5359400"/>
              <a:gd name="connsiteX244" fmla="*/ 1558925 w 5359400"/>
              <a:gd name="connsiteY244" fmla="*/ 2883154 h 5359400"/>
              <a:gd name="connsiteX245" fmla="*/ 1684401 w 5359400"/>
              <a:gd name="connsiteY245" fmla="*/ 3115818 h 5359400"/>
              <a:gd name="connsiteX246" fmla="*/ 1730375 w 5359400"/>
              <a:gd name="connsiteY246" fmla="*/ 2987802 h 5359400"/>
              <a:gd name="connsiteX247" fmla="*/ 1604899 w 5359400"/>
              <a:gd name="connsiteY247" fmla="*/ 2755138 h 5359400"/>
              <a:gd name="connsiteX248" fmla="*/ 4375785 w 5359400"/>
              <a:gd name="connsiteY248" fmla="*/ 1387094 h 5359400"/>
              <a:gd name="connsiteX249" fmla="*/ 4237228 w 5359400"/>
              <a:gd name="connsiteY249" fmla="*/ 1382395 h 5359400"/>
              <a:gd name="connsiteX250" fmla="*/ 4237228 w 5359400"/>
              <a:gd name="connsiteY250" fmla="*/ 1392047 h 5359400"/>
              <a:gd name="connsiteX251" fmla="*/ 4098925 w 5359400"/>
              <a:gd name="connsiteY251" fmla="*/ 1382395 h 5359400"/>
              <a:gd name="connsiteX252" fmla="*/ 4098925 w 5359400"/>
              <a:gd name="connsiteY252" fmla="*/ 1397508 h 5359400"/>
              <a:gd name="connsiteX253" fmla="*/ 3960622 w 5359400"/>
              <a:gd name="connsiteY253" fmla="*/ 1382395 h 5359400"/>
              <a:gd name="connsiteX254" fmla="*/ 3960622 w 5359400"/>
              <a:gd name="connsiteY254" fmla="*/ 1403223 h 5359400"/>
              <a:gd name="connsiteX255" fmla="*/ 3822573 w 5359400"/>
              <a:gd name="connsiteY255" fmla="*/ 1382395 h 5359400"/>
              <a:gd name="connsiteX256" fmla="*/ 3821811 w 5359400"/>
              <a:gd name="connsiteY256" fmla="*/ 1409319 h 5359400"/>
              <a:gd name="connsiteX257" fmla="*/ 3684016 w 5359400"/>
              <a:gd name="connsiteY257" fmla="*/ 1382395 h 5359400"/>
              <a:gd name="connsiteX258" fmla="*/ 3682746 w 5359400"/>
              <a:gd name="connsiteY258" fmla="*/ 1415923 h 5359400"/>
              <a:gd name="connsiteX259" fmla="*/ 3545459 w 5359400"/>
              <a:gd name="connsiteY259" fmla="*/ 1382395 h 5359400"/>
              <a:gd name="connsiteX260" fmla="*/ 3543554 w 5359400"/>
              <a:gd name="connsiteY260" fmla="*/ 1423035 h 5359400"/>
              <a:gd name="connsiteX261" fmla="*/ 3406902 w 5359400"/>
              <a:gd name="connsiteY261" fmla="*/ 1382395 h 5359400"/>
              <a:gd name="connsiteX262" fmla="*/ 3404108 w 5359400"/>
              <a:gd name="connsiteY262" fmla="*/ 1430528 h 5359400"/>
              <a:gd name="connsiteX263" fmla="*/ 3268345 w 5359400"/>
              <a:gd name="connsiteY263" fmla="*/ 1382395 h 5359400"/>
              <a:gd name="connsiteX264" fmla="*/ 3264535 w 5359400"/>
              <a:gd name="connsiteY264" fmla="*/ 1438529 h 5359400"/>
              <a:gd name="connsiteX265" fmla="*/ 3129788 w 5359400"/>
              <a:gd name="connsiteY265" fmla="*/ 1382395 h 5359400"/>
              <a:gd name="connsiteX266" fmla="*/ 3124581 w 5359400"/>
              <a:gd name="connsiteY266" fmla="*/ 1447165 h 5359400"/>
              <a:gd name="connsiteX267" fmla="*/ 2991231 w 5359400"/>
              <a:gd name="connsiteY267" fmla="*/ 1382395 h 5359400"/>
              <a:gd name="connsiteX268" fmla="*/ 2984373 w 5359400"/>
              <a:gd name="connsiteY268" fmla="*/ 1456182 h 5359400"/>
              <a:gd name="connsiteX269" fmla="*/ 2852674 w 5359400"/>
              <a:gd name="connsiteY269" fmla="*/ 1382395 h 5359400"/>
              <a:gd name="connsiteX270" fmla="*/ 2843657 w 5359400"/>
              <a:gd name="connsiteY270" fmla="*/ 1465834 h 5359400"/>
              <a:gd name="connsiteX271" fmla="*/ 2714244 w 5359400"/>
              <a:gd name="connsiteY271" fmla="*/ 1382395 h 5359400"/>
              <a:gd name="connsiteX272" fmla="*/ 2702560 w 5359400"/>
              <a:gd name="connsiteY272" fmla="*/ 1475867 h 5359400"/>
              <a:gd name="connsiteX273" fmla="*/ 2575560 w 5359400"/>
              <a:gd name="connsiteY273" fmla="*/ 1382395 h 5359400"/>
              <a:gd name="connsiteX274" fmla="*/ 2560701 w 5359400"/>
              <a:gd name="connsiteY274" fmla="*/ 1486281 h 5359400"/>
              <a:gd name="connsiteX275" fmla="*/ 2437003 w 5359400"/>
              <a:gd name="connsiteY275" fmla="*/ 1382395 h 5359400"/>
              <a:gd name="connsiteX276" fmla="*/ 2418334 w 5359400"/>
              <a:gd name="connsiteY276" fmla="*/ 1496695 h 5359400"/>
              <a:gd name="connsiteX277" fmla="*/ 2298446 w 5359400"/>
              <a:gd name="connsiteY277" fmla="*/ 1382395 h 5359400"/>
              <a:gd name="connsiteX278" fmla="*/ 2274316 w 5359400"/>
              <a:gd name="connsiteY278" fmla="*/ 1508125 h 5359400"/>
              <a:gd name="connsiteX279" fmla="*/ 2159000 w 5359400"/>
              <a:gd name="connsiteY279" fmla="*/ 1382649 h 5359400"/>
              <a:gd name="connsiteX280" fmla="*/ 2130425 w 5359400"/>
              <a:gd name="connsiteY280" fmla="*/ 1518412 h 5359400"/>
              <a:gd name="connsiteX281" fmla="*/ 2020570 w 5359400"/>
              <a:gd name="connsiteY281" fmla="*/ 1382395 h 5359400"/>
              <a:gd name="connsiteX282" fmla="*/ 1985518 w 5359400"/>
              <a:gd name="connsiteY282" fmla="*/ 1528572 h 5359400"/>
              <a:gd name="connsiteX283" fmla="*/ 1882013 w 5359400"/>
              <a:gd name="connsiteY283" fmla="*/ 1382395 h 5359400"/>
              <a:gd name="connsiteX284" fmla="*/ 1840484 w 5359400"/>
              <a:gd name="connsiteY284" fmla="*/ 1533525 h 5359400"/>
              <a:gd name="connsiteX285" fmla="*/ 1988693 w 5359400"/>
              <a:gd name="connsiteY285" fmla="*/ 1742948 h 5359400"/>
              <a:gd name="connsiteX286" fmla="*/ 2026793 w 5359400"/>
              <a:gd name="connsiteY286" fmla="*/ 1602105 h 5359400"/>
              <a:gd name="connsiteX287" fmla="*/ 2141093 w 5359400"/>
              <a:gd name="connsiteY287" fmla="*/ 1742948 h 5359400"/>
              <a:gd name="connsiteX288" fmla="*/ 2172589 w 5359400"/>
              <a:gd name="connsiteY288" fmla="*/ 1611630 h 5359400"/>
              <a:gd name="connsiteX289" fmla="*/ 2293366 w 5359400"/>
              <a:gd name="connsiteY289" fmla="*/ 1742948 h 5359400"/>
              <a:gd name="connsiteX290" fmla="*/ 2318766 w 5359400"/>
              <a:gd name="connsiteY290" fmla="*/ 1621790 h 5359400"/>
              <a:gd name="connsiteX291" fmla="*/ 2445766 w 5359400"/>
              <a:gd name="connsiteY291" fmla="*/ 1742948 h 5359400"/>
              <a:gd name="connsiteX292" fmla="*/ 2466213 w 5359400"/>
              <a:gd name="connsiteY292" fmla="*/ 1632331 h 5359400"/>
              <a:gd name="connsiteX293" fmla="*/ 2597912 w 5359400"/>
              <a:gd name="connsiteY293" fmla="*/ 1742948 h 5359400"/>
              <a:gd name="connsiteX294" fmla="*/ 2614295 w 5359400"/>
              <a:gd name="connsiteY294" fmla="*/ 1642745 h 5359400"/>
              <a:gd name="connsiteX295" fmla="*/ 2750185 w 5359400"/>
              <a:gd name="connsiteY295" fmla="*/ 1742948 h 5359400"/>
              <a:gd name="connsiteX296" fmla="*/ 2762885 w 5359400"/>
              <a:gd name="connsiteY296" fmla="*/ 1653159 h 5359400"/>
              <a:gd name="connsiteX297" fmla="*/ 2902585 w 5359400"/>
              <a:gd name="connsiteY297" fmla="*/ 1742948 h 5359400"/>
              <a:gd name="connsiteX298" fmla="*/ 2912491 w 5359400"/>
              <a:gd name="connsiteY298" fmla="*/ 1663192 h 5359400"/>
              <a:gd name="connsiteX299" fmla="*/ 3054858 w 5359400"/>
              <a:gd name="connsiteY299" fmla="*/ 1742948 h 5359400"/>
              <a:gd name="connsiteX300" fmla="*/ 3062478 w 5359400"/>
              <a:gd name="connsiteY300" fmla="*/ 1672717 h 5359400"/>
              <a:gd name="connsiteX301" fmla="*/ 3207131 w 5359400"/>
              <a:gd name="connsiteY301" fmla="*/ 1742948 h 5359400"/>
              <a:gd name="connsiteX302" fmla="*/ 3212846 w 5359400"/>
              <a:gd name="connsiteY302" fmla="*/ 1681861 h 5359400"/>
              <a:gd name="connsiteX303" fmla="*/ 3359277 w 5359400"/>
              <a:gd name="connsiteY303" fmla="*/ 1742948 h 5359400"/>
              <a:gd name="connsiteX304" fmla="*/ 3363595 w 5359400"/>
              <a:gd name="connsiteY304" fmla="*/ 1690497 h 5359400"/>
              <a:gd name="connsiteX305" fmla="*/ 3511550 w 5359400"/>
              <a:gd name="connsiteY305" fmla="*/ 1742948 h 5359400"/>
              <a:gd name="connsiteX306" fmla="*/ 3514725 w 5359400"/>
              <a:gd name="connsiteY306" fmla="*/ 1698625 h 5359400"/>
              <a:gd name="connsiteX307" fmla="*/ 3663950 w 5359400"/>
              <a:gd name="connsiteY307" fmla="*/ 1742948 h 5359400"/>
              <a:gd name="connsiteX308" fmla="*/ 3666109 w 5359400"/>
              <a:gd name="connsiteY308" fmla="*/ 1706245 h 5359400"/>
              <a:gd name="connsiteX309" fmla="*/ 3816223 w 5359400"/>
              <a:gd name="connsiteY309" fmla="*/ 1742948 h 5359400"/>
              <a:gd name="connsiteX310" fmla="*/ 3817620 w 5359400"/>
              <a:gd name="connsiteY310" fmla="*/ 1713357 h 5359400"/>
              <a:gd name="connsiteX311" fmla="*/ 3968496 w 5359400"/>
              <a:gd name="connsiteY311" fmla="*/ 1742948 h 5359400"/>
              <a:gd name="connsiteX312" fmla="*/ 3969258 w 5359400"/>
              <a:gd name="connsiteY312" fmla="*/ 1720088 h 5359400"/>
              <a:gd name="connsiteX313" fmla="*/ 4120642 w 5359400"/>
              <a:gd name="connsiteY313" fmla="*/ 1742948 h 5359400"/>
              <a:gd name="connsiteX314" fmla="*/ 4120642 w 5359400"/>
              <a:gd name="connsiteY314" fmla="*/ 1726438 h 5359400"/>
              <a:gd name="connsiteX315" fmla="*/ 4273042 w 5359400"/>
              <a:gd name="connsiteY315" fmla="*/ 1742948 h 5359400"/>
              <a:gd name="connsiteX316" fmla="*/ 4273042 w 5359400"/>
              <a:gd name="connsiteY316" fmla="*/ 1732661 h 5359400"/>
              <a:gd name="connsiteX317" fmla="*/ 4282694 w 5359400"/>
              <a:gd name="connsiteY317" fmla="*/ 1732661 h 5359400"/>
              <a:gd name="connsiteX318" fmla="*/ 4376166 w 5359400"/>
              <a:gd name="connsiteY318" fmla="*/ 1739265 h 5359400"/>
              <a:gd name="connsiteX319" fmla="*/ 4376166 w 5359400"/>
              <a:gd name="connsiteY319" fmla="*/ 1742694 h 5359400"/>
              <a:gd name="connsiteX320" fmla="*/ 5360289 w 5359400"/>
              <a:gd name="connsiteY320" fmla="*/ 1742694 h 5359400"/>
              <a:gd name="connsiteX321" fmla="*/ 5360289 w 5359400"/>
              <a:gd name="connsiteY321" fmla="*/ 1382395 h 5359400"/>
              <a:gd name="connsiteX322" fmla="*/ 4375785 w 5359400"/>
              <a:gd name="connsiteY322" fmla="*/ 1382395 h 5359400"/>
              <a:gd name="connsiteX323" fmla="*/ 4375785 w 5359400"/>
              <a:gd name="connsiteY323" fmla="*/ 1844294 h 5359400"/>
              <a:gd name="connsiteX324" fmla="*/ 4237228 w 5359400"/>
              <a:gd name="connsiteY324" fmla="*/ 1839595 h 5359400"/>
              <a:gd name="connsiteX325" fmla="*/ 4237228 w 5359400"/>
              <a:gd name="connsiteY325" fmla="*/ 1849247 h 5359400"/>
              <a:gd name="connsiteX326" fmla="*/ 4098798 w 5359400"/>
              <a:gd name="connsiteY326" fmla="*/ 1839595 h 5359400"/>
              <a:gd name="connsiteX327" fmla="*/ 4098798 w 5359400"/>
              <a:gd name="connsiteY327" fmla="*/ 1854708 h 5359400"/>
              <a:gd name="connsiteX328" fmla="*/ 3960495 w 5359400"/>
              <a:gd name="connsiteY328" fmla="*/ 1839595 h 5359400"/>
              <a:gd name="connsiteX329" fmla="*/ 3960495 w 5359400"/>
              <a:gd name="connsiteY329" fmla="*/ 1860423 h 5359400"/>
              <a:gd name="connsiteX330" fmla="*/ 3822446 w 5359400"/>
              <a:gd name="connsiteY330" fmla="*/ 1839595 h 5359400"/>
              <a:gd name="connsiteX331" fmla="*/ 3821684 w 5359400"/>
              <a:gd name="connsiteY331" fmla="*/ 1866646 h 5359400"/>
              <a:gd name="connsiteX332" fmla="*/ 3683889 w 5359400"/>
              <a:gd name="connsiteY332" fmla="*/ 1839595 h 5359400"/>
              <a:gd name="connsiteX333" fmla="*/ 3682619 w 5359400"/>
              <a:gd name="connsiteY333" fmla="*/ 1873123 h 5359400"/>
              <a:gd name="connsiteX334" fmla="*/ 3545332 w 5359400"/>
              <a:gd name="connsiteY334" fmla="*/ 1839595 h 5359400"/>
              <a:gd name="connsiteX335" fmla="*/ 3543427 w 5359400"/>
              <a:gd name="connsiteY335" fmla="*/ 1880235 h 5359400"/>
              <a:gd name="connsiteX336" fmla="*/ 3406775 w 5359400"/>
              <a:gd name="connsiteY336" fmla="*/ 1839595 h 5359400"/>
              <a:gd name="connsiteX337" fmla="*/ 3403981 w 5359400"/>
              <a:gd name="connsiteY337" fmla="*/ 1887728 h 5359400"/>
              <a:gd name="connsiteX338" fmla="*/ 3268218 w 5359400"/>
              <a:gd name="connsiteY338" fmla="*/ 1839595 h 5359400"/>
              <a:gd name="connsiteX339" fmla="*/ 3264408 w 5359400"/>
              <a:gd name="connsiteY339" fmla="*/ 1895729 h 5359400"/>
              <a:gd name="connsiteX340" fmla="*/ 3129661 w 5359400"/>
              <a:gd name="connsiteY340" fmla="*/ 1839595 h 5359400"/>
              <a:gd name="connsiteX341" fmla="*/ 3124454 w 5359400"/>
              <a:gd name="connsiteY341" fmla="*/ 1904365 h 5359400"/>
              <a:gd name="connsiteX342" fmla="*/ 2991104 w 5359400"/>
              <a:gd name="connsiteY342" fmla="*/ 1839595 h 5359400"/>
              <a:gd name="connsiteX343" fmla="*/ 2984246 w 5359400"/>
              <a:gd name="connsiteY343" fmla="*/ 1913382 h 5359400"/>
              <a:gd name="connsiteX344" fmla="*/ 2852547 w 5359400"/>
              <a:gd name="connsiteY344" fmla="*/ 1839595 h 5359400"/>
              <a:gd name="connsiteX345" fmla="*/ 2843530 w 5359400"/>
              <a:gd name="connsiteY345" fmla="*/ 1923034 h 5359400"/>
              <a:gd name="connsiteX346" fmla="*/ 2714117 w 5359400"/>
              <a:gd name="connsiteY346" fmla="*/ 1839595 h 5359400"/>
              <a:gd name="connsiteX347" fmla="*/ 2702433 w 5359400"/>
              <a:gd name="connsiteY347" fmla="*/ 1933067 h 5359400"/>
              <a:gd name="connsiteX348" fmla="*/ 2575433 w 5359400"/>
              <a:gd name="connsiteY348" fmla="*/ 1839595 h 5359400"/>
              <a:gd name="connsiteX349" fmla="*/ 2560574 w 5359400"/>
              <a:gd name="connsiteY349" fmla="*/ 1943481 h 5359400"/>
              <a:gd name="connsiteX350" fmla="*/ 2436876 w 5359400"/>
              <a:gd name="connsiteY350" fmla="*/ 1839595 h 5359400"/>
              <a:gd name="connsiteX351" fmla="*/ 2418207 w 5359400"/>
              <a:gd name="connsiteY351" fmla="*/ 1953895 h 5359400"/>
              <a:gd name="connsiteX352" fmla="*/ 2298319 w 5359400"/>
              <a:gd name="connsiteY352" fmla="*/ 1839595 h 5359400"/>
              <a:gd name="connsiteX353" fmla="*/ 2274316 w 5359400"/>
              <a:gd name="connsiteY353" fmla="*/ 1965325 h 5359400"/>
              <a:gd name="connsiteX354" fmla="*/ 2159000 w 5359400"/>
              <a:gd name="connsiteY354" fmla="*/ 1839849 h 5359400"/>
              <a:gd name="connsiteX355" fmla="*/ 2130425 w 5359400"/>
              <a:gd name="connsiteY355" fmla="*/ 1976120 h 5359400"/>
              <a:gd name="connsiteX356" fmla="*/ 2020570 w 5359400"/>
              <a:gd name="connsiteY356" fmla="*/ 1839976 h 5359400"/>
              <a:gd name="connsiteX357" fmla="*/ 1985518 w 5359400"/>
              <a:gd name="connsiteY357" fmla="*/ 1986153 h 5359400"/>
              <a:gd name="connsiteX358" fmla="*/ 1882013 w 5359400"/>
              <a:gd name="connsiteY358" fmla="*/ 1839976 h 5359400"/>
              <a:gd name="connsiteX359" fmla="*/ 1840484 w 5359400"/>
              <a:gd name="connsiteY359" fmla="*/ 1990725 h 5359400"/>
              <a:gd name="connsiteX360" fmla="*/ 1988693 w 5359400"/>
              <a:gd name="connsiteY360" fmla="*/ 2200021 h 5359400"/>
              <a:gd name="connsiteX361" fmla="*/ 2026793 w 5359400"/>
              <a:gd name="connsiteY361" fmla="*/ 2059178 h 5359400"/>
              <a:gd name="connsiteX362" fmla="*/ 2141093 w 5359400"/>
              <a:gd name="connsiteY362" fmla="*/ 2200021 h 5359400"/>
              <a:gd name="connsiteX363" fmla="*/ 2172589 w 5359400"/>
              <a:gd name="connsiteY363" fmla="*/ 2068703 h 5359400"/>
              <a:gd name="connsiteX364" fmla="*/ 2293366 w 5359400"/>
              <a:gd name="connsiteY364" fmla="*/ 2200021 h 5359400"/>
              <a:gd name="connsiteX365" fmla="*/ 2318766 w 5359400"/>
              <a:gd name="connsiteY365" fmla="*/ 2078863 h 5359400"/>
              <a:gd name="connsiteX366" fmla="*/ 2445766 w 5359400"/>
              <a:gd name="connsiteY366" fmla="*/ 2200021 h 5359400"/>
              <a:gd name="connsiteX367" fmla="*/ 2466213 w 5359400"/>
              <a:gd name="connsiteY367" fmla="*/ 2089404 h 5359400"/>
              <a:gd name="connsiteX368" fmla="*/ 2597912 w 5359400"/>
              <a:gd name="connsiteY368" fmla="*/ 2200021 h 5359400"/>
              <a:gd name="connsiteX369" fmla="*/ 2614295 w 5359400"/>
              <a:gd name="connsiteY369" fmla="*/ 2099945 h 5359400"/>
              <a:gd name="connsiteX370" fmla="*/ 2750185 w 5359400"/>
              <a:gd name="connsiteY370" fmla="*/ 2200021 h 5359400"/>
              <a:gd name="connsiteX371" fmla="*/ 2762885 w 5359400"/>
              <a:gd name="connsiteY371" fmla="*/ 2110232 h 5359400"/>
              <a:gd name="connsiteX372" fmla="*/ 2902585 w 5359400"/>
              <a:gd name="connsiteY372" fmla="*/ 2200021 h 5359400"/>
              <a:gd name="connsiteX373" fmla="*/ 2912491 w 5359400"/>
              <a:gd name="connsiteY373" fmla="*/ 2120265 h 5359400"/>
              <a:gd name="connsiteX374" fmla="*/ 3054858 w 5359400"/>
              <a:gd name="connsiteY374" fmla="*/ 2200021 h 5359400"/>
              <a:gd name="connsiteX375" fmla="*/ 3062478 w 5359400"/>
              <a:gd name="connsiteY375" fmla="*/ 2129790 h 5359400"/>
              <a:gd name="connsiteX376" fmla="*/ 3207131 w 5359400"/>
              <a:gd name="connsiteY376" fmla="*/ 2200021 h 5359400"/>
              <a:gd name="connsiteX377" fmla="*/ 3212846 w 5359400"/>
              <a:gd name="connsiteY377" fmla="*/ 2138934 h 5359400"/>
              <a:gd name="connsiteX378" fmla="*/ 3359277 w 5359400"/>
              <a:gd name="connsiteY378" fmla="*/ 2200021 h 5359400"/>
              <a:gd name="connsiteX379" fmla="*/ 3363595 w 5359400"/>
              <a:gd name="connsiteY379" fmla="*/ 2147570 h 5359400"/>
              <a:gd name="connsiteX380" fmla="*/ 3511550 w 5359400"/>
              <a:gd name="connsiteY380" fmla="*/ 2200021 h 5359400"/>
              <a:gd name="connsiteX381" fmla="*/ 3514725 w 5359400"/>
              <a:gd name="connsiteY381" fmla="*/ 2155825 h 5359400"/>
              <a:gd name="connsiteX382" fmla="*/ 3663950 w 5359400"/>
              <a:gd name="connsiteY382" fmla="*/ 2200148 h 5359400"/>
              <a:gd name="connsiteX383" fmla="*/ 3666109 w 5359400"/>
              <a:gd name="connsiteY383" fmla="*/ 2163445 h 5359400"/>
              <a:gd name="connsiteX384" fmla="*/ 3816223 w 5359400"/>
              <a:gd name="connsiteY384" fmla="*/ 2200148 h 5359400"/>
              <a:gd name="connsiteX385" fmla="*/ 3817620 w 5359400"/>
              <a:gd name="connsiteY385" fmla="*/ 2170557 h 5359400"/>
              <a:gd name="connsiteX386" fmla="*/ 3968496 w 5359400"/>
              <a:gd name="connsiteY386" fmla="*/ 2200148 h 5359400"/>
              <a:gd name="connsiteX387" fmla="*/ 3969258 w 5359400"/>
              <a:gd name="connsiteY387" fmla="*/ 2177288 h 5359400"/>
              <a:gd name="connsiteX388" fmla="*/ 4120642 w 5359400"/>
              <a:gd name="connsiteY388" fmla="*/ 2200148 h 5359400"/>
              <a:gd name="connsiteX389" fmla="*/ 4120642 w 5359400"/>
              <a:gd name="connsiteY389" fmla="*/ 2183638 h 5359400"/>
              <a:gd name="connsiteX390" fmla="*/ 4273042 w 5359400"/>
              <a:gd name="connsiteY390" fmla="*/ 2200148 h 5359400"/>
              <a:gd name="connsiteX391" fmla="*/ 4273042 w 5359400"/>
              <a:gd name="connsiteY391" fmla="*/ 2189861 h 5359400"/>
              <a:gd name="connsiteX392" fmla="*/ 4282694 w 5359400"/>
              <a:gd name="connsiteY392" fmla="*/ 2189861 h 5359400"/>
              <a:gd name="connsiteX393" fmla="*/ 4376166 w 5359400"/>
              <a:gd name="connsiteY393" fmla="*/ 2196338 h 5359400"/>
              <a:gd name="connsiteX394" fmla="*/ 4376166 w 5359400"/>
              <a:gd name="connsiteY394" fmla="*/ 2199767 h 5359400"/>
              <a:gd name="connsiteX395" fmla="*/ 5360289 w 5359400"/>
              <a:gd name="connsiteY395" fmla="*/ 2199767 h 5359400"/>
              <a:gd name="connsiteX396" fmla="*/ 5360289 w 5359400"/>
              <a:gd name="connsiteY396" fmla="*/ 1839976 h 5359400"/>
              <a:gd name="connsiteX397" fmla="*/ 4375785 w 5359400"/>
              <a:gd name="connsiteY397" fmla="*/ 1839976 h 5359400"/>
              <a:gd name="connsiteX398" fmla="*/ 4375785 w 5359400"/>
              <a:gd name="connsiteY398" fmla="*/ 929005 h 5359400"/>
              <a:gd name="connsiteX399" fmla="*/ 4237228 w 5359400"/>
              <a:gd name="connsiteY399" fmla="*/ 924306 h 5359400"/>
              <a:gd name="connsiteX400" fmla="*/ 4237228 w 5359400"/>
              <a:gd name="connsiteY400" fmla="*/ 934085 h 5359400"/>
              <a:gd name="connsiteX401" fmla="*/ 4098925 w 5359400"/>
              <a:gd name="connsiteY401" fmla="*/ 924687 h 5359400"/>
              <a:gd name="connsiteX402" fmla="*/ 4098925 w 5359400"/>
              <a:gd name="connsiteY402" fmla="*/ 939800 h 5359400"/>
              <a:gd name="connsiteX403" fmla="*/ 3960622 w 5359400"/>
              <a:gd name="connsiteY403" fmla="*/ 924687 h 5359400"/>
              <a:gd name="connsiteX404" fmla="*/ 3960622 w 5359400"/>
              <a:gd name="connsiteY404" fmla="*/ 945642 h 5359400"/>
              <a:gd name="connsiteX405" fmla="*/ 3822573 w 5359400"/>
              <a:gd name="connsiteY405" fmla="*/ 924687 h 5359400"/>
              <a:gd name="connsiteX406" fmla="*/ 3821811 w 5359400"/>
              <a:gd name="connsiteY406" fmla="*/ 951738 h 5359400"/>
              <a:gd name="connsiteX407" fmla="*/ 3684016 w 5359400"/>
              <a:gd name="connsiteY407" fmla="*/ 924687 h 5359400"/>
              <a:gd name="connsiteX408" fmla="*/ 3682746 w 5359400"/>
              <a:gd name="connsiteY408" fmla="*/ 958342 h 5359400"/>
              <a:gd name="connsiteX409" fmla="*/ 3545459 w 5359400"/>
              <a:gd name="connsiteY409" fmla="*/ 924687 h 5359400"/>
              <a:gd name="connsiteX410" fmla="*/ 3543554 w 5359400"/>
              <a:gd name="connsiteY410" fmla="*/ 965454 h 5359400"/>
              <a:gd name="connsiteX411" fmla="*/ 3406902 w 5359400"/>
              <a:gd name="connsiteY411" fmla="*/ 924687 h 5359400"/>
              <a:gd name="connsiteX412" fmla="*/ 3404108 w 5359400"/>
              <a:gd name="connsiteY412" fmla="*/ 972947 h 5359400"/>
              <a:gd name="connsiteX413" fmla="*/ 3268345 w 5359400"/>
              <a:gd name="connsiteY413" fmla="*/ 924687 h 5359400"/>
              <a:gd name="connsiteX414" fmla="*/ 3264535 w 5359400"/>
              <a:gd name="connsiteY414" fmla="*/ 980948 h 5359400"/>
              <a:gd name="connsiteX415" fmla="*/ 3129788 w 5359400"/>
              <a:gd name="connsiteY415" fmla="*/ 924687 h 5359400"/>
              <a:gd name="connsiteX416" fmla="*/ 3124581 w 5359400"/>
              <a:gd name="connsiteY416" fmla="*/ 989457 h 5359400"/>
              <a:gd name="connsiteX417" fmla="*/ 2991231 w 5359400"/>
              <a:gd name="connsiteY417" fmla="*/ 924687 h 5359400"/>
              <a:gd name="connsiteX418" fmla="*/ 2984373 w 5359400"/>
              <a:gd name="connsiteY418" fmla="*/ 998601 h 5359400"/>
              <a:gd name="connsiteX419" fmla="*/ 2852674 w 5359400"/>
              <a:gd name="connsiteY419" fmla="*/ 924687 h 5359400"/>
              <a:gd name="connsiteX420" fmla="*/ 2843657 w 5359400"/>
              <a:gd name="connsiteY420" fmla="*/ 1008126 h 5359400"/>
              <a:gd name="connsiteX421" fmla="*/ 2714244 w 5359400"/>
              <a:gd name="connsiteY421" fmla="*/ 924687 h 5359400"/>
              <a:gd name="connsiteX422" fmla="*/ 2701925 w 5359400"/>
              <a:gd name="connsiteY422" fmla="*/ 1018286 h 5359400"/>
              <a:gd name="connsiteX423" fmla="*/ 2574925 w 5359400"/>
              <a:gd name="connsiteY423" fmla="*/ 924687 h 5359400"/>
              <a:gd name="connsiteX424" fmla="*/ 2560066 w 5359400"/>
              <a:gd name="connsiteY424" fmla="*/ 1028700 h 5359400"/>
              <a:gd name="connsiteX425" fmla="*/ 2436368 w 5359400"/>
              <a:gd name="connsiteY425" fmla="*/ 924687 h 5359400"/>
              <a:gd name="connsiteX426" fmla="*/ 2417699 w 5359400"/>
              <a:gd name="connsiteY426" fmla="*/ 1038987 h 5359400"/>
              <a:gd name="connsiteX427" fmla="*/ 2297811 w 5359400"/>
              <a:gd name="connsiteY427" fmla="*/ 924687 h 5359400"/>
              <a:gd name="connsiteX428" fmla="*/ 2274316 w 5359400"/>
              <a:gd name="connsiteY428" fmla="*/ 1050925 h 5359400"/>
              <a:gd name="connsiteX429" fmla="*/ 2159000 w 5359400"/>
              <a:gd name="connsiteY429" fmla="*/ 925322 h 5359400"/>
              <a:gd name="connsiteX430" fmla="*/ 2130425 w 5359400"/>
              <a:gd name="connsiteY430" fmla="*/ 1060831 h 5359400"/>
              <a:gd name="connsiteX431" fmla="*/ 2020570 w 5359400"/>
              <a:gd name="connsiteY431" fmla="*/ 924687 h 5359400"/>
              <a:gd name="connsiteX432" fmla="*/ 1985518 w 5359400"/>
              <a:gd name="connsiteY432" fmla="*/ 1070991 h 5359400"/>
              <a:gd name="connsiteX433" fmla="*/ 1882013 w 5359400"/>
              <a:gd name="connsiteY433" fmla="*/ 924687 h 5359400"/>
              <a:gd name="connsiteX434" fmla="*/ 1840484 w 5359400"/>
              <a:gd name="connsiteY434" fmla="*/ 1076325 h 5359400"/>
              <a:gd name="connsiteX435" fmla="*/ 1988693 w 5359400"/>
              <a:gd name="connsiteY435" fmla="*/ 1285748 h 5359400"/>
              <a:gd name="connsiteX436" fmla="*/ 2026793 w 5359400"/>
              <a:gd name="connsiteY436" fmla="*/ 1144905 h 5359400"/>
              <a:gd name="connsiteX437" fmla="*/ 2141093 w 5359400"/>
              <a:gd name="connsiteY437" fmla="*/ 1285748 h 5359400"/>
              <a:gd name="connsiteX438" fmla="*/ 2172589 w 5359400"/>
              <a:gd name="connsiteY438" fmla="*/ 1154303 h 5359400"/>
              <a:gd name="connsiteX439" fmla="*/ 2293366 w 5359400"/>
              <a:gd name="connsiteY439" fmla="*/ 1285748 h 5359400"/>
              <a:gd name="connsiteX440" fmla="*/ 2318766 w 5359400"/>
              <a:gd name="connsiteY440" fmla="*/ 1164590 h 5359400"/>
              <a:gd name="connsiteX441" fmla="*/ 2445766 w 5359400"/>
              <a:gd name="connsiteY441" fmla="*/ 1285748 h 5359400"/>
              <a:gd name="connsiteX442" fmla="*/ 2466213 w 5359400"/>
              <a:gd name="connsiteY442" fmla="*/ 1175004 h 5359400"/>
              <a:gd name="connsiteX443" fmla="*/ 2597912 w 5359400"/>
              <a:gd name="connsiteY443" fmla="*/ 1285748 h 5359400"/>
              <a:gd name="connsiteX444" fmla="*/ 2614295 w 5359400"/>
              <a:gd name="connsiteY444" fmla="*/ 1185545 h 5359400"/>
              <a:gd name="connsiteX445" fmla="*/ 2750185 w 5359400"/>
              <a:gd name="connsiteY445" fmla="*/ 1285748 h 5359400"/>
              <a:gd name="connsiteX446" fmla="*/ 2762885 w 5359400"/>
              <a:gd name="connsiteY446" fmla="*/ 1195959 h 5359400"/>
              <a:gd name="connsiteX447" fmla="*/ 2902585 w 5359400"/>
              <a:gd name="connsiteY447" fmla="*/ 1285748 h 5359400"/>
              <a:gd name="connsiteX448" fmla="*/ 2912491 w 5359400"/>
              <a:gd name="connsiteY448" fmla="*/ 1205865 h 5359400"/>
              <a:gd name="connsiteX449" fmla="*/ 3054858 w 5359400"/>
              <a:gd name="connsiteY449" fmla="*/ 1285748 h 5359400"/>
              <a:gd name="connsiteX450" fmla="*/ 3062478 w 5359400"/>
              <a:gd name="connsiteY450" fmla="*/ 1215517 h 5359400"/>
              <a:gd name="connsiteX451" fmla="*/ 3207131 w 5359400"/>
              <a:gd name="connsiteY451" fmla="*/ 1285748 h 5359400"/>
              <a:gd name="connsiteX452" fmla="*/ 3212846 w 5359400"/>
              <a:gd name="connsiteY452" fmla="*/ 1224661 h 5359400"/>
              <a:gd name="connsiteX453" fmla="*/ 3359277 w 5359400"/>
              <a:gd name="connsiteY453" fmla="*/ 1285748 h 5359400"/>
              <a:gd name="connsiteX454" fmla="*/ 3363595 w 5359400"/>
              <a:gd name="connsiteY454" fmla="*/ 1233297 h 5359400"/>
              <a:gd name="connsiteX455" fmla="*/ 3511550 w 5359400"/>
              <a:gd name="connsiteY455" fmla="*/ 1285748 h 5359400"/>
              <a:gd name="connsiteX456" fmla="*/ 3514725 w 5359400"/>
              <a:gd name="connsiteY456" fmla="*/ 1241425 h 5359400"/>
              <a:gd name="connsiteX457" fmla="*/ 3663950 w 5359400"/>
              <a:gd name="connsiteY457" fmla="*/ 1285875 h 5359400"/>
              <a:gd name="connsiteX458" fmla="*/ 3666109 w 5359400"/>
              <a:gd name="connsiteY458" fmla="*/ 1249172 h 5359400"/>
              <a:gd name="connsiteX459" fmla="*/ 3816223 w 5359400"/>
              <a:gd name="connsiteY459" fmla="*/ 1285875 h 5359400"/>
              <a:gd name="connsiteX460" fmla="*/ 3817620 w 5359400"/>
              <a:gd name="connsiteY460" fmla="*/ 1256284 h 5359400"/>
              <a:gd name="connsiteX461" fmla="*/ 3968496 w 5359400"/>
              <a:gd name="connsiteY461" fmla="*/ 1285875 h 5359400"/>
              <a:gd name="connsiteX462" fmla="*/ 3969258 w 5359400"/>
              <a:gd name="connsiteY462" fmla="*/ 1263015 h 5359400"/>
              <a:gd name="connsiteX463" fmla="*/ 4120642 w 5359400"/>
              <a:gd name="connsiteY463" fmla="*/ 1285875 h 5359400"/>
              <a:gd name="connsiteX464" fmla="*/ 4120642 w 5359400"/>
              <a:gd name="connsiteY464" fmla="*/ 1269238 h 5359400"/>
              <a:gd name="connsiteX465" fmla="*/ 4273042 w 5359400"/>
              <a:gd name="connsiteY465" fmla="*/ 1285875 h 5359400"/>
              <a:gd name="connsiteX466" fmla="*/ 4273042 w 5359400"/>
              <a:gd name="connsiteY466" fmla="*/ 1275588 h 5359400"/>
              <a:gd name="connsiteX467" fmla="*/ 4282694 w 5359400"/>
              <a:gd name="connsiteY467" fmla="*/ 1275588 h 5359400"/>
              <a:gd name="connsiteX468" fmla="*/ 4376166 w 5359400"/>
              <a:gd name="connsiteY468" fmla="*/ 1282192 h 5359400"/>
              <a:gd name="connsiteX469" fmla="*/ 4376166 w 5359400"/>
              <a:gd name="connsiteY469" fmla="*/ 1285621 h 5359400"/>
              <a:gd name="connsiteX470" fmla="*/ 5360289 w 5359400"/>
              <a:gd name="connsiteY470" fmla="*/ 1285621 h 5359400"/>
              <a:gd name="connsiteX471" fmla="*/ 5360289 w 5359400"/>
              <a:gd name="connsiteY471" fmla="*/ 924687 h 5359400"/>
              <a:gd name="connsiteX472" fmla="*/ 4375785 w 5359400"/>
              <a:gd name="connsiteY472" fmla="*/ 924687 h 5359400"/>
              <a:gd name="connsiteX473" fmla="*/ 1276985 w 5359400"/>
              <a:gd name="connsiteY473" fmla="*/ 2859405 h 5359400"/>
              <a:gd name="connsiteX474" fmla="*/ 1379601 w 5359400"/>
              <a:gd name="connsiteY474" fmla="*/ 3115310 h 5359400"/>
              <a:gd name="connsiteX475" fmla="*/ 1430401 w 5359400"/>
              <a:gd name="connsiteY475" fmla="*/ 3010535 h 5359400"/>
              <a:gd name="connsiteX476" fmla="*/ 1327785 w 5359400"/>
              <a:gd name="connsiteY476" fmla="*/ 2754630 h 5359400"/>
              <a:gd name="connsiteX477" fmla="*/ 4375785 w 5359400"/>
              <a:gd name="connsiteY477" fmla="*/ 471805 h 5359400"/>
              <a:gd name="connsiteX478" fmla="*/ 4237228 w 5359400"/>
              <a:gd name="connsiteY478" fmla="*/ 466725 h 5359400"/>
              <a:gd name="connsiteX479" fmla="*/ 4237228 w 5359400"/>
              <a:gd name="connsiteY479" fmla="*/ 476504 h 5359400"/>
              <a:gd name="connsiteX480" fmla="*/ 4098925 w 5359400"/>
              <a:gd name="connsiteY480" fmla="*/ 466725 h 5359400"/>
              <a:gd name="connsiteX481" fmla="*/ 4098925 w 5359400"/>
              <a:gd name="connsiteY481" fmla="*/ 481838 h 5359400"/>
              <a:gd name="connsiteX482" fmla="*/ 3960114 w 5359400"/>
              <a:gd name="connsiteY482" fmla="*/ 466725 h 5359400"/>
              <a:gd name="connsiteX483" fmla="*/ 3960114 w 5359400"/>
              <a:gd name="connsiteY483" fmla="*/ 487680 h 5359400"/>
              <a:gd name="connsiteX484" fmla="*/ 3821557 w 5359400"/>
              <a:gd name="connsiteY484" fmla="*/ 466725 h 5359400"/>
              <a:gd name="connsiteX485" fmla="*/ 3820795 w 5359400"/>
              <a:gd name="connsiteY485" fmla="*/ 493776 h 5359400"/>
              <a:gd name="connsiteX486" fmla="*/ 3683000 w 5359400"/>
              <a:gd name="connsiteY486" fmla="*/ 466725 h 5359400"/>
              <a:gd name="connsiteX487" fmla="*/ 3681730 w 5359400"/>
              <a:gd name="connsiteY487" fmla="*/ 500380 h 5359400"/>
              <a:gd name="connsiteX488" fmla="*/ 3544443 w 5359400"/>
              <a:gd name="connsiteY488" fmla="*/ 466725 h 5359400"/>
              <a:gd name="connsiteX489" fmla="*/ 3542538 w 5359400"/>
              <a:gd name="connsiteY489" fmla="*/ 507365 h 5359400"/>
              <a:gd name="connsiteX490" fmla="*/ 3405886 w 5359400"/>
              <a:gd name="connsiteY490" fmla="*/ 466725 h 5359400"/>
              <a:gd name="connsiteX491" fmla="*/ 3403092 w 5359400"/>
              <a:gd name="connsiteY491" fmla="*/ 514985 h 5359400"/>
              <a:gd name="connsiteX492" fmla="*/ 3267329 w 5359400"/>
              <a:gd name="connsiteY492" fmla="*/ 466725 h 5359400"/>
              <a:gd name="connsiteX493" fmla="*/ 3263519 w 5359400"/>
              <a:gd name="connsiteY493" fmla="*/ 522986 h 5359400"/>
              <a:gd name="connsiteX494" fmla="*/ 3128772 w 5359400"/>
              <a:gd name="connsiteY494" fmla="*/ 466725 h 5359400"/>
              <a:gd name="connsiteX495" fmla="*/ 3123565 w 5359400"/>
              <a:gd name="connsiteY495" fmla="*/ 531495 h 5359400"/>
              <a:gd name="connsiteX496" fmla="*/ 2990215 w 5359400"/>
              <a:gd name="connsiteY496" fmla="*/ 466725 h 5359400"/>
              <a:gd name="connsiteX497" fmla="*/ 2983357 w 5359400"/>
              <a:gd name="connsiteY497" fmla="*/ 540639 h 5359400"/>
              <a:gd name="connsiteX498" fmla="*/ 2851658 w 5359400"/>
              <a:gd name="connsiteY498" fmla="*/ 466725 h 5359400"/>
              <a:gd name="connsiteX499" fmla="*/ 2842641 w 5359400"/>
              <a:gd name="connsiteY499" fmla="*/ 550164 h 5359400"/>
              <a:gd name="connsiteX500" fmla="*/ 2713228 w 5359400"/>
              <a:gd name="connsiteY500" fmla="*/ 466725 h 5359400"/>
              <a:gd name="connsiteX501" fmla="*/ 2701925 w 5359400"/>
              <a:gd name="connsiteY501" fmla="*/ 560578 h 5359400"/>
              <a:gd name="connsiteX502" fmla="*/ 2574925 w 5359400"/>
              <a:gd name="connsiteY502" fmla="*/ 466725 h 5359400"/>
              <a:gd name="connsiteX503" fmla="*/ 2560066 w 5359400"/>
              <a:gd name="connsiteY503" fmla="*/ 570738 h 5359400"/>
              <a:gd name="connsiteX504" fmla="*/ 2436114 w 5359400"/>
              <a:gd name="connsiteY504" fmla="*/ 466725 h 5359400"/>
              <a:gd name="connsiteX505" fmla="*/ 2417445 w 5359400"/>
              <a:gd name="connsiteY505" fmla="*/ 581025 h 5359400"/>
              <a:gd name="connsiteX506" fmla="*/ 2297557 w 5359400"/>
              <a:gd name="connsiteY506" fmla="*/ 466725 h 5359400"/>
              <a:gd name="connsiteX507" fmla="*/ 2274316 w 5359400"/>
              <a:gd name="connsiteY507" fmla="*/ 592201 h 5359400"/>
              <a:gd name="connsiteX508" fmla="*/ 2159000 w 5359400"/>
              <a:gd name="connsiteY508" fmla="*/ 466725 h 5359400"/>
              <a:gd name="connsiteX509" fmla="*/ 2130425 w 5359400"/>
              <a:gd name="connsiteY509" fmla="*/ 603250 h 5359400"/>
              <a:gd name="connsiteX510" fmla="*/ 2020443 w 5359400"/>
              <a:gd name="connsiteY510" fmla="*/ 466725 h 5359400"/>
              <a:gd name="connsiteX511" fmla="*/ 1985391 w 5359400"/>
              <a:gd name="connsiteY511" fmla="*/ 612902 h 5359400"/>
              <a:gd name="connsiteX512" fmla="*/ 1881886 w 5359400"/>
              <a:gd name="connsiteY512" fmla="*/ 466725 h 5359400"/>
              <a:gd name="connsiteX513" fmla="*/ 1840484 w 5359400"/>
              <a:gd name="connsiteY513" fmla="*/ 617982 h 5359400"/>
              <a:gd name="connsiteX514" fmla="*/ 1988693 w 5359400"/>
              <a:gd name="connsiteY514" fmla="*/ 827405 h 5359400"/>
              <a:gd name="connsiteX515" fmla="*/ 2026793 w 5359400"/>
              <a:gd name="connsiteY515" fmla="*/ 686435 h 5359400"/>
              <a:gd name="connsiteX516" fmla="*/ 2141093 w 5359400"/>
              <a:gd name="connsiteY516" fmla="*/ 827405 h 5359400"/>
              <a:gd name="connsiteX517" fmla="*/ 2172589 w 5359400"/>
              <a:gd name="connsiteY517" fmla="*/ 695960 h 5359400"/>
              <a:gd name="connsiteX518" fmla="*/ 2293366 w 5359400"/>
              <a:gd name="connsiteY518" fmla="*/ 827405 h 5359400"/>
              <a:gd name="connsiteX519" fmla="*/ 2318766 w 5359400"/>
              <a:gd name="connsiteY519" fmla="*/ 706120 h 5359400"/>
              <a:gd name="connsiteX520" fmla="*/ 2445766 w 5359400"/>
              <a:gd name="connsiteY520" fmla="*/ 827405 h 5359400"/>
              <a:gd name="connsiteX521" fmla="*/ 2466213 w 5359400"/>
              <a:gd name="connsiteY521" fmla="*/ 716661 h 5359400"/>
              <a:gd name="connsiteX522" fmla="*/ 2597912 w 5359400"/>
              <a:gd name="connsiteY522" fmla="*/ 827405 h 5359400"/>
              <a:gd name="connsiteX523" fmla="*/ 2614295 w 5359400"/>
              <a:gd name="connsiteY523" fmla="*/ 727202 h 5359400"/>
              <a:gd name="connsiteX524" fmla="*/ 2750185 w 5359400"/>
              <a:gd name="connsiteY524" fmla="*/ 827405 h 5359400"/>
              <a:gd name="connsiteX525" fmla="*/ 2762885 w 5359400"/>
              <a:gd name="connsiteY525" fmla="*/ 737489 h 5359400"/>
              <a:gd name="connsiteX526" fmla="*/ 2902585 w 5359400"/>
              <a:gd name="connsiteY526" fmla="*/ 827405 h 5359400"/>
              <a:gd name="connsiteX527" fmla="*/ 2912491 w 5359400"/>
              <a:gd name="connsiteY527" fmla="*/ 747522 h 5359400"/>
              <a:gd name="connsiteX528" fmla="*/ 3054858 w 5359400"/>
              <a:gd name="connsiteY528" fmla="*/ 827405 h 5359400"/>
              <a:gd name="connsiteX529" fmla="*/ 3062478 w 5359400"/>
              <a:gd name="connsiteY529" fmla="*/ 757174 h 5359400"/>
              <a:gd name="connsiteX530" fmla="*/ 3207131 w 5359400"/>
              <a:gd name="connsiteY530" fmla="*/ 827405 h 5359400"/>
              <a:gd name="connsiteX531" fmla="*/ 3212846 w 5359400"/>
              <a:gd name="connsiteY531" fmla="*/ 766191 h 5359400"/>
              <a:gd name="connsiteX532" fmla="*/ 3359277 w 5359400"/>
              <a:gd name="connsiteY532" fmla="*/ 827405 h 5359400"/>
              <a:gd name="connsiteX533" fmla="*/ 3363595 w 5359400"/>
              <a:gd name="connsiteY533" fmla="*/ 774827 h 5359400"/>
              <a:gd name="connsiteX534" fmla="*/ 3511550 w 5359400"/>
              <a:gd name="connsiteY534" fmla="*/ 827405 h 5359400"/>
              <a:gd name="connsiteX535" fmla="*/ 3514598 w 5359400"/>
              <a:gd name="connsiteY535" fmla="*/ 782955 h 5359400"/>
              <a:gd name="connsiteX536" fmla="*/ 3663823 w 5359400"/>
              <a:gd name="connsiteY536" fmla="*/ 827405 h 5359400"/>
              <a:gd name="connsiteX537" fmla="*/ 3665982 w 5359400"/>
              <a:gd name="connsiteY537" fmla="*/ 790575 h 5359400"/>
              <a:gd name="connsiteX538" fmla="*/ 3816096 w 5359400"/>
              <a:gd name="connsiteY538" fmla="*/ 827405 h 5359400"/>
              <a:gd name="connsiteX539" fmla="*/ 3817493 w 5359400"/>
              <a:gd name="connsiteY539" fmla="*/ 797814 h 5359400"/>
              <a:gd name="connsiteX540" fmla="*/ 3968369 w 5359400"/>
              <a:gd name="connsiteY540" fmla="*/ 827405 h 5359400"/>
              <a:gd name="connsiteX541" fmla="*/ 3969131 w 5359400"/>
              <a:gd name="connsiteY541" fmla="*/ 804545 h 5359400"/>
              <a:gd name="connsiteX542" fmla="*/ 4120515 w 5359400"/>
              <a:gd name="connsiteY542" fmla="*/ 827405 h 5359400"/>
              <a:gd name="connsiteX543" fmla="*/ 4120515 w 5359400"/>
              <a:gd name="connsiteY543" fmla="*/ 810768 h 5359400"/>
              <a:gd name="connsiteX544" fmla="*/ 4272915 w 5359400"/>
              <a:gd name="connsiteY544" fmla="*/ 827405 h 5359400"/>
              <a:gd name="connsiteX545" fmla="*/ 4272915 w 5359400"/>
              <a:gd name="connsiteY545" fmla="*/ 816991 h 5359400"/>
              <a:gd name="connsiteX546" fmla="*/ 4282440 w 5359400"/>
              <a:gd name="connsiteY546" fmla="*/ 816991 h 5359400"/>
              <a:gd name="connsiteX547" fmla="*/ 4376039 w 5359400"/>
              <a:gd name="connsiteY547" fmla="*/ 823595 h 5359400"/>
              <a:gd name="connsiteX548" fmla="*/ 4376039 w 5359400"/>
              <a:gd name="connsiteY548" fmla="*/ 827024 h 5359400"/>
              <a:gd name="connsiteX549" fmla="*/ 5360162 w 5359400"/>
              <a:gd name="connsiteY549" fmla="*/ 827024 h 5359400"/>
              <a:gd name="connsiteX550" fmla="*/ 5360162 w 5359400"/>
              <a:gd name="connsiteY550" fmla="*/ 466725 h 5359400"/>
              <a:gd name="connsiteX551" fmla="*/ 4375785 w 5359400"/>
              <a:gd name="connsiteY551" fmla="*/ 466725 h 5359400"/>
              <a:gd name="connsiteX552" fmla="*/ 4375785 w 5359400"/>
              <a:gd name="connsiteY552" fmla="*/ 9525 h 5359400"/>
              <a:gd name="connsiteX553" fmla="*/ 4375785 w 5359400"/>
              <a:gd name="connsiteY553" fmla="*/ 14224 h 5359400"/>
              <a:gd name="connsiteX554" fmla="*/ 4237228 w 5359400"/>
              <a:gd name="connsiteY554" fmla="*/ 9525 h 5359400"/>
              <a:gd name="connsiteX555" fmla="*/ 4237228 w 5359400"/>
              <a:gd name="connsiteY555" fmla="*/ 19304 h 5359400"/>
              <a:gd name="connsiteX556" fmla="*/ 4098925 w 5359400"/>
              <a:gd name="connsiteY556" fmla="*/ 9525 h 5359400"/>
              <a:gd name="connsiteX557" fmla="*/ 4098925 w 5359400"/>
              <a:gd name="connsiteY557" fmla="*/ 24638 h 5359400"/>
              <a:gd name="connsiteX558" fmla="*/ 3960114 w 5359400"/>
              <a:gd name="connsiteY558" fmla="*/ 9525 h 5359400"/>
              <a:gd name="connsiteX559" fmla="*/ 3960114 w 5359400"/>
              <a:gd name="connsiteY559" fmla="*/ 30353 h 5359400"/>
              <a:gd name="connsiteX560" fmla="*/ 3821557 w 5359400"/>
              <a:gd name="connsiteY560" fmla="*/ 9525 h 5359400"/>
              <a:gd name="connsiteX561" fmla="*/ 3820795 w 5359400"/>
              <a:gd name="connsiteY561" fmla="*/ 36576 h 5359400"/>
              <a:gd name="connsiteX562" fmla="*/ 3683000 w 5359400"/>
              <a:gd name="connsiteY562" fmla="*/ 9525 h 5359400"/>
              <a:gd name="connsiteX563" fmla="*/ 3681730 w 5359400"/>
              <a:gd name="connsiteY563" fmla="*/ 43180 h 5359400"/>
              <a:gd name="connsiteX564" fmla="*/ 3544443 w 5359400"/>
              <a:gd name="connsiteY564" fmla="*/ 9525 h 5359400"/>
              <a:gd name="connsiteX565" fmla="*/ 3542538 w 5359400"/>
              <a:gd name="connsiteY565" fmla="*/ 50165 h 5359400"/>
              <a:gd name="connsiteX566" fmla="*/ 3405886 w 5359400"/>
              <a:gd name="connsiteY566" fmla="*/ 9525 h 5359400"/>
              <a:gd name="connsiteX567" fmla="*/ 3403092 w 5359400"/>
              <a:gd name="connsiteY567" fmla="*/ 57658 h 5359400"/>
              <a:gd name="connsiteX568" fmla="*/ 3267329 w 5359400"/>
              <a:gd name="connsiteY568" fmla="*/ 9525 h 5359400"/>
              <a:gd name="connsiteX569" fmla="*/ 3263519 w 5359400"/>
              <a:gd name="connsiteY569" fmla="*/ 65786 h 5359400"/>
              <a:gd name="connsiteX570" fmla="*/ 3128772 w 5359400"/>
              <a:gd name="connsiteY570" fmla="*/ 9525 h 5359400"/>
              <a:gd name="connsiteX571" fmla="*/ 3123565 w 5359400"/>
              <a:gd name="connsiteY571" fmla="*/ 74295 h 5359400"/>
              <a:gd name="connsiteX572" fmla="*/ 2990215 w 5359400"/>
              <a:gd name="connsiteY572" fmla="*/ 9525 h 5359400"/>
              <a:gd name="connsiteX573" fmla="*/ 2983357 w 5359400"/>
              <a:gd name="connsiteY573" fmla="*/ 83439 h 5359400"/>
              <a:gd name="connsiteX574" fmla="*/ 2851658 w 5359400"/>
              <a:gd name="connsiteY574" fmla="*/ 9525 h 5359400"/>
              <a:gd name="connsiteX575" fmla="*/ 2842641 w 5359400"/>
              <a:gd name="connsiteY575" fmla="*/ 92964 h 5359400"/>
              <a:gd name="connsiteX576" fmla="*/ 2713228 w 5359400"/>
              <a:gd name="connsiteY576" fmla="*/ 9525 h 5359400"/>
              <a:gd name="connsiteX577" fmla="*/ 2701925 w 5359400"/>
              <a:gd name="connsiteY577" fmla="*/ 102997 h 5359400"/>
              <a:gd name="connsiteX578" fmla="*/ 2574925 w 5359400"/>
              <a:gd name="connsiteY578" fmla="*/ 9525 h 5359400"/>
              <a:gd name="connsiteX579" fmla="*/ 2560066 w 5359400"/>
              <a:gd name="connsiteY579" fmla="*/ 113538 h 5359400"/>
              <a:gd name="connsiteX580" fmla="*/ 2436114 w 5359400"/>
              <a:gd name="connsiteY580" fmla="*/ 9525 h 5359400"/>
              <a:gd name="connsiteX581" fmla="*/ 2417445 w 5359400"/>
              <a:gd name="connsiteY581" fmla="*/ 123825 h 5359400"/>
              <a:gd name="connsiteX582" fmla="*/ 2297557 w 5359400"/>
              <a:gd name="connsiteY582" fmla="*/ 9525 h 5359400"/>
              <a:gd name="connsiteX583" fmla="*/ 2274316 w 5359400"/>
              <a:gd name="connsiteY583" fmla="*/ 135001 h 5359400"/>
              <a:gd name="connsiteX584" fmla="*/ 2159000 w 5359400"/>
              <a:gd name="connsiteY584" fmla="*/ 9525 h 5359400"/>
              <a:gd name="connsiteX585" fmla="*/ 2130425 w 5359400"/>
              <a:gd name="connsiteY585" fmla="*/ 145669 h 5359400"/>
              <a:gd name="connsiteX586" fmla="*/ 2020443 w 5359400"/>
              <a:gd name="connsiteY586" fmla="*/ 9525 h 5359400"/>
              <a:gd name="connsiteX587" fmla="*/ 1985391 w 5359400"/>
              <a:gd name="connsiteY587" fmla="*/ 155702 h 5359400"/>
              <a:gd name="connsiteX588" fmla="*/ 1881886 w 5359400"/>
              <a:gd name="connsiteY588" fmla="*/ 9525 h 5359400"/>
              <a:gd name="connsiteX589" fmla="*/ 1840484 w 5359400"/>
              <a:gd name="connsiteY589" fmla="*/ 160782 h 5359400"/>
              <a:gd name="connsiteX590" fmla="*/ 1988693 w 5359400"/>
              <a:gd name="connsiteY590" fmla="*/ 370205 h 5359400"/>
              <a:gd name="connsiteX591" fmla="*/ 2026793 w 5359400"/>
              <a:gd name="connsiteY591" fmla="*/ 229235 h 5359400"/>
              <a:gd name="connsiteX592" fmla="*/ 2141093 w 5359400"/>
              <a:gd name="connsiteY592" fmla="*/ 370205 h 5359400"/>
              <a:gd name="connsiteX593" fmla="*/ 2172589 w 5359400"/>
              <a:gd name="connsiteY593" fmla="*/ 238760 h 5359400"/>
              <a:gd name="connsiteX594" fmla="*/ 2293366 w 5359400"/>
              <a:gd name="connsiteY594" fmla="*/ 370205 h 5359400"/>
              <a:gd name="connsiteX595" fmla="*/ 2318766 w 5359400"/>
              <a:gd name="connsiteY595" fmla="*/ 248920 h 5359400"/>
              <a:gd name="connsiteX596" fmla="*/ 2445766 w 5359400"/>
              <a:gd name="connsiteY596" fmla="*/ 370205 h 5359400"/>
              <a:gd name="connsiteX597" fmla="*/ 2466213 w 5359400"/>
              <a:gd name="connsiteY597" fmla="*/ 259461 h 5359400"/>
              <a:gd name="connsiteX598" fmla="*/ 2597912 w 5359400"/>
              <a:gd name="connsiteY598" fmla="*/ 370205 h 5359400"/>
              <a:gd name="connsiteX599" fmla="*/ 2614295 w 5359400"/>
              <a:gd name="connsiteY599" fmla="*/ 270002 h 5359400"/>
              <a:gd name="connsiteX600" fmla="*/ 2750185 w 5359400"/>
              <a:gd name="connsiteY600" fmla="*/ 370205 h 5359400"/>
              <a:gd name="connsiteX601" fmla="*/ 2762885 w 5359400"/>
              <a:gd name="connsiteY601" fmla="*/ 280289 h 5359400"/>
              <a:gd name="connsiteX602" fmla="*/ 2902585 w 5359400"/>
              <a:gd name="connsiteY602" fmla="*/ 370205 h 5359400"/>
              <a:gd name="connsiteX603" fmla="*/ 2912491 w 5359400"/>
              <a:gd name="connsiteY603" fmla="*/ 290322 h 5359400"/>
              <a:gd name="connsiteX604" fmla="*/ 3054858 w 5359400"/>
              <a:gd name="connsiteY604" fmla="*/ 370205 h 5359400"/>
              <a:gd name="connsiteX605" fmla="*/ 3062478 w 5359400"/>
              <a:gd name="connsiteY605" fmla="*/ 299847 h 5359400"/>
              <a:gd name="connsiteX606" fmla="*/ 3207131 w 5359400"/>
              <a:gd name="connsiteY606" fmla="*/ 370205 h 5359400"/>
              <a:gd name="connsiteX607" fmla="*/ 3212846 w 5359400"/>
              <a:gd name="connsiteY607" fmla="*/ 308991 h 5359400"/>
              <a:gd name="connsiteX608" fmla="*/ 3359277 w 5359400"/>
              <a:gd name="connsiteY608" fmla="*/ 370205 h 5359400"/>
              <a:gd name="connsiteX609" fmla="*/ 3363595 w 5359400"/>
              <a:gd name="connsiteY609" fmla="*/ 317627 h 5359400"/>
              <a:gd name="connsiteX610" fmla="*/ 3511550 w 5359400"/>
              <a:gd name="connsiteY610" fmla="*/ 370205 h 5359400"/>
              <a:gd name="connsiteX611" fmla="*/ 3514598 w 5359400"/>
              <a:gd name="connsiteY611" fmla="*/ 325755 h 5359400"/>
              <a:gd name="connsiteX612" fmla="*/ 3663823 w 5359400"/>
              <a:gd name="connsiteY612" fmla="*/ 370205 h 5359400"/>
              <a:gd name="connsiteX613" fmla="*/ 3665982 w 5359400"/>
              <a:gd name="connsiteY613" fmla="*/ 333375 h 5359400"/>
              <a:gd name="connsiteX614" fmla="*/ 3816096 w 5359400"/>
              <a:gd name="connsiteY614" fmla="*/ 370205 h 5359400"/>
              <a:gd name="connsiteX615" fmla="*/ 3817493 w 5359400"/>
              <a:gd name="connsiteY615" fmla="*/ 340614 h 5359400"/>
              <a:gd name="connsiteX616" fmla="*/ 3968369 w 5359400"/>
              <a:gd name="connsiteY616" fmla="*/ 370205 h 5359400"/>
              <a:gd name="connsiteX617" fmla="*/ 3969131 w 5359400"/>
              <a:gd name="connsiteY617" fmla="*/ 347345 h 5359400"/>
              <a:gd name="connsiteX618" fmla="*/ 4120515 w 5359400"/>
              <a:gd name="connsiteY618" fmla="*/ 370205 h 5359400"/>
              <a:gd name="connsiteX619" fmla="*/ 4120515 w 5359400"/>
              <a:gd name="connsiteY619" fmla="*/ 353568 h 5359400"/>
              <a:gd name="connsiteX620" fmla="*/ 4272915 w 5359400"/>
              <a:gd name="connsiteY620" fmla="*/ 370205 h 5359400"/>
              <a:gd name="connsiteX621" fmla="*/ 4272915 w 5359400"/>
              <a:gd name="connsiteY621" fmla="*/ 359791 h 5359400"/>
              <a:gd name="connsiteX622" fmla="*/ 4282567 w 5359400"/>
              <a:gd name="connsiteY622" fmla="*/ 359791 h 5359400"/>
              <a:gd name="connsiteX623" fmla="*/ 4376039 w 5359400"/>
              <a:gd name="connsiteY623" fmla="*/ 366395 h 5359400"/>
              <a:gd name="connsiteX624" fmla="*/ 4376039 w 5359400"/>
              <a:gd name="connsiteY624" fmla="*/ 369824 h 5359400"/>
              <a:gd name="connsiteX625" fmla="*/ 5360162 w 5359400"/>
              <a:gd name="connsiteY625" fmla="*/ 369824 h 5359400"/>
              <a:gd name="connsiteX626" fmla="*/ 5360162 w 5359400"/>
              <a:gd name="connsiteY626" fmla="*/ 9525 h 5359400"/>
              <a:gd name="connsiteX627" fmla="*/ 854583 w 5359400"/>
              <a:gd name="connsiteY627" fmla="*/ 1909699 h 5359400"/>
              <a:gd name="connsiteX628" fmla="*/ 923036 w 5359400"/>
              <a:gd name="connsiteY628" fmla="*/ 2200529 h 5359400"/>
              <a:gd name="connsiteX629" fmla="*/ 980440 w 5359400"/>
              <a:gd name="connsiteY629" fmla="*/ 2130425 h 5359400"/>
              <a:gd name="connsiteX630" fmla="*/ 911987 w 5359400"/>
              <a:gd name="connsiteY630" fmla="*/ 1839595 h 5359400"/>
              <a:gd name="connsiteX631" fmla="*/ 291211 w 5359400"/>
              <a:gd name="connsiteY631" fmla="*/ 490347 h 5359400"/>
              <a:gd name="connsiteX632" fmla="*/ 314325 w 5359400"/>
              <a:gd name="connsiteY632" fmla="*/ 827786 h 5359400"/>
              <a:gd name="connsiteX633" fmla="*/ 380873 w 5359400"/>
              <a:gd name="connsiteY633" fmla="*/ 804545 h 5359400"/>
              <a:gd name="connsiteX634" fmla="*/ 357886 w 5359400"/>
              <a:gd name="connsiteY634" fmla="*/ 466725 h 5359400"/>
              <a:gd name="connsiteX635" fmla="*/ 4375785 w 5359400"/>
              <a:gd name="connsiteY635" fmla="*/ 2302256 h 5359400"/>
              <a:gd name="connsiteX636" fmla="*/ 4237228 w 5359400"/>
              <a:gd name="connsiteY636" fmla="*/ 2297557 h 5359400"/>
              <a:gd name="connsiteX637" fmla="*/ 4237228 w 5359400"/>
              <a:gd name="connsiteY637" fmla="*/ 2307336 h 5359400"/>
              <a:gd name="connsiteX638" fmla="*/ 4098798 w 5359400"/>
              <a:gd name="connsiteY638" fmla="*/ 2297557 h 5359400"/>
              <a:gd name="connsiteX639" fmla="*/ 4098798 w 5359400"/>
              <a:gd name="connsiteY639" fmla="*/ 2312670 h 5359400"/>
              <a:gd name="connsiteX640" fmla="*/ 3960495 w 5359400"/>
              <a:gd name="connsiteY640" fmla="*/ 2297557 h 5359400"/>
              <a:gd name="connsiteX641" fmla="*/ 3960495 w 5359400"/>
              <a:gd name="connsiteY641" fmla="*/ 2318385 h 5359400"/>
              <a:gd name="connsiteX642" fmla="*/ 3822446 w 5359400"/>
              <a:gd name="connsiteY642" fmla="*/ 2297557 h 5359400"/>
              <a:gd name="connsiteX643" fmla="*/ 3821684 w 5359400"/>
              <a:gd name="connsiteY643" fmla="*/ 2324608 h 5359400"/>
              <a:gd name="connsiteX644" fmla="*/ 3683889 w 5359400"/>
              <a:gd name="connsiteY644" fmla="*/ 2297557 h 5359400"/>
              <a:gd name="connsiteX645" fmla="*/ 3682619 w 5359400"/>
              <a:gd name="connsiteY645" fmla="*/ 2331212 h 5359400"/>
              <a:gd name="connsiteX646" fmla="*/ 3545332 w 5359400"/>
              <a:gd name="connsiteY646" fmla="*/ 2297557 h 5359400"/>
              <a:gd name="connsiteX647" fmla="*/ 3543427 w 5359400"/>
              <a:gd name="connsiteY647" fmla="*/ 2338197 h 5359400"/>
              <a:gd name="connsiteX648" fmla="*/ 3406775 w 5359400"/>
              <a:gd name="connsiteY648" fmla="*/ 2297557 h 5359400"/>
              <a:gd name="connsiteX649" fmla="*/ 3403981 w 5359400"/>
              <a:gd name="connsiteY649" fmla="*/ 2345690 h 5359400"/>
              <a:gd name="connsiteX650" fmla="*/ 3268218 w 5359400"/>
              <a:gd name="connsiteY650" fmla="*/ 2297557 h 5359400"/>
              <a:gd name="connsiteX651" fmla="*/ 3264408 w 5359400"/>
              <a:gd name="connsiteY651" fmla="*/ 2353818 h 5359400"/>
              <a:gd name="connsiteX652" fmla="*/ 3129661 w 5359400"/>
              <a:gd name="connsiteY652" fmla="*/ 2297557 h 5359400"/>
              <a:gd name="connsiteX653" fmla="*/ 3124454 w 5359400"/>
              <a:gd name="connsiteY653" fmla="*/ 2362327 h 5359400"/>
              <a:gd name="connsiteX654" fmla="*/ 2991104 w 5359400"/>
              <a:gd name="connsiteY654" fmla="*/ 2297557 h 5359400"/>
              <a:gd name="connsiteX655" fmla="*/ 2984246 w 5359400"/>
              <a:gd name="connsiteY655" fmla="*/ 2371344 h 5359400"/>
              <a:gd name="connsiteX656" fmla="*/ 2852547 w 5359400"/>
              <a:gd name="connsiteY656" fmla="*/ 2297557 h 5359400"/>
              <a:gd name="connsiteX657" fmla="*/ 2843530 w 5359400"/>
              <a:gd name="connsiteY657" fmla="*/ 2380996 h 5359400"/>
              <a:gd name="connsiteX658" fmla="*/ 2714117 w 5359400"/>
              <a:gd name="connsiteY658" fmla="*/ 2297557 h 5359400"/>
              <a:gd name="connsiteX659" fmla="*/ 2702433 w 5359400"/>
              <a:gd name="connsiteY659" fmla="*/ 2391029 h 5359400"/>
              <a:gd name="connsiteX660" fmla="*/ 2575433 w 5359400"/>
              <a:gd name="connsiteY660" fmla="*/ 2297557 h 5359400"/>
              <a:gd name="connsiteX661" fmla="*/ 2560574 w 5359400"/>
              <a:gd name="connsiteY661" fmla="*/ 2401443 h 5359400"/>
              <a:gd name="connsiteX662" fmla="*/ 2436876 w 5359400"/>
              <a:gd name="connsiteY662" fmla="*/ 2297557 h 5359400"/>
              <a:gd name="connsiteX663" fmla="*/ 2418207 w 5359400"/>
              <a:gd name="connsiteY663" fmla="*/ 2411857 h 5359400"/>
              <a:gd name="connsiteX664" fmla="*/ 2298319 w 5359400"/>
              <a:gd name="connsiteY664" fmla="*/ 2297557 h 5359400"/>
              <a:gd name="connsiteX665" fmla="*/ 2274316 w 5359400"/>
              <a:gd name="connsiteY665" fmla="*/ 2422525 h 5359400"/>
              <a:gd name="connsiteX666" fmla="*/ 2159000 w 5359400"/>
              <a:gd name="connsiteY666" fmla="*/ 2297049 h 5359400"/>
              <a:gd name="connsiteX667" fmla="*/ 2130425 w 5359400"/>
              <a:gd name="connsiteY667" fmla="*/ 2433701 h 5359400"/>
              <a:gd name="connsiteX668" fmla="*/ 2020570 w 5359400"/>
              <a:gd name="connsiteY668" fmla="*/ 2297557 h 5359400"/>
              <a:gd name="connsiteX669" fmla="*/ 1985518 w 5359400"/>
              <a:gd name="connsiteY669" fmla="*/ 2443734 h 5359400"/>
              <a:gd name="connsiteX670" fmla="*/ 1882013 w 5359400"/>
              <a:gd name="connsiteY670" fmla="*/ 2297557 h 5359400"/>
              <a:gd name="connsiteX671" fmla="*/ 1840611 w 5359400"/>
              <a:gd name="connsiteY671" fmla="*/ 2448814 h 5359400"/>
              <a:gd name="connsiteX672" fmla="*/ 1988820 w 5359400"/>
              <a:gd name="connsiteY672" fmla="*/ 2658237 h 5359400"/>
              <a:gd name="connsiteX673" fmla="*/ 2026920 w 5359400"/>
              <a:gd name="connsiteY673" fmla="*/ 2517267 h 5359400"/>
              <a:gd name="connsiteX674" fmla="*/ 2141220 w 5359400"/>
              <a:gd name="connsiteY674" fmla="*/ 2658237 h 5359400"/>
              <a:gd name="connsiteX675" fmla="*/ 2172716 w 5359400"/>
              <a:gd name="connsiteY675" fmla="*/ 2526792 h 5359400"/>
              <a:gd name="connsiteX676" fmla="*/ 2293493 w 5359400"/>
              <a:gd name="connsiteY676" fmla="*/ 2658237 h 5359400"/>
              <a:gd name="connsiteX677" fmla="*/ 2318893 w 5359400"/>
              <a:gd name="connsiteY677" fmla="*/ 2536952 h 5359400"/>
              <a:gd name="connsiteX678" fmla="*/ 2445893 w 5359400"/>
              <a:gd name="connsiteY678" fmla="*/ 2658237 h 5359400"/>
              <a:gd name="connsiteX679" fmla="*/ 2466340 w 5359400"/>
              <a:gd name="connsiteY679" fmla="*/ 2547493 h 5359400"/>
              <a:gd name="connsiteX680" fmla="*/ 2598039 w 5359400"/>
              <a:gd name="connsiteY680" fmla="*/ 2658237 h 5359400"/>
              <a:gd name="connsiteX681" fmla="*/ 2614422 w 5359400"/>
              <a:gd name="connsiteY681" fmla="*/ 2558034 h 5359400"/>
              <a:gd name="connsiteX682" fmla="*/ 2750312 w 5359400"/>
              <a:gd name="connsiteY682" fmla="*/ 2658237 h 5359400"/>
              <a:gd name="connsiteX683" fmla="*/ 2763012 w 5359400"/>
              <a:gd name="connsiteY683" fmla="*/ 2568321 h 5359400"/>
              <a:gd name="connsiteX684" fmla="*/ 2902712 w 5359400"/>
              <a:gd name="connsiteY684" fmla="*/ 2658237 h 5359400"/>
              <a:gd name="connsiteX685" fmla="*/ 2912618 w 5359400"/>
              <a:gd name="connsiteY685" fmla="*/ 2578354 h 5359400"/>
              <a:gd name="connsiteX686" fmla="*/ 3054985 w 5359400"/>
              <a:gd name="connsiteY686" fmla="*/ 2658237 h 5359400"/>
              <a:gd name="connsiteX687" fmla="*/ 3062605 w 5359400"/>
              <a:gd name="connsiteY687" fmla="*/ 2587879 h 5359400"/>
              <a:gd name="connsiteX688" fmla="*/ 3207258 w 5359400"/>
              <a:gd name="connsiteY688" fmla="*/ 2658237 h 5359400"/>
              <a:gd name="connsiteX689" fmla="*/ 3212973 w 5359400"/>
              <a:gd name="connsiteY689" fmla="*/ 2597023 h 5359400"/>
              <a:gd name="connsiteX690" fmla="*/ 3359404 w 5359400"/>
              <a:gd name="connsiteY690" fmla="*/ 2658237 h 5359400"/>
              <a:gd name="connsiteX691" fmla="*/ 3363722 w 5359400"/>
              <a:gd name="connsiteY691" fmla="*/ 2605659 h 5359400"/>
              <a:gd name="connsiteX692" fmla="*/ 3511677 w 5359400"/>
              <a:gd name="connsiteY692" fmla="*/ 2658237 h 5359400"/>
              <a:gd name="connsiteX693" fmla="*/ 3514725 w 5359400"/>
              <a:gd name="connsiteY693" fmla="*/ 2613787 h 5359400"/>
              <a:gd name="connsiteX694" fmla="*/ 3663950 w 5359400"/>
              <a:gd name="connsiteY694" fmla="*/ 2658237 h 5359400"/>
              <a:gd name="connsiteX695" fmla="*/ 3666109 w 5359400"/>
              <a:gd name="connsiteY695" fmla="*/ 2621407 h 5359400"/>
              <a:gd name="connsiteX696" fmla="*/ 3816223 w 5359400"/>
              <a:gd name="connsiteY696" fmla="*/ 2658237 h 5359400"/>
              <a:gd name="connsiteX697" fmla="*/ 3817620 w 5359400"/>
              <a:gd name="connsiteY697" fmla="*/ 2628646 h 5359400"/>
              <a:gd name="connsiteX698" fmla="*/ 3968496 w 5359400"/>
              <a:gd name="connsiteY698" fmla="*/ 2658237 h 5359400"/>
              <a:gd name="connsiteX699" fmla="*/ 3969258 w 5359400"/>
              <a:gd name="connsiteY699" fmla="*/ 2635250 h 5359400"/>
              <a:gd name="connsiteX700" fmla="*/ 4120642 w 5359400"/>
              <a:gd name="connsiteY700" fmla="*/ 2658237 h 5359400"/>
              <a:gd name="connsiteX701" fmla="*/ 4120642 w 5359400"/>
              <a:gd name="connsiteY701" fmla="*/ 2641600 h 5359400"/>
              <a:gd name="connsiteX702" fmla="*/ 4273042 w 5359400"/>
              <a:gd name="connsiteY702" fmla="*/ 2658237 h 5359400"/>
              <a:gd name="connsiteX703" fmla="*/ 4273042 w 5359400"/>
              <a:gd name="connsiteY703" fmla="*/ 2647823 h 5359400"/>
              <a:gd name="connsiteX704" fmla="*/ 4282694 w 5359400"/>
              <a:gd name="connsiteY704" fmla="*/ 2647823 h 5359400"/>
              <a:gd name="connsiteX705" fmla="*/ 4376166 w 5359400"/>
              <a:gd name="connsiteY705" fmla="*/ 2654427 h 5359400"/>
              <a:gd name="connsiteX706" fmla="*/ 4376166 w 5359400"/>
              <a:gd name="connsiteY706" fmla="*/ 2657856 h 5359400"/>
              <a:gd name="connsiteX707" fmla="*/ 5360289 w 5359400"/>
              <a:gd name="connsiteY707" fmla="*/ 2657856 h 5359400"/>
              <a:gd name="connsiteX708" fmla="*/ 5360289 w 5359400"/>
              <a:gd name="connsiteY708" fmla="*/ 2297176 h 5359400"/>
              <a:gd name="connsiteX709" fmla="*/ 4375785 w 5359400"/>
              <a:gd name="connsiteY709" fmla="*/ 2297176 h 5359400"/>
              <a:gd name="connsiteX710" fmla="*/ 1699641 w 5359400"/>
              <a:gd name="connsiteY710" fmla="*/ 2894711 h 5359400"/>
              <a:gd name="connsiteX711" fmla="*/ 1836547 w 5359400"/>
              <a:gd name="connsiteY711" fmla="*/ 3115818 h 5359400"/>
              <a:gd name="connsiteX712" fmla="*/ 1880108 w 5359400"/>
              <a:gd name="connsiteY712" fmla="*/ 2976118 h 5359400"/>
              <a:gd name="connsiteX713" fmla="*/ 1743329 w 5359400"/>
              <a:gd name="connsiteY713" fmla="*/ 2755011 h 5359400"/>
              <a:gd name="connsiteX714" fmla="*/ 4375785 w 5359400"/>
              <a:gd name="connsiteY714" fmla="*/ 2759837 h 5359400"/>
              <a:gd name="connsiteX715" fmla="*/ 4237228 w 5359400"/>
              <a:gd name="connsiteY715" fmla="*/ 2755138 h 5359400"/>
              <a:gd name="connsiteX716" fmla="*/ 4237228 w 5359400"/>
              <a:gd name="connsiteY716" fmla="*/ 2765425 h 5359400"/>
              <a:gd name="connsiteX717" fmla="*/ 4098798 w 5359400"/>
              <a:gd name="connsiteY717" fmla="*/ 2755646 h 5359400"/>
              <a:gd name="connsiteX718" fmla="*/ 4098798 w 5359400"/>
              <a:gd name="connsiteY718" fmla="*/ 2770759 h 5359400"/>
              <a:gd name="connsiteX719" fmla="*/ 3960495 w 5359400"/>
              <a:gd name="connsiteY719" fmla="*/ 2755646 h 5359400"/>
              <a:gd name="connsiteX720" fmla="*/ 3960495 w 5359400"/>
              <a:gd name="connsiteY720" fmla="*/ 2776474 h 5359400"/>
              <a:gd name="connsiteX721" fmla="*/ 3822446 w 5359400"/>
              <a:gd name="connsiteY721" fmla="*/ 2755646 h 5359400"/>
              <a:gd name="connsiteX722" fmla="*/ 3821684 w 5359400"/>
              <a:gd name="connsiteY722" fmla="*/ 2782697 h 5359400"/>
              <a:gd name="connsiteX723" fmla="*/ 3683889 w 5359400"/>
              <a:gd name="connsiteY723" fmla="*/ 2755646 h 5359400"/>
              <a:gd name="connsiteX724" fmla="*/ 3682619 w 5359400"/>
              <a:gd name="connsiteY724" fmla="*/ 2789301 h 5359400"/>
              <a:gd name="connsiteX725" fmla="*/ 3545332 w 5359400"/>
              <a:gd name="connsiteY725" fmla="*/ 2755646 h 5359400"/>
              <a:gd name="connsiteX726" fmla="*/ 3543427 w 5359400"/>
              <a:gd name="connsiteY726" fmla="*/ 2796286 h 5359400"/>
              <a:gd name="connsiteX727" fmla="*/ 3406775 w 5359400"/>
              <a:gd name="connsiteY727" fmla="*/ 2755646 h 5359400"/>
              <a:gd name="connsiteX728" fmla="*/ 3403981 w 5359400"/>
              <a:gd name="connsiteY728" fmla="*/ 2803779 h 5359400"/>
              <a:gd name="connsiteX729" fmla="*/ 3268218 w 5359400"/>
              <a:gd name="connsiteY729" fmla="*/ 2755646 h 5359400"/>
              <a:gd name="connsiteX730" fmla="*/ 3264408 w 5359400"/>
              <a:gd name="connsiteY730" fmla="*/ 2811907 h 5359400"/>
              <a:gd name="connsiteX731" fmla="*/ 3129661 w 5359400"/>
              <a:gd name="connsiteY731" fmla="*/ 2755646 h 5359400"/>
              <a:gd name="connsiteX732" fmla="*/ 3124454 w 5359400"/>
              <a:gd name="connsiteY732" fmla="*/ 2820416 h 5359400"/>
              <a:gd name="connsiteX733" fmla="*/ 2991104 w 5359400"/>
              <a:gd name="connsiteY733" fmla="*/ 2755646 h 5359400"/>
              <a:gd name="connsiteX734" fmla="*/ 2984246 w 5359400"/>
              <a:gd name="connsiteY734" fmla="*/ 2829560 h 5359400"/>
              <a:gd name="connsiteX735" fmla="*/ 2852547 w 5359400"/>
              <a:gd name="connsiteY735" fmla="*/ 2755646 h 5359400"/>
              <a:gd name="connsiteX736" fmla="*/ 2843530 w 5359400"/>
              <a:gd name="connsiteY736" fmla="*/ 2839085 h 5359400"/>
              <a:gd name="connsiteX737" fmla="*/ 2714117 w 5359400"/>
              <a:gd name="connsiteY737" fmla="*/ 2755646 h 5359400"/>
              <a:gd name="connsiteX738" fmla="*/ 2702433 w 5359400"/>
              <a:gd name="connsiteY738" fmla="*/ 2849118 h 5359400"/>
              <a:gd name="connsiteX739" fmla="*/ 2575433 w 5359400"/>
              <a:gd name="connsiteY739" fmla="*/ 2755646 h 5359400"/>
              <a:gd name="connsiteX740" fmla="*/ 2560574 w 5359400"/>
              <a:gd name="connsiteY740" fmla="*/ 2859659 h 5359400"/>
              <a:gd name="connsiteX741" fmla="*/ 2436876 w 5359400"/>
              <a:gd name="connsiteY741" fmla="*/ 2755646 h 5359400"/>
              <a:gd name="connsiteX742" fmla="*/ 2418207 w 5359400"/>
              <a:gd name="connsiteY742" fmla="*/ 2869946 h 5359400"/>
              <a:gd name="connsiteX743" fmla="*/ 2298319 w 5359400"/>
              <a:gd name="connsiteY743" fmla="*/ 2755646 h 5359400"/>
              <a:gd name="connsiteX744" fmla="*/ 2275078 w 5359400"/>
              <a:gd name="connsiteY744" fmla="*/ 2881122 h 5359400"/>
              <a:gd name="connsiteX745" fmla="*/ 2159762 w 5359400"/>
              <a:gd name="connsiteY745" fmla="*/ 2755646 h 5359400"/>
              <a:gd name="connsiteX746" fmla="*/ 2130425 w 5359400"/>
              <a:gd name="connsiteY746" fmla="*/ 2891282 h 5359400"/>
              <a:gd name="connsiteX747" fmla="*/ 2020570 w 5359400"/>
              <a:gd name="connsiteY747" fmla="*/ 2755138 h 5359400"/>
              <a:gd name="connsiteX748" fmla="*/ 1985518 w 5359400"/>
              <a:gd name="connsiteY748" fmla="*/ 2901315 h 5359400"/>
              <a:gd name="connsiteX749" fmla="*/ 1882013 w 5359400"/>
              <a:gd name="connsiteY749" fmla="*/ 2755138 h 5359400"/>
              <a:gd name="connsiteX750" fmla="*/ 1840611 w 5359400"/>
              <a:gd name="connsiteY750" fmla="*/ 2906395 h 5359400"/>
              <a:gd name="connsiteX751" fmla="*/ 1988820 w 5359400"/>
              <a:gd name="connsiteY751" fmla="*/ 3115818 h 5359400"/>
              <a:gd name="connsiteX752" fmla="*/ 2026920 w 5359400"/>
              <a:gd name="connsiteY752" fmla="*/ 2974848 h 5359400"/>
              <a:gd name="connsiteX753" fmla="*/ 2141220 w 5359400"/>
              <a:gd name="connsiteY753" fmla="*/ 3115818 h 5359400"/>
              <a:gd name="connsiteX754" fmla="*/ 2172716 w 5359400"/>
              <a:gd name="connsiteY754" fmla="*/ 2984373 h 5359400"/>
              <a:gd name="connsiteX755" fmla="*/ 2293493 w 5359400"/>
              <a:gd name="connsiteY755" fmla="*/ 3115818 h 5359400"/>
              <a:gd name="connsiteX756" fmla="*/ 2318893 w 5359400"/>
              <a:gd name="connsiteY756" fmla="*/ 2994533 h 5359400"/>
              <a:gd name="connsiteX757" fmla="*/ 2445893 w 5359400"/>
              <a:gd name="connsiteY757" fmla="*/ 3115818 h 5359400"/>
              <a:gd name="connsiteX758" fmla="*/ 2466340 w 5359400"/>
              <a:gd name="connsiteY758" fmla="*/ 3005074 h 5359400"/>
              <a:gd name="connsiteX759" fmla="*/ 2598039 w 5359400"/>
              <a:gd name="connsiteY759" fmla="*/ 3115818 h 5359400"/>
              <a:gd name="connsiteX760" fmla="*/ 2614422 w 5359400"/>
              <a:gd name="connsiteY760" fmla="*/ 3015615 h 5359400"/>
              <a:gd name="connsiteX761" fmla="*/ 2750312 w 5359400"/>
              <a:gd name="connsiteY761" fmla="*/ 3115818 h 5359400"/>
              <a:gd name="connsiteX762" fmla="*/ 2763012 w 5359400"/>
              <a:gd name="connsiteY762" fmla="*/ 3025902 h 5359400"/>
              <a:gd name="connsiteX763" fmla="*/ 2902712 w 5359400"/>
              <a:gd name="connsiteY763" fmla="*/ 3115818 h 5359400"/>
              <a:gd name="connsiteX764" fmla="*/ 2912618 w 5359400"/>
              <a:gd name="connsiteY764" fmla="*/ 3035935 h 5359400"/>
              <a:gd name="connsiteX765" fmla="*/ 3054985 w 5359400"/>
              <a:gd name="connsiteY765" fmla="*/ 3115818 h 5359400"/>
              <a:gd name="connsiteX766" fmla="*/ 3062605 w 5359400"/>
              <a:gd name="connsiteY766" fmla="*/ 3045460 h 5359400"/>
              <a:gd name="connsiteX767" fmla="*/ 3207258 w 5359400"/>
              <a:gd name="connsiteY767" fmla="*/ 3115818 h 5359400"/>
              <a:gd name="connsiteX768" fmla="*/ 3212973 w 5359400"/>
              <a:gd name="connsiteY768" fmla="*/ 3054604 h 5359400"/>
              <a:gd name="connsiteX769" fmla="*/ 3359404 w 5359400"/>
              <a:gd name="connsiteY769" fmla="*/ 3115818 h 5359400"/>
              <a:gd name="connsiteX770" fmla="*/ 3363722 w 5359400"/>
              <a:gd name="connsiteY770" fmla="*/ 3063240 h 5359400"/>
              <a:gd name="connsiteX771" fmla="*/ 3511677 w 5359400"/>
              <a:gd name="connsiteY771" fmla="*/ 3115818 h 5359400"/>
              <a:gd name="connsiteX772" fmla="*/ 3514725 w 5359400"/>
              <a:gd name="connsiteY772" fmla="*/ 3071368 h 5359400"/>
              <a:gd name="connsiteX773" fmla="*/ 3663950 w 5359400"/>
              <a:gd name="connsiteY773" fmla="*/ 3115818 h 5359400"/>
              <a:gd name="connsiteX774" fmla="*/ 3666109 w 5359400"/>
              <a:gd name="connsiteY774" fmla="*/ 3078988 h 5359400"/>
              <a:gd name="connsiteX775" fmla="*/ 3816223 w 5359400"/>
              <a:gd name="connsiteY775" fmla="*/ 3115818 h 5359400"/>
              <a:gd name="connsiteX776" fmla="*/ 3817620 w 5359400"/>
              <a:gd name="connsiteY776" fmla="*/ 3086227 h 5359400"/>
              <a:gd name="connsiteX777" fmla="*/ 3968496 w 5359400"/>
              <a:gd name="connsiteY777" fmla="*/ 3115818 h 5359400"/>
              <a:gd name="connsiteX778" fmla="*/ 3969258 w 5359400"/>
              <a:gd name="connsiteY778" fmla="*/ 3092958 h 5359400"/>
              <a:gd name="connsiteX779" fmla="*/ 4120642 w 5359400"/>
              <a:gd name="connsiteY779" fmla="*/ 3115818 h 5359400"/>
              <a:gd name="connsiteX780" fmla="*/ 4120642 w 5359400"/>
              <a:gd name="connsiteY780" fmla="*/ 3099181 h 5359400"/>
              <a:gd name="connsiteX781" fmla="*/ 4273042 w 5359400"/>
              <a:gd name="connsiteY781" fmla="*/ 3115818 h 5359400"/>
              <a:gd name="connsiteX782" fmla="*/ 4273042 w 5359400"/>
              <a:gd name="connsiteY782" fmla="*/ 3105404 h 5359400"/>
              <a:gd name="connsiteX783" fmla="*/ 4282694 w 5359400"/>
              <a:gd name="connsiteY783" fmla="*/ 3105404 h 5359400"/>
              <a:gd name="connsiteX784" fmla="*/ 4376166 w 5359400"/>
              <a:gd name="connsiteY784" fmla="*/ 3112008 h 5359400"/>
              <a:gd name="connsiteX785" fmla="*/ 4376166 w 5359400"/>
              <a:gd name="connsiteY785" fmla="*/ 3115437 h 5359400"/>
              <a:gd name="connsiteX786" fmla="*/ 5360289 w 5359400"/>
              <a:gd name="connsiteY786" fmla="*/ 3115437 h 5359400"/>
              <a:gd name="connsiteX787" fmla="*/ 5360289 w 5359400"/>
              <a:gd name="connsiteY787" fmla="*/ 2754757 h 5359400"/>
              <a:gd name="connsiteX788" fmla="*/ 4375785 w 5359400"/>
              <a:gd name="connsiteY788" fmla="*/ 2754757 h 5359400"/>
              <a:gd name="connsiteX789" fmla="*/ 1417955 w 5359400"/>
              <a:gd name="connsiteY789" fmla="*/ 2871470 h 5359400"/>
              <a:gd name="connsiteX790" fmla="*/ 1532255 w 5359400"/>
              <a:gd name="connsiteY790" fmla="*/ 3115818 h 5359400"/>
              <a:gd name="connsiteX791" fmla="*/ 1580515 w 5359400"/>
              <a:gd name="connsiteY791" fmla="*/ 2999486 h 5359400"/>
              <a:gd name="connsiteX792" fmla="*/ 1466215 w 5359400"/>
              <a:gd name="connsiteY792" fmla="*/ 2755138 h 5359400"/>
              <a:gd name="connsiteX793" fmla="*/ 572897 w 5359400"/>
              <a:gd name="connsiteY793" fmla="*/ 2801620 h 5359400"/>
              <a:gd name="connsiteX794" fmla="*/ 619125 w 5359400"/>
              <a:gd name="connsiteY794" fmla="*/ 3115818 h 5359400"/>
              <a:gd name="connsiteX795" fmla="*/ 681228 w 5359400"/>
              <a:gd name="connsiteY795" fmla="*/ 3069209 h 5359400"/>
              <a:gd name="connsiteX796" fmla="*/ 635635 w 5359400"/>
              <a:gd name="connsiteY796" fmla="*/ 2755138 h 5359400"/>
              <a:gd name="connsiteX797" fmla="*/ 432054 w 5359400"/>
              <a:gd name="connsiteY797" fmla="*/ 44450 h 5359400"/>
              <a:gd name="connsiteX798" fmla="*/ 466725 w 5359400"/>
              <a:gd name="connsiteY798" fmla="*/ 370205 h 5359400"/>
              <a:gd name="connsiteX799" fmla="*/ 530225 w 5359400"/>
              <a:gd name="connsiteY799" fmla="*/ 335280 h 5359400"/>
              <a:gd name="connsiteX800" fmla="*/ 496443 w 5359400"/>
              <a:gd name="connsiteY800" fmla="*/ 9525 h 5359400"/>
              <a:gd name="connsiteX801" fmla="*/ 432054 w 5359400"/>
              <a:gd name="connsiteY801" fmla="*/ 501650 h 5359400"/>
              <a:gd name="connsiteX802" fmla="*/ 466725 w 5359400"/>
              <a:gd name="connsiteY802" fmla="*/ 827786 h 5359400"/>
              <a:gd name="connsiteX803" fmla="*/ 530225 w 5359400"/>
              <a:gd name="connsiteY803" fmla="*/ 792861 h 5359400"/>
              <a:gd name="connsiteX804" fmla="*/ 496443 w 5359400"/>
              <a:gd name="connsiteY804" fmla="*/ 466725 h 5359400"/>
              <a:gd name="connsiteX805" fmla="*/ 572897 w 5359400"/>
              <a:gd name="connsiteY805" fmla="*/ 1428750 h 5359400"/>
              <a:gd name="connsiteX806" fmla="*/ 619125 w 5359400"/>
              <a:gd name="connsiteY806" fmla="*/ 1742948 h 5359400"/>
              <a:gd name="connsiteX807" fmla="*/ 681228 w 5359400"/>
              <a:gd name="connsiteY807" fmla="*/ 1696466 h 5359400"/>
              <a:gd name="connsiteX808" fmla="*/ 635000 w 5359400"/>
              <a:gd name="connsiteY808" fmla="*/ 1382395 h 5359400"/>
              <a:gd name="connsiteX809" fmla="*/ 432054 w 5359400"/>
              <a:gd name="connsiteY809" fmla="*/ 959612 h 5359400"/>
              <a:gd name="connsiteX810" fmla="*/ 466725 w 5359400"/>
              <a:gd name="connsiteY810" fmla="*/ 1285367 h 5359400"/>
              <a:gd name="connsiteX811" fmla="*/ 530225 w 5359400"/>
              <a:gd name="connsiteY811" fmla="*/ 1250442 h 5359400"/>
              <a:gd name="connsiteX812" fmla="*/ 496443 w 5359400"/>
              <a:gd name="connsiteY812" fmla="*/ 924687 h 5359400"/>
              <a:gd name="connsiteX813" fmla="*/ 572897 w 5359400"/>
              <a:gd name="connsiteY813" fmla="*/ 2343912 h 5359400"/>
              <a:gd name="connsiteX814" fmla="*/ 619125 w 5359400"/>
              <a:gd name="connsiteY814" fmla="*/ 2658237 h 5359400"/>
              <a:gd name="connsiteX815" fmla="*/ 681228 w 5359400"/>
              <a:gd name="connsiteY815" fmla="*/ 2611628 h 5359400"/>
              <a:gd name="connsiteX816" fmla="*/ 635635 w 5359400"/>
              <a:gd name="connsiteY816" fmla="*/ 2297557 h 5359400"/>
              <a:gd name="connsiteX817" fmla="*/ 572897 w 5359400"/>
              <a:gd name="connsiteY817" fmla="*/ 1886712 h 5359400"/>
              <a:gd name="connsiteX818" fmla="*/ 619125 w 5359400"/>
              <a:gd name="connsiteY818" fmla="*/ 2200529 h 5359400"/>
              <a:gd name="connsiteX819" fmla="*/ 681228 w 5359400"/>
              <a:gd name="connsiteY819" fmla="*/ 2154047 h 5359400"/>
              <a:gd name="connsiteX820" fmla="*/ 635635 w 5359400"/>
              <a:gd name="connsiteY820" fmla="*/ 1839976 h 5359400"/>
              <a:gd name="connsiteX821" fmla="*/ 432054 w 5359400"/>
              <a:gd name="connsiteY821" fmla="*/ 2790063 h 5359400"/>
              <a:gd name="connsiteX822" fmla="*/ 466725 w 5359400"/>
              <a:gd name="connsiteY822" fmla="*/ 3115818 h 5359400"/>
              <a:gd name="connsiteX823" fmla="*/ 530225 w 5359400"/>
              <a:gd name="connsiteY823" fmla="*/ 3080893 h 5359400"/>
              <a:gd name="connsiteX824" fmla="*/ 496062 w 5359400"/>
              <a:gd name="connsiteY824" fmla="*/ 2755138 h 5359400"/>
              <a:gd name="connsiteX825" fmla="*/ 291211 w 5359400"/>
              <a:gd name="connsiteY825" fmla="*/ 32766 h 5359400"/>
              <a:gd name="connsiteX826" fmla="*/ 314325 w 5359400"/>
              <a:gd name="connsiteY826" fmla="*/ 370205 h 5359400"/>
              <a:gd name="connsiteX827" fmla="*/ 380873 w 5359400"/>
              <a:gd name="connsiteY827" fmla="*/ 346964 h 5359400"/>
              <a:gd name="connsiteX828" fmla="*/ 357886 w 5359400"/>
              <a:gd name="connsiteY828" fmla="*/ 9525 h 5359400"/>
              <a:gd name="connsiteX829" fmla="*/ 432054 w 5359400"/>
              <a:gd name="connsiteY829" fmla="*/ 1874266 h 5359400"/>
              <a:gd name="connsiteX830" fmla="*/ 466725 w 5359400"/>
              <a:gd name="connsiteY830" fmla="*/ 2200529 h 5359400"/>
              <a:gd name="connsiteX831" fmla="*/ 530225 w 5359400"/>
              <a:gd name="connsiteY831" fmla="*/ 2165731 h 5359400"/>
              <a:gd name="connsiteX832" fmla="*/ 496062 w 5359400"/>
              <a:gd name="connsiteY832" fmla="*/ 1839976 h 5359400"/>
              <a:gd name="connsiteX833" fmla="*/ 432054 w 5359400"/>
              <a:gd name="connsiteY833" fmla="*/ 2331466 h 5359400"/>
              <a:gd name="connsiteX834" fmla="*/ 466725 w 5359400"/>
              <a:gd name="connsiteY834" fmla="*/ 2658237 h 5359400"/>
              <a:gd name="connsiteX835" fmla="*/ 530225 w 5359400"/>
              <a:gd name="connsiteY835" fmla="*/ 2623312 h 5359400"/>
              <a:gd name="connsiteX836" fmla="*/ 496062 w 5359400"/>
              <a:gd name="connsiteY836" fmla="*/ 2297557 h 5359400"/>
              <a:gd name="connsiteX837" fmla="*/ 432054 w 5359400"/>
              <a:gd name="connsiteY837" fmla="*/ 1416177 h 5359400"/>
              <a:gd name="connsiteX838" fmla="*/ 466725 w 5359400"/>
              <a:gd name="connsiteY838" fmla="*/ 1742948 h 5359400"/>
              <a:gd name="connsiteX839" fmla="*/ 530225 w 5359400"/>
              <a:gd name="connsiteY839" fmla="*/ 1708023 h 5359400"/>
              <a:gd name="connsiteX840" fmla="*/ 496443 w 5359400"/>
              <a:gd name="connsiteY840" fmla="*/ 1382395 h 5359400"/>
              <a:gd name="connsiteX841" fmla="*/ 713740 w 5359400"/>
              <a:gd name="connsiteY841" fmla="*/ 1897126 h 5359400"/>
              <a:gd name="connsiteX842" fmla="*/ 770763 w 5359400"/>
              <a:gd name="connsiteY842" fmla="*/ 2199513 h 5359400"/>
              <a:gd name="connsiteX843" fmla="*/ 830453 w 5359400"/>
              <a:gd name="connsiteY843" fmla="*/ 2141347 h 5359400"/>
              <a:gd name="connsiteX844" fmla="*/ 773557 w 5359400"/>
              <a:gd name="connsiteY844" fmla="*/ 1838960 h 5359400"/>
              <a:gd name="connsiteX845" fmla="*/ 713740 w 5359400"/>
              <a:gd name="connsiteY845" fmla="*/ 981837 h 5359400"/>
              <a:gd name="connsiteX846" fmla="*/ 770763 w 5359400"/>
              <a:gd name="connsiteY846" fmla="*/ 1284351 h 5359400"/>
              <a:gd name="connsiteX847" fmla="*/ 830453 w 5359400"/>
              <a:gd name="connsiteY847" fmla="*/ 1226185 h 5359400"/>
              <a:gd name="connsiteX848" fmla="*/ 773557 w 5359400"/>
              <a:gd name="connsiteY848" fmla="*/ 924687 h 5359400"/>
              <a:gd name="connsiteX849" fmla="*/ 713740 w 5359400"/>
              <a:gd name="connsiteY849" fmla="*/ 524637 h 5359400"/>
              <a:gd name="connsiteX850" fmla="*/ 770763 w 5359400"/>
              <a:gd name="connsiteY850" fmla="*/ 827151 h 5359400"/>
              <a:gd name="connsiteX851" fmla="*/ 830453 w 5359400"/>
              <a:gd name="connsiteY851" fmla="*/ 768985 h 5359400"/>
              <a:gd name="connsiteX852" fmla="*/ 773557 w 5359400"/>
              <a:gd name="connsiteY852" fmla="*/ 466725 h 5359400"/>
              <a:gd name="connsiteX853" fmla="*/ 713740 w 5359400"/>
              <a:gd name="connsiteY853" fmla="*/ 1439926 h 5359400"/>
              <a:gd name="connsiteX854" fmla="*/ 770763 w 5359400"/>
              <a:gd name="connsiteY854" fmla="*/ 1742313 h 5359400"/>
              <a:gd name="connsiteX855" fmla="*/ 830453 w 5359400"/>
              <a:gd name="connsiteY855" fmla="*/ 1684147 h 5359400"/>
              <a:gd name="connsiteX856" fmla="*/ 773557 w 5359400"/>
              <a:gd name="connsiteY856" fmla="*/ 1382395 h 5359400"/>
              <a:gd name="connsiteX857" fmla="*/ 713740 w 5359400"/>
              <a:gd name="connsiteY857" fmla="*/ 67056 h 5359400"/>
              <a:gd name="connsiteX858" fmla="*/ 770763 w 5359400"/>
              <a:gd name="connsiteY858" fmla="*/ 370205 h 5359400"/>
              <a:gd name="connsiteX859" fmla="*/ 830453 w 5359400"/>
              <a:gd name="connsiteY859" fmla="*/ 312039 h 5359400"/>
              <a:gd name="connsiteX860" fmla="*/ 773557 w 5359400"/>
              <a:gd name="connsiteY860" fmla="*/ 9525 h 5359400"/>
              <a:gd name="connsiteX861" fmla="*/ 854583 w 5359400"/>
              <a:gd name="connsiteY861" fmla="*/ 2824988 h 5359400"/>
              <a:gd name="connsiteX862" fmla="*/ 923036 w 5359400"/>
              <a:gd name="connsiteY862" fmla="*/ 3115818 h 5359400"/>
              <a:gd name="connsiteX863" fmla="*/ 980440 w 5359400"/>
              <a:gd name="connsiteY863" fmla="*/ 3045968 h 5359400"/>
              <a:gd name="connsiteX864" fmla="*/ 911987 w 5359400"/>
              <a:gd name="connsiteY864" fmla="*/ 2755138 h 5359400"/>
              <a:gd name="connsiteX865" fmla="*/ 713740 w 5359400"/>
              <a:gd name="connsiteY865" fmla="*/ 2355723 h 5359400"/>
              <a:gd name="connsiteX866" fmla="*/ 770763 w 5359400"/>
              <a:gd name="connsiteY866" fmla="*/ 2658237 h 5359400"/>
              <a:gd name="connsiteX867" fmla="*/ 830453 w 5359400"/>
              <a:gd name="connsiteY867" fmla="*/ 2600071 h 5359400"/>
              <a:gd name="connsiteX868" fmla="*/ 773557 w 5359400"/>
              <a:gd name="connsiteY868" fmla="*/ 2297557 h 5359400"/>
              <a:gd name="connsiteX869" fmla="*/ 572897 w 5359400"/>
              <a:gd name="connsiteY869" fmla="*/ 513715 h 5359400"/>
              <a:gd name="connsiteX870" fmla="*/ 619125 w 5359400"/>
              <a:gd name="connsiteY870" fmla="*/ 827786 h 5359400"/>
              <a:gd name="connsiteX871" fmla="*/ 681228 w 5359400"/>
              <a:gd name="connsiteY871" fmla="*/ 781177 h 5359400"/>
              <a:gd name="connsiteX872" fmla="*/ 635000 w 5359400"/>
              <a:gd name="connsiteY872" fmla="*/ 466725 h 5359400"/>
              <a:gd name="connsiteX873" fmla="*/ 854583 w 5359400"/>
              <a:gd name="connsiteY873" fmla="*/ 2367915 h 5359400"/>
              <a:gd name="connsiteX874" fmla="*/ 923036 w 5359400"/>
              <a:gd name="connsiteY874" fmla="*/ 2658745 h 5359400"/>
              <a:gd name="connsiteX875" fmla="*/ 980440 w 5359400"/>
              <a:gd name="connsiteY875" fmla="*/ 2588895 h 5359400"/>
              <a:gd name="connsiteX876" fmla="*/ 911987 w 5359400"/>
              <a:gd name="connsiteY876" fmla="*/ 2298065 h 5359400"/>
              <a:gd name="connsiteX877" fmla="*/ 572897 w 5359400"/>
              <a:gd name="connsiteY877" fmla="*/ 56007 h 5359400"/>
              <a:gd name="connsiteX878" fmla="*/ 619125 w 5359400"/>
              <a:gd name="connsiteY878" fmla="*/ 370205 h 5359400"/>
              <a:gd name="connsiteX879" fmla="*/ 681228 w 5359400"/>
              <a:gd name="connsiteY879" fmla="*/ 323596 h 5359400"/>
              <a:gd name="connsiteX880" fmla="*/ 635000 w 5359400"/>
              <a:gd name="connsiteY880" fmla="*/ 9525 h 5359400"/>
              <a:gd name="connsiteX881" fmla="*/ 572897 w 5359400"/>
              <a:gd name="connsiteY881" fmla="*/ 971296 h 5359400"/>
              <a:gd name="connsiteX882" fmla="*/ 619125 w 5359400"/>
              <a:gd name="connsiteY882" fmla="*/ 1285367 h 5359400"/>
              <a:gd name="connsiteX883" fmla="*/ 681228 w 5359400"/>
              <a:gd name="connsiteY883" fmla="*/ 1238885 h 5359400"/>
              <a:gd name="connsiteX884" fmla="*/ 635000 w 5359400"/>
              <a:gd name="connsiteY884" fmla="*/ 924687 h 5359400"/>
              <a:gd name="connsiteX885" fmla="*/ 713740 w 5359400"/>
              <a:gd name="connsiteY885" fmla="*/ 2812796 h 5359400"/>
              <a:gd name="connsiteX886" fmla="*/ 770763 w 5359400"/>
              <a:gd name="connsiteY886" fmla="*/ 3115310 h 5359400"/>
              <a:gd name="connsiteX887" fmla="*/ 830453 w 5359400"/>
              <a:gd name="connsiteY887" fmla="*/ 3057144 h 5359400"/>
              <a:gd name="connsiteX888" fmla="*/ 773557 w 5359400"/>
              <a:gd name="connsiteY888" fmla="*/ 2754630 h 5359400"/>
              <a:gd name="connsiteX889" fmla="*/ 9525 w 5359400"/>
              <a:gd name="connsiteY889" fmla="*/ 3556635 h 5359400"/>
              <a:gd name="connsiteX890" fmla="*/ 80772 w 5359400"/>
              <a:gd name="connsiteY890" fmla="*/ 3556635 h 5359400"/>
              <a:gd name="connsiteX891" fmla="*/ 80772 w 5359400"/>
              <a:gd name="connsiteY891" fmla="*/ 3195955 h 5359400"/>
              <a:gd name="connsiteX892" fmla="*/ 9525 w 5359400"/>
              <a:gd name="connsiteY892" fmla="*/ 3195955 h 5359400"/>
              <a:gd name="connsiteX893" fmla="*/ 291211 w 5359400"/>
              <a:gd name="connsiteY893" fmla="*/ 3219196 h 5359400"/>
              <a:gd name="connsiteX894" fmla="*/ 314325 w 5359400"/>
              <a:gd name="connsiteY894" fmla="*/ 3556635 h 5359400"/>
              <a:gd name="connsiteX895" fmla="*/ 380873 w 5359400"/>
              <a:gd name="connsiteY895" fmla="*/ 3533267 h 5359400"/>
              <a:gd name="connsiteX896" fmla="*/ 357886 w 5359400"/>
              <a:gd name="connsiteY896" fmla="*/ 3195955 h 5359400"/>
              <a:gd name="connsiteX897" fmla="*/ 150368 w 5359400"/>
              <a:gd name="connsiteY897" fmla="*/ 3207639 h 5359400"/>
              <a:gd name="connsiteX898" fmla="*/ 161925 w 5359400"/>
              <a:gd name="connsiteY898" fmla="*/ 3556635 h 5359400"/>
              <a:gd name="connsiteX899" fmla="*/ 230886 w 5359400"/>
              <a:gd name="connsiteY899" fmla="*/ 3544951 h 5359400"/>
              <a:gd name="connsiteX900" fmla="*/ 219456 w 5359400"/>
              <a:gd name="connsiteY900" fmla="*/ 3195955 h 5359400"/>
              <a:gd name="connsiteX901" fmla="*/ 1136269 w 5359400"/>
              <a:gd name="connsiteY901" fmla="*/ 3289046 h 5359400"/>
              <a:gd name="connsiteX902" fmla="*/ 1227455 w 5359400"/>
              <a:gd name="connsiteY902" fmla="*/ 3556635 h 5359400"/>
              <a:gd name="connsiteX903" fmla="*/ 1280414 w 5359400"/>
              <a:gd name="connsiteY903" fmla="*/ 3463544 h 5359400"/>
              <a:gd name="connsiteX904" fmla="*/ 1189101 w 5359400"/>
              <a:gd name="connsiteY904" fmla="*/ 3195955 h 5359400"/>
              <a:gd name="connsiteX905" fmla="*/ 995426 w 5359400"/>
              <a:gd name="connsiteY905" fmla="*/ 3277362 h 5359400"/>
              <a:gd name="connsiteX906" fmla="*/ 1075309 w 5359400"/>
              <a:gd name="connsiteY906" fmla="*/ 3556762 h 5359400"/>
              <a:gd name="connsiteX907" fmla="*/ 1130427 w 5359400"/>
              <a:gd name="connsiteY907" fmla="*/ 3475228 h 5359400"/>
              <a:gd name="connsiteX908" fmla="*/ 1050925 w 5359400"/>
              <a:gd name="connsiteY908" fmla="*/ 3195955 h 5359400"/>
              <a:gd name="connsiteX909" fmla="*/ 1558925 w 5359400"/>
              <a:gd name="connsiteY909" fmla="*/ 3324225 h 5359400"/>
              <a:gd name="connsiteX910" fmla="*/ 1684401 w 5359400"/>
              <a:gd name="connsiteY910" fmla="*/ 3556889 h 5359400"/>
              <a:gd name="connsiteX911" fmla="*/ 1730375 w 5359400"/>
              <a:gd name="connsiteY911" fmla="*/ 3428873 h 5359400"/>
              <a:gd name="connsiteX912" fmla="*/ 1604899 w 5359400"/>
              <a:gd name="connsiteY912" fmla="*/ 3196209 h 5359400"/>
              <a:gd name="connsiteX913" fmla="*/ 1277239 w 5359400"/>
              <a:gd name="connsiteY913" fmla="*/ 3300857 h 5359400"/>
              <a:gd name="connsiteX914" fmla="*/ 1379855 w 5359400"/>
              <a:gd name="connsiteY914" fmla="*/ 3556889 h 5359400"/>
              <a:gd name="connsiteX915" fmla="*/ 1430655 w 5359400"/>
              <a:gd name="connsiteY915" fmla="*/ 3452114 h 5359400"/>
              <a:gd name="connsiteX916" fmla="*/ 1328039 w 5359400"/>
              <a:gd name="connsiteY916" fmla="*/ 3196209 h 5359400"/>
              <a:gd name="connsiteX917" fmla="*/ 1699768 w 5359400"/>
              <a:gd name="connsiteY917" fmla="*/ 3335782 h 5359400"/>
              <a:gd name="connsiteX918" fmla="*/ 1836674 w 5359400"/>
              <a:gd name="connsiteY918" fmla="*/ 3556889 h 5359400"/>
              <a:gd name="connsiteX919" fmla="*/ 1880235 w 5359400"/>
              <a:gd name="connsiteY919" fmla="*/ 3417189 h 5359400"/>
              <a:gd name="connsiteX920" fmla="*/ 1743456 w 5359400"/>
              <a:gd name="connsiteY920" fmla="*/ 3196209 h 5359400"/>
              <a:gd name="connsiteX921" fmla="*/ 4375785 w 5359400"/>
              <a:gd name="connsiteY921" fmla="*/ 3200654 h 5359400"/>
              <a:gd name="connsiteX922" fmla="*/ 4237228 w 5359400"/>
              <a:gd name="connsiteY922" fmla="*/ 3195955 h 5359400"/>
              <a:gd name="connsiteX923" fmla="*/ 4237228 w 5359400"/>
              <a:gd name="connsiteY923" fmla="*/ 3205734 h 5359400"/>
              <a:gd name="connsiteX924" fmla="*/ 4098925 w 5359400"/>
              <a:gd name="connsiteY924" fmla="*/ 3195955 h 5359400"/>
              <a:gd name="connsiteX925" fmla="*/ 4098925 w 5359400"/>
              <a:gd name="connsiteY925" fmla="*/ 3211068 h 5359400"/>
              <a:gd name="connsiteX926" fmla="*/ 3960622 w 5359400"/>
              <a:gd name="connsiteY926" fmla="*/ 3195955 h 5359400"/>
              <a:gd name="connsiteX927" fmla="*/ 3960622 w 5359400"/>
              <a:gd name="connsiteY927" fmla="*/ 3216783 h 5359400"/>
              <a:gd name="connsiteX928" fmla="*/ 3822573 w 5359400"/>
              <a:gd name="connsiteY928" fmla="*/ 3195955 h 5359400"/>
              <a:gd name="connsiteX929" fmla="*/ 3820795 w 5359400"/>
              <a:gd name="connsiteY929" fmla="*/ 3222625 h 5359400"/>
              <a:gd name="connsiteX930" fmla="*/ 3683000 w 5359400"/>
              <a:gd name="connsiteY930" fmla="*/ 3195574 h 5359400"/>
              <a:gd name="connsiteX931" fmla="*/ 3681730 w 5359400"/>
              <a:gd name="connsiteY931" fmla="*/ 3229229 h 5359400"/>
              <a:gd name="connsiteX932" fmla="*/ 3544443 w 5359400"/>
              <a:gd name="connsiteY932" fmla="*/ 3195574 h 5359400"/>
              <a:gd name="connsiteX933" fmla="*/ 3542538 w 5359400"/>
              <a:gd name="connsiteY933" fmla="*/ 3236214 h 5359400"/>
              <a:gd name="connsiteX934" fmla="*/ 3405886 w 5359400"/>
              <a:gd name="connsiteY934" fmla="*/ 3195574 h 5359400"/>
              <a:gd name="connsiteX935" fmla="*/ 3403092 w 5359400"/>
              <a:gd name="connsiteY935" fmla="*/ 3243707 h 5359400"/>
              <a:gd name="connsiteX936" fmla="*/ 3267329 w 5359400"/>
              <a:gd name="connsiteY936" fmla="*/ 3195574 h 5359400"/>
              <a:gd name="connsiteX937" fmla="*/ 3263519 w 5359400"/>
              <a:gd name="connsiteY937" fmla="*/ 3251835 h 5359400"/>
              <a:gd name="connsiteX938" fmla="*/ 3128772 w 5359400"/>
              <a:gd name="connsiteY938" fmla="*/ 3195574 h 5359400"/>
              <a:gd name="connsiteX939" fmla="*/ 3123565 w 5359400"/>
              <a:gd name="connsiteY939" fmla="*/ 3260344 h 5359400"/>
              <a:gd name="connsiteX940" fmla="*/ 2990215 w 5359400"/>
              <a:gd name="connsiteY940" fmla="*/ 3195574 h 5359400"/>
              <a:gd name="connsiteX941" fmla="*/ 2983357 w 5359400"/>
              <a:gd name="connsiteY941" fmla="*/ 3269488 h 5359400"/>
              <a:gd name="connsiteX942" fmla="*/ 2851658 w 5359400"/>
              <a:gd name="connsiteY942" fmla="*/ 3195574 h 5359400"/>
              <a:gd name="connsiteX943" fmla="*/ 2842641 w 5359400"/>
              <a:gd name="connsiteY943" fmla="*/ 3279013 h 5359400"/>
              <a:gd name="connsiteX944" fmla="*/ 2713228 w 5359400"/>
              <a:gd name="connsiteY944" fmla="*/ 3195574 h 5359400"/>
              <a:gd name="connsiteX945" fmla="*/ 2701544 w 5359400"/>
              <a:gd name="connsiteY945" fmla="*/ 3289046 h 5359400"/>
              <a:gd name="connsiteX946" fmla="*/ 2574544 w 5359400"/>
              <a:gd name="connsiteY946" fmla="*/ 3195574 h 5359400"/>
              <a:gd name="connsiteX947" fmla="*/ 2559685 w 5359400"/>
              <a:gd name="connsiteY947" fmla="*/ 3299587 h 5359400"/>
              <a:gd name="connsiteX948" fmla="*/ 2435987 w 5359400"/>
              <a:gd name="connsiteY948" fmla="*/ 3195574 h 5359400"/>
              <a:gd name="connsiteX949" fmla="*/ 2417318 w 5359400"/>
              <a:gd name="connsiteY949" fmla="*/ 3309874 h 5359400"/>
              <a:gd name="connsiteX950" fmla="*/ 2297430 w 5359400"/>
              <a:gd name="connsiteY950" fmla="*/ 3195574 h 5359400"/>
              <a:gd name="connsiteX951" fmla="*/ 2274189 w 5359400"/>
              <a:gd name="connsiteY951" fmla="*/ 3321050 h 5359400"/>
              <a:gd name="connsiteX952" fmla="*/ 2158873 w 5359400"/>
              <a:gd name="connsiteY952" fmla="*/ 3195574 h 5359400"/>
              <a:gd name="connsiteX953" fmla="*/ 2130425 w 5359400"/>
              <a:gd name="connsiteY953" fmla="*/ 3332099 h 5359400"/>
              <a:gd name="connsiteX954" fmla="*/ 2020570 w 5359400"/>
              <a:gd name="connsiteY954" fmla="*/ 3195955 h 5359400"/>
              <a:gd name="connsiteX955" fmla="*/ 1985518 w 5359400"/>
              <a:gd name="connsiteY955" fmla="*/ 3342132 h 5359400"/>
              <a:gd name="connsiteX956" fmla="*/ 1882013 w 5359400"/>
              <a:gd name="connsiteY956" fmla="*/ 3195955 h 5359400"/>
              <a:gd name="connsiteX957" fmla="*/ 1840611 w 5359400"/>
              <a:gd name="connsiteY957" fmla="*/ 3347212 h 5359400"/>
              <a:gd name="connsiteX958" fmla="*/ 1988820 w 5359400"/>
              <a:gd name="connsiteY958" fmla="*/ 3556635 h 5359400"/>
              <a:gd name="connsiteX959" fmla="*/ 2026920 w 5359400"/>
              <a:gd name="connsiteY959" fmla="*/ 3415665 h 5359400"/>
              <a:gd name="connsiteX960" fmla="*/ 2141220 w 5359400"/>
              <a:gd name="connsiteY960" fmla="*/ 3556635 h 5359400"/>
              <a:gd name="connsiteX961" fmla="*/ 2172462 w 5359400"/>
              <a:gd name="connsiteY961" fmla="*/ 3425825 h 5359400"/>
              <a:gd name="connsiteX962" fmla="*/ 2293239 w 5359400"/>
              <a:gd name="connsiteY962" fmla="*/ 3557270 h 5359400"/>
              <a:gd name="connsiteX963" fmla="*/ 2318639 w 5359400"/>
              <a:gd name="connsiteY963" fmla="*/ 3435985 h 5359400"/>
              <a:gd name="connsiteX964" fmla="*/ 2445639 w 5359400"/>
              <a:gd name="connsiteY964" fmla="*/ 3557270 h 5359400"/>
              <a:gd name="connsiteX965" fmla="*/ 2466086 w 5359400"/>
              <a:gd name="connsiteY965" fmla="*/ 3446526 h 5359400"/>
              <a:gd name="connsiteX966" fmla="*/ 2597785 w 5359400"/>
              <a:gd name="connsiteY966" fmla="*/ 3557270 h 5359400"/>
              <a:gd name="connsiteX967" fmla="*/ 2614168 w 5359400"/>
              <a:gd name="connsiteY967" fmla="*/ 3457067 h 5359400"/>
              <a:gd name="connsiteX968" fmla="*/ 2750058 w 5359400"/>
              <a:gd name="connsiteY968" fmla="*/ 3557270 h 5359400"/>
              <a:gd name="connsiteX969" fmla="*/ 2762758 w 5359400"/>
              <a:gd name="connsiteY969" fmla="*/ 3467354 h 5359400"/>
              <a:gd name="connsiteX970" fmla="*/ 2902458 w 5359400"/>
              <a:gd name="connsiteY970" fmla="*/ 3557270 h 5359400"/>
              <a:gd name="connsiteX971" fmla="*/ 2912364 w 5359400"/>
              <a:gd name="connsiteY971" fmla="*/ 3477387 h 5359400"/>
              <a:gd name="connsiteX972" fmla="*/ 3054731 w 5359400"/>
              <a:gd name="connsiteY972" fmla="*/ 3557270 h 5359400"/>
              <a:gd name="connsiteX973" fmla="*/ 3062351 w 5359400"/>
              <a:gd name="connsiteY973" fmla="*/ 3486912 h 5359400"/>
              <a:gd name="connsiteX974" fmla="*/ 3207004 w 5359400"/>
              <a:gd name="connsiteY974" fmla="*/ 3557270 h 5359400"/>
              <a:gd name="connsiteX975" fmla="*/ 3212719 w 5359400"/>
              <a:gd name="connsiteY975" fmla="*/ 3496056 h 5359400"/>
              <a:gd name="connsiteX976" fmla="*/ 3359150 w 5359400"/>
              <a:gd name="connsiteY976" fmla="*/ 3557270 h 5359400"/>
              <a:gd name="connsiteX977" fmla="*/ 3363468 w 5359400"/>
              <a:gd name="connsiteY977" fmla="*/ 3504692 h 5359400"/>
              <a:gd name="connsiteX978" fmla="*/ 3511423 w 5359400"/>
              <a:gd name="connsiteY978" fmla="*/ 3557270 h 5359400"/>
              <a:gd name="connsiteX979" fmla="*/ 3514471 w 5359400"/>
              <a:gd name="connsiteY979" fmla="*/ 3512820 h 5359400"/>
              <a:gd name="connsiteX980" fmla="*/ 3663696 w 5359400"/>
              <a:gd name="connsiteY980" fmla="*/ 3557270 h 5359400"/>
              <a:gd name="connsiteX981" fmla="*/ 3665855 w 5359400"/>
              <a:gd name="connsiteY981" fmla="*/ 3520440 h 5359400"/>
              <a:gd name="connsiteX982" fmla="*/ 3815969 w 5359400"/>
              <a:gd name="connsiteY982" fmla="*/ 3557270 h 5359400"/>
              <a:gd name="connsiteX983" fmla="*/ 3817366 w 5359400"/>
              <a:gd name="connsiteY983" fmla="*/ 3527679 h 5359400"/>
              <a:gd name="connsiteX984" fmla="*/ 3968242 w 5359400"/>
              <a:gd name="connsiteY984" fmla="*/ 3557270 h 5359400"/>
              <a:gd name="connsiteX985" fmla="*/ 3969004 w 5359400"/>
              <a:gd name="connsiteY985" fmla="*/ 3534283 h 5359400"/>
              <a:gd name="connsiteX986" fmla="*/ 4120388 w 5359400"/>
              <a:gd name="connsiteY986" fmla="*/ 3557270 h 5359400"/>
              <a:gd name="connsiteX987" fmla="*/ 4120388 w 5359400"/>
              <a:gd name="connsiteY987" fmla="*/ 3540633 h 5359400"/>
              <a:gd name="connsiteX988" fmla="*/ 4272788 w 5359400"/>
              <a:gd name="connsiteY988" fmla="*/ 3557270 h 5359400"/>
              <a:gd name="connsiteX989" fmla="*/ 4272788 w 5359400"/>
              <a:gd name="connsiteY989" fmla="*/ 3546856 h 5359400"/>
              <a:gd name="connsiteX990" fmla="*/ 4282440 w 5359400"/>
              <a:gd name="connsiteY990" fmla="*/ 3546856 h 5359400"/>
              <a:gd name="connsiteX991" fmla="*/ 4375912 w 5359400"/>
              <a:gd name="connsiteY991" fmla="*/ 3553460 h 5359400"/>
              <a:gd name="connsiteX992" fmla="*/ 4375912 w 5359400"/>
              <a:gd name="connsiteY992" fmla="*/ 3556889 h 5359400"/>
              <a:gd name="connsiteX993" fmla="*/ 5360035 w 5359400"/>
              <a:gd name="connsiteY993" fmla="*/ 3556889 h 5359400"/>
              <a:gd name="connsiteX994" fmla="*/ 5360035 w 5359400"/>
              <a:gd name="connsiteY994" fmla="*/ 3195955 h 5359400"/>
              <a:gd name="connsiteX995" fmla="*/ 4375785 w 5359400"/>
              <a:gd name="connsiteY995" fmla="*/ 3195955 h 5359400"/>
              <a:gd name="connsiteX996" fmla="*/ 1417955 w 5359400"/>
              <a:gd name="connsiteY996" fmla="*/ 3312287 h 5359400"/>
              <a:gd name="connsiteX997" fmla="*/ 1532255 w 5359400"/>
              <a:gd name="connsiteY997" fmla="*/ 3556635 h 5359400"/>
              <a:gd name="connsiteX998" fmla="*/ 1580515 w 5359400"/>
              <a:gd name="connsiteY998" fmla="*/ 3440303 h 5359400"/>
              <a:gd name="connsiteX999" fmla="*/ 1466215 w 5359400"/>
              <a:gd name="connsiteY999" fmla="*/ 3195955 h 5359400"/>
              <a:gd name="connsiteX1000" fmla="*/ 572897 w 5359400"/>
              <a:gd name="connsiteY1000" fmla="*/ 3242437 h 5359400"/>
              <a:gd name="connsiteX1001" fmla="*/ 619125 w 5359400"/>
              <a:gd name="connsiteY1001" fmla="*/ 3556635 h 5359400"/>
              <a:gd name="connsiteX1002" fmla="*/ 681228 w 5359400"/>
              <a:gd name="connsiteY1002" fmla="*/ 3510026 h 5359400"/>
              <a:gd name="connsiteX1003" fmla="*/ 635000 w 5359400"/>
              <a:gd name="connsiteY1003" fmla="*/ 3195955 h 5359400"/>
              <a:gd name="connsiteX1004" fmla="*/ 432054 w 5359400"/>
              <a:gd name="connsiteY1004" fmla="*/ 3230880 h 5359400"/>
              <a:gd name="connsiteX1005" fmla="*/ 466725 w 5359400"/>
              <a:gd name="connsiteY1005" fmla="*/ 3556635 h 5359400"/>
              <a:gd name="connsiteX1006" fmla="*/ 530225 w 5359400"/>
              <a:gd name="connsiteY1006" fmla="*/ 3521710 h 5359400"/>
              <a:gd name="connsiteX1007" fmla="*/ 496443 w 5359400"/>
              <a:gd name="connsiteY1007" fmla="*/ 3195955 h 5359400"/>
              <a:gd name="connsiteX1008" fmla="*/ 854583 w 5359400"/>
              <a:gd name="connsiteY1008" fmla="*/ 3265805 h 5359400"/>
              <a:gd name="connsiteX1009" fmla="*/ 923036 w 5359400"/>
              <a:gd name="connsiteY1009" fmla="*/ 3556635 h 5359400"/>
              <a:gd name="connsiteX1010" fmla="*/ 980440 w 5359400"/>
              <a:gd name="connsiteY1010" fmla="*/ 3486785 h 5359400"/>
              <a:gd name="connsiteX1011" fmla="*/ 911987 w 5359400"/>
              <a:gd name="connsiteY1011" fmla="*/ 3195955 h 5359400"/>
              <a:gd name="connsiteX1012" fmla="*/ 713740 w 5359400"/>
              <a:gd name="connsiteY1012" fmla="*/ 3254121 h 5359400"/>
              <a:gd name="connsiteX1013" fmla="*/ 770763 w 5359400"/>
              <a:gd name="connsiteY1013" fmla="*/ 3556635 h 5359400"/>
              <a:gd name="connsiteX1014" fmla="*/ 830453 w 5359400"/>
              <a:gd name="connsiteY1014" fmla="*/ 3498469 h 5359400"/>
              <a:gd name="connsiteX1015" fmla="*/ 773557 w 5359400"/>
              <a:gd name="connsiteY1015" fmla="*/ 3195955 h 5359400"/>
              <a:gd name="connsiteX1016" fmla="*/ 9525 w 5359400"/>
              <a:gd name="connsiteY1016" fmla="*/ 4007993 h 5359400"/>
              <a:gd name="connsiteX1017" fmla="*/ 80772 w 5359400"/>
              <a:gd name="connsiteY1017" fmla="*/ 4007993 h 5359400"/>
              <a:gd name="connsiteX1018" fmla="*/ 80772 w 5359400"/>
              <a:gd name="connsiteY1018" fmla="*/ 3647313 h 5359400"/>
              <a:gd name="connsiteX1019" fmla="*/ 9525 w 5359400"/>
              <a:gd name="connsiteY1019" fmla="*/ 3647313 h 5359400"/>
              <a:gd name="connsiteX1020" fmla="*/ 291211 w 5359400"/>
              <a:gd name="connsiteY1020" fmla="*/ 3670554 h 5359400"/>
              <a:gd name="connsiteX1021" fmla="*/ 314325 w 5359400"/>
              <a:gd name="connsiteY1021" fmla="*/ 4007993 h 5359400"/>
              <a:gd name="connsiteX1022" fmla="*/ 380619 w 5359400"/>
              <a:gd name="connsiteY1022" fmla="*/ 3984625 h 5359400"/>
              <a:gd name="connsiteX1023" fmla="*/ 357886 w 5359400"/>
              <a:gd name="connsiteY1023" fmla="*/ 3647313 h 5359400"/>
              <a:gd name="connsiteX1024" fmla="*/ 150368 w 5359400"/>
              <a:gd name="connsiteY1024" fmla="*/ 3658870 h 5359400"/>
              <a:gd name="connsiteX1025" fmla="*/ 161798 w 5359400"/>
              <a:gd name="connsiteY1025" fmla="*/ 4007993 h 5359400"/>
              <a:gd name="connsiteX1026" fmla="*/ 230759 w 5359400"/>
              <a:gd name="connsiteY1026" fmla="*/ 3996309 h 5359400"/>
              <a:gd name="connsiteX1027" fmla="*/ 219329 w 5359400"/>
              <a:gd name="connsiteY1027" fmla="*/ 3647313 h 5359400"/>
              <a:gd name="connsiteX1028" fmla="*/ 1136269 w 5359400"/>
              <a:gd name="connsiteY1028" fmla="*/ 3740404 h 5359400"/>
              <a:gd name="connsiteX1029" fmla="*/ 1227455 w 5359400"/>
              <a:gd name="connsiteY1029" fmla="*/ 4007993 h 5359400"/>
              <a:gd name="connsiteX1030" fmla="*/ 1280414 w 5359400"/>
              <a:gd name="connsiteY1030" fmla="*/ 3914902 h 5359400"/>
              <a:gd name="connsiteX1031" fmla="*/ 1189101 w 5359400"/>
              <a:gd name="connsiteY1031" fmla="*/ 3647313 h 5359400"/>
              <a:gd name="connsiteX1032" fmla="*/ 995426 w 5359400"/>
              <a:gd name="connsiteY1032" fmla="*/ 3728720 h 5359400"/>
              <a:gd name="connsiteX1033" fmla="*/ 1075309 w 5359400"/>
              <a:gd name="connsiteY1033" fmla="*/ 4008120 h 5359400"/>
              <a:gd name="connsiteX1034" fmla="*/ 1130427 w 5359400"/>
              <a:gd name="connsiteY1034" fmla="*/ 3926586 h 5359400"/>
              <a:gd name="connsiteX1035" fmla="*/ 1050544 w 5359400"/>
              <a:gd name="connsiteY1035" fmla="*/ 3647186 h 5359400"/>
              <a:gd name="connsiteX1036" fmla="*/ 1558925 w 5359400"/>
              <a:gd name="connsiteY1036" fmla="*/ 3775202 h 5359400"/>
              <a:gd name="connsiteX1037" fmla="*/ 1684401 w 5359400"/>
              <a:gd name="connsiteY1037" fmla="*/ 4007993 h 5359400"/>
              <a:gd name="connsiteX1038" fmla="*/ 1730375 w 5359400"/>
              <a:gd name="connsiteY1038" fmla="*/ 3879977 h 5359400"/>
              <a:gd name="connsiteX1039" fmla="*/ 1604899 w 5359400"/>
              <a:gd name="connsiteY1039" fmla="*/ 3647313 h 5359400"/>
              <a:gd name="connsiteX1040" fmla="*/ 1277239 w 5359400"/>
              <a:gd name="connsiteY1040" fmla="*/ 3751961 h 5359400"/>
              <a:gd name="connsiteX1041" fmla="*/ 1379855 w 5359400"/>
              <a:gd name="connsiteY1041" fmla="*/ 4007993 h 5359400"/>
              <a:gd name="connsiteX1042" fmla="*/ 1430655 w 5359400"/>
              <a:gd name="connsiteY1042" fmla="*/ 3903218 h 5359400"/>
              <a:gd name="connsiteX1043" fmla="*/ 1328039 w 5359400"/>
              <a:gd name="connsiteY1043" fmla="*/ 3647313 h 5359400"/>
              <a:gd name="connsiteX1044" fmla="*/ 1699768 w 5359400"/>
              <a:gd name="connsiteY1044" fmla="*/ 3786886 h 5359400"/>
              <a:gd name="connsiteX1045" fmla="*/ 1836674 w 5359400"/>
              <a:gd name="connsiteY1045" fmla="*/ 4007993 h 5359400"/>
              <a:gd name="connsiteX1046" fmla="*/ 1880235 w 5359400"/>
              <a:gd name="connsiteY1046" fmla="*/ 3868293 h 5359400"/>
              <a:gd name="connsiteX1047" fmla="*/ 1743456 w 5359400"/>
              <a:gd name="connsiteY1047" fmla="*/ 3647313 h 5359400"/>
              <a:gd name="connsiteX1048" fmla="*/ 4375785 w 5359400"/>
              <a:gd name="connsiteY1048" fmla="*/ 3652012 h 5359400"/>
              <a:gd name="connsiteX1049" fmla="*/ 4237228 w 5359400"/>
              <a:gd name="connsiteY1049" fmla="*/ 3647313 h 5359400"/>
              <a:gd name="connsiteX1050" fmla="*/ 4237228 w 5359400"/>
              <a:gd name="connsiteY1050" fmla="*/ 3657092 h 5359400"/>
              <a:gd name="connsiteX1051" fmla="*/ 4098798 w 5359400"/>
              <a:gd name="connsiteY1051" fmla="*/ 3647313 h 5359400"/>
              <a:gd name="connsiteX1052" fmla="*/ 4098798 w 5359400"/>
              <a:gd name="connsiteY1052" fmla="*/ 3662426 h 5359400"/>
              <a:gd name="connsiteX1053" fmla="*/ 3960495 w 5359400"/>
              <a:gd name="connsiteY1053" fmla="*/ 3647313 h 5359400"/>
              <a:gd name="connsiteX1054" fmla="*/ 3960495 w 5359400"/>
              <a:gd name="connsiteY1054" fmla="*/ 3668141 h 5359400"/>
              <a:gd name="connsiteX1055" fmla="*/ 3822446 w 5359400"/>
              <a:gd name="connsiteY1055" fmla="*/ 3647313 h 5359400"/>
              <a:gd name="connsiteX1056" fmla="*/ 3821684 w 5359400"/>
              <a:gd name="connsiteY1056" fmla="*/ 3674364 h 5359400"/>
              <a:gd name="connsiteX1057" fmla="*/ 3683889 w 5359400"/>
              <a:gd name="connsiteY1057" fmla="*/ 3647313 h 5359400"/>
              <a:gd name="connsiteX1058" fmla="*/ 3682619 w 5359400"/>
              <a:gd name="connsiteY1058" fmla="*/ 3680968 h 5359400"/>
              <a:gd name="connsiteX1059" fmla="*/ 3545332 w 5359400"/>
              <a:gd name="connsiteY1059" fmla="*/ 3647313 h 5359400"/>
              <a:gd name="connsiteX1060" fmla="*/ 3543427 w 5359400"/>
              <a:gd name="connsiteY1060" fmla="*/ 3687953 h 5359400"/>
              <a:gd name="connsiteX1061" fmla="*/ 3406775 w 5359400"/>
              <a:gd name="connsiteY1061" fmla="*/ 3647313 h 5359400"/>
              <a:gd name="connsiteX1062" fmla="*/ 3403981 w 5359400"/>
              <a:gd name="connsiteY1062" fmla="*/ 3695446 h 5359400"/>
              <a:gd name="connsiteX1063" fmla="*/ 3268218 w 5359400"/>
              <a:gd name="connsiteY1063" fmla="*/ 3647313 h 5359400"/>
              <a:gd name="connsiteX1064" fmla="*/ 3264408 w 5359400"/>
              <a:gd name="connsiteY1064" fmla="*/ 3703574 h 5359400"/>
              <a:gd name="connsiteX1065" fmla="*/ 3129661 w 5359400"/>
              <a:gd name="connsiteY1065" fmla="*/ 3647313 h 5359400"/>
              <a:gd name="connsiteX1066" fmla="*/ 3124454 w 5359400"/>
              <a:gd name="connsiteY1066" fmla="*/ 3712083 h 5359400"/>
              <a:gd name="connsiteX1067" fmla="*/ 2991104 w 5359400"/>
              <a:gd name="connsiteY1067" fmla="*/ 3647313 h 5359400"/>
              <a:gd name="connsiteX1068" fmla="*/ 2984246 w 5359400"/>
              <a:gd name="connsiteY1068" fmla="*/ 3721100 h 5359400"/>
              <a:gd name="connsiteX1069" fmla="*/ 2852547 w 5359400"/>
              <a:gd name="connsiteY1069" fmla="*/ 3647313 h 5359400"/>
              <a:gd name="connsiteX1070" fmla="*/ 2843530 w 5359400"/>
              <a:gd name="connsiteY1070" fmla="*/ 3730752 h 5359400"/>
              <a:gd name="connsiteX1071" fmla="*/ 2714117 w 5359400"/>
              <a:gd name="connsiteY1071" fmla="*/ 3647313 h 5359400"/>
              <a:gd name="connsiteX1072" fmla="*/ 2701925 w 5359400"/>
              <a:gd name="connsiteY1072" fmla="*/ 3740785 h 5359400"/>
              <a:gd name="connsiteX1073" fmla="*/ 2574925 w 5359400"/>
              <a:gd name="connsiteY1073" fmla="*/ 3647313 h 5359400"/>
              <a:gd name="connsiteX1074" fmla="*/ 2560066 w 5359400"/>
              <a:gd name="connsiteY1074" fmla="*/ 3751199 h 5359400"/>
              <a:gd name="connsiteX1075" fmla="*/ 2436368 w 5359400"/>
              <a:gd name="connsiteY1075" fmla="*/ 3647313 h 5359400"/>
              <a:gd name="connsiteX1076" fmla="*/ 2417699 w 5359400"/>
              <a:gd name="connsiteY1076" fmla="*/ 3761613 h 5359400"/>
              <a:gd name="connsiteX1077" fmla="*/ 2297811 w 5359400"/>
              <a:gd name="connsiteY1077" fmla="*/ 3647313 h 5359400"/>
              <a:gd name="connsiteX1078" fmla="*/ 2274570 w 5359400"/>
              <a:gd name="connsiteY1078" fmla="*/ 3772789 h 5359400"/>
              <a:gd name="connsiteX1079" fmla="*/ 2159254 w 5359400"/>
              <a:gd name="connsiteY1079" fmla="*/ 3647313 h 5359400"/>
              <a:gd name="connsiteX1080" fmla="*/ 2130425 w 5359400"/>
              <a:gd name="connsiteY1080" fmla="*/ 3783457 h 5359400"/>
              <a:gd name="connsiteX1081" fmla="*/ 2020570 w 5359400"/>
              <a:gd name="connsiteY1081" fmla="*/ 3647313 h 5359400"/>
              <a:gd name="connsiteX1082" fmla="*/ 1985391 w 5359400"/>
              <a:gd name="connsiteY1082" fmla="*/ 3794125 h 5359400"/>
              <a:gd name="connsiteX1083" fmla="*/ 1881886 w 5359400"/>
              <a:gd name="connsiteY1083" fmla="*/ 3647948 h 5359400"/>
              <a:gd name="connsiteX1084" fmla="*/ 1840484 w 5359400"/>
              <a:gd name="connsiteY1084" fmla="*/ 3799205 h 5359400"/>
              <a:gd name="connsiteX1085" fmla="*/ 1988693 w 5359400"/>
              <a:gd name="connsiteY1085" fmla="*/ 4008628 h 5359400"/>
              <a:gd name="connsiteX1086" fmla="*/ 2026793 w 5359400"/>
              <a:gd name="connsiteY1086" fmla="*/ 3867658 h 5359400"/>
              <a:gd name="connsiteX1087" fmla="*/ 2141093 w 5359400"/>
              <a:gd name="connsiteY1087" fmla="*/ 4008628 h 5359400"/>
              <a:gd name="connsiteX1088" fmla="*/ 2172589 w 5359400"/>
              <a:gd name="connsiteY1088" fmla="*/ 3877183 h 5359400"/>
              <a:gd name="connsiteX1089" fmla="*/ 2293366 w 5359400"/>
              <a:gd name="connsiteY1089" fmla="*/ 4008628 h 5359400"/>
              <a:gd name="connsiteX1090" fmla="*/ 2318766 w 5359400"/>
              <a:gd name="connsiteY1090" fmla="*/ 3887343 h 5359400"/>
              <a:gd name="connsiteX1091" fmla="*/ 2445766 w 5359400"/>
              <a:gd name="connsiteY1091" fmla="*/ 4008628 h 5359400"/>
              <a:gd name="connsiteX1092" fmla="*/ 2466213 w 5359400"/>
              <a:gd name="connsiteY1092" fmla="*/ 3897884 h 5359400"/>
              <a:gd name="connsiteX1093" fmla="*/ 2597912 w 5359400"/>
              <a:gd name="connsiteY1093" fmla="*/ 4008628 h 5359400"/>
              <a:gd name="connsiteX1094" fmla="*/ 2614295 w 5359400"/>
              <a:gd name="connsiteY1094" fmla="*/ 3908425 h 5359400"/>
              <a:gd name="connsiteX1095" fmla="*/ 2750185 w 5359400"/>
              <a:gd name="connsiteY1095" fmla="*/ 4008628 h 5359400"/>
              <a:gd name="connsiteX1096" fmla="*/ 2762885 w 5359400"/>
              <a:gd name="connsiteY1096" fmla="*/ 3918712 h 5359400"/>
              <a:gd name="connsiteX1097" fmla="*/ 2902585 w 5359400"/>
              <a:gd name="connsiteY1097" fmla="*/ 4008628 h 5359400"/>
              <a:gd name="connsiteX1098" fmla="*/ 2912491 w 5359400"/>
              <a:gd name="connsiteY1098" fmla="*/ 3928745 h 5359400"/>
              <a:gd name="connsiteX1099" fmla="*/ 3054858 w 5359400"/>
              <a:gd name="connsiteY1099" fmla="*/ 4008628 h 5359400"/>
              <a:gd name="connsiteX1100" fmla="*/ 3062478 w 5359400"/>
              <a:gd name="connsiteY1100" fmla="*/ 3938270 h 5359400"/>
              <a:gd name="connsiteX1101" fmla="*/ 3207131 w 5359400"/>
              <a:gd name="connsiteY1101" fmla="*/ 4008628 h 5359400"/>
              <a:gd name="connsiteX1102" fmla="*/ 3212846 w 5359400"/>
              <a:gd name="connsiteY1102" fmla="*/ 3947414 h 5359400"/>
              <a:gd name="connsiteX1103" fmla="*/ 3359277 w 5359400"/>
              <a:gd name="connsiteY1103" fmla="*/ 4008628 h 5359400"/>
              <a:gd name="connsiteX1104" fmla="*/ 3363595 w 5359400"/>
              <a:gd name="connsiteY1104" fmla="*/ 3956050 h 5359400"/>
              <a:gd name="connsiteX1105" fmla="*/ 3511550 w 5359400"/>
              <a:gd name="connsiteY1105" fmla="*/ 4008628 h 5359400"/>
              <a:gd name="connsiteX1106" fmla="*/ 3514598 w 5359400"/>
              <a:gd name="connsiteY1106" fmla="*/ 3964178 h 5359400"/>
              <a:gd name="connsiteX1107" fmla="*/ 3663823 w 5359400"/>
              <a:gd name="connsiteY1107" fmla="*/ 4008628 h 5359400"/>
              <a:gd name="connsiteX1108" fmla="*/ 3665982 w 5359400"/>
              <a:gd name="connsiteY1108" fmla="*/ 3971798 h 5359400"/>
              <a:gd name="connsiteX1109" fmla="*/ 3816096 w 5359400"/>
              <a:gd name="connsiteY1109" fmla="*/ 4008628 h 5359400"/>
              <a:gd name="connsiteX1110" fmla="*/ 3817493 w 5359400"/>
              <a:gd name="connsiteY1110" fmla="*/ 3979037 h 5359400"/>
              <a:gd name="connsiteX1111" fmla="*/ 3968369 w 5359400"/>
              <a:gd name="connsiteY1111" fmla="*/ 4008628 h 5359400"/>
              <a:gd name="connsiteX1112" fmla="*/ 3969131 w 5359400"/>
              <a:gd name="connsiteY1112" fmla="*/ 3985641 h 5359400"/>
              <a:gd name="connsiteX1113" fmla="*/ 4120515 w 5359400"/>
              <a:gd name="connsiteY1113" fmla="*/ 4008628 h 5359400"/>
              <a:gd name="connsiteX1114" fmla="*/ 4120515 w 5359400"/>
              <a:gd name="connsiteY1114" fmla="*/ 3991991 h 5359400"/>
              <a:gd name="connsiteX1115" fmla="*/ 4272915 w 5359400"/>
              <a:gd name="connsiteY1115" fmla="*/ 4008628 h 5359400"/>
              <a:gd name="connsiteX1116" fmla="*/ 4272915 w 5359400"/>
              <a:gd name="connsiteY1116" fmla="*/ 3998214 h 5359400"/>
              <a:gd name="connsiteX1117" fmla="*/ 4282567 w 5359400"/>
              <a:gd name="connsiteY1117" fmla="*/ 3998214 h 5359400"/>
              <a:gd name="connsiteX1118" fmla="*/ 4376039 w 5359400"/>
              <a:gd name="connsiteY1118" fmla="*/ 4004691 h 5359400"/>
              <a:gd name="connsiteX1119" fmla="*/ 4376039 w 5359400"/>
              <a:gd name="connsiteY1119" fmla="*/ 4008247 h 5359400"/>
              <a:gd name="connsiteX1120" fmla="*/ 5360162 w 5359400"/>
              <a:gd name="connsiteY1120" fmla="*/ 4008247 h 5359400"/>
              <a:gd name="connsiteX1121" fmla="*/ 5360162 w 5359400"/>
              <a:gd name="connsiteY1121" fmla="*/ 3647567 h 5359400"/>
              <a:gd name="connsiteX1122" fmla="*/ 4375785 w 5359400"/>
              <a:gd name="connsiteY1122" fmla="*/ 3647567 h 5359400"/>
              <a:gd name="connsiteX1123" fmla="*/ 1417955 w 5359400"/>
              <a:gd name="connsiteY1123" fmla="*/ 3763645 h 5359400"/>
              <a:gd name="connsiteX1124" fmla="*/ 1532255 w 5359400"/>
              <a:gd name="connsiteY1124" fmla="*/ 4007993 h 5359400"/>
              <a:gd name="connsiteX1125" fmla="*/ 1580515 w 5359400"/>
              <a:gd name="connsiteY1125" fmla="*/ 3891661 h 5359400"/>
              <a:gd name="connsiteX1126" fmla="*/ 1466215 w 5359400"/>
              <a:gd name="connsiteY1126" fmla="*/ 3647313 h 5359400"/>
              <a:gd name="connsiteX1127" fmla="*/ 572897 w 5359400"/>
              <a:gd name="connsiteY1127" fmla="*/ 3693795 h 5359400"/>
              <a:gd name="connsiteX1128" fmla="*/ 619125 w 5359400"/>
              <a:gd name="connsiteY1128" fmla="*/ 4007993 h 5359400"/>
              <a:gd name="connsiteX1129" fmla="*/ 681228 w 5359400"/>
              <a:gd name="connsiteY1129" fmla="*/ 3961384 h 5359400"/>
              <a:gd name="connsiteX1130" fmla="*/ 635635 w 5359400"/>
              <a:gd name="connsiteY1130" fmla="*/ 3647313 h 5359400"/>
              <a:gd name="connsiteX1131" fmla="*/ 432054 w 5359400"/>
              <a:gd name="connsiteY1131" fmla="*/ 3682238 h 5359400"/>
              <a:gd name="connsiteX1132" fmla="*/ 466725 w 5359400"/>
              <a:gd name="connsiteY1132" fmla="*/ 4007993 h 5359400"/>
              <a:gd name="connsiteX1133" fmla="*/ 530225 w 5359400"/>
              <a:gd name="connsiteY1133" fmla="*/ 3973068 h 5359400"/>
              <a:gd name="connsiteX1134" fmla="*/ 496062 w 5359400"/>
              <a:gd name="connsiteY1134" fmla="*/ 3647313 h 5359400"/>
              <a:gd name="connsiteX1135" fmla="*/ 854583 w 5359400"/>
              <a:gd name="connsiteY1135" fmla="*/ 3717036 h 5359400"/>
              <a:gd name="connsiteX1136" fmla="*/ 923036 w 5359400"/>
              <a:gd name="connsiteY1136" fmla="*/ 4007993 h 5359400"/>
              <a:gd name="connsiteX1137" fmla="*/ 980440 w 5359400"/>
              <a:gd name="connsiteY1137" fmla="*/ 3938143 h 5359400"/>
              <a:gd name="connsiteX1138" fmla="*/ 911987 w 5359400"/>
              <a:gd name="connsiteY1138" fmla="*/ 3647313 h 5359400"/>
              <a:gd name="connsiteX1139" fmla="*/ 713740 w 5359400"/>
              <a:gd name="connsiteY1139" fmla="*/ 3705225 h 5359400"/>
              <a:gd name="connsiteX1140" fmla="*/ 770763 w 5359400"/>
              <a:gd name="connsiteY1140" fmla="*/ 4007739 h 5359400"/>
              <a:gd name="connsiteX1141" fmla="*/ 830453 w 5359400"/>
              <a:gd name="connsiteY1141" fmla="*/ 3949573 h 5359400"/>
              <a:gd name="connsiteX1142" fmla="*/ 773557 w 5359400"/>
              <a:gd name="connsiteY1142" fmla="*/ 3647059 h 5359400"/>
              <a:gd name="connsiteX1143" fmla="*/ 9525 w 5359400"/>
              <a:gd name="connsiteY1143" fmla="*/ 4460494 h 5359400"/>
              <a:gd name="connsiteX1144" fmla="*/ 80772 w 5359400"/>
              <a:gd name="connsiteY1144" fmla="*/ 4460494 h 5359400"/>
              <a:gd name="connsiteX1145" fmla="*/ 80772 w 5359400"/>
              <a:gd name="connsiteY1145" fmla="*/ 4099814 h 5359400"/>
              <a:gd name="connsiteX1146" fmla="*/ 9525 w 5359400"/>
              <a:gd name="connsiteY1146" fmla="*/ 4099814 h 5359400"/>
              <a:gd name="connsiteX1147" fmla="*/ 291211 w 5359400"/>
              <a:gd name="connsiteY1147" fmla="*/ 4123055 h 5359400"/>
              <a:gd name="connsiteX1148" fmla="*/ 314325 w 5359400"/>
              <a:gd name="connsiteY1148" fmla="*/ 4460494 h 5359400"/>
              <a:gd name="connsiteX1149" fmla="*/ 380873 w 5359400"/>
              <a:gd name="connsiteY1149" fmla="*/ 4437253 h 5359400"/>
              <a:gd name="connsiteX1150" fmla="*/ 358140 w 5359400"/>
              <a:gd name="connsiteY1150" fmla="*/ 4099814 h 5359400"/>
              <a:gd name="connsiteX1151" fmla="*/ 150368 w 5359400"/>
              <a:gd name="connsiteY1151" fmla="*/ 4111625 h 5359400"/>
              <a:gd name="connsiteX1152" fmla="*/ 161798 w 5359400"/>
              <a:gd name="connsiteY1152" fmla="*/ 4460621 h 5359400"/>
              <a:gd name="connsiteX1153" fmla="*/ 230759 w 5359400"/>
              <a:gd name="connsiteY1153" fmla="*/ 4448937 h 5359400"/>
              <a:gd name="connsiteX1154" fmla="*/ 219329 w 5359400"/>
              <a:gd name="connsiteY1154" fmla="*/ 4099941 h 5359400"/>
              <a:gd name="connsiteX1155" fmla="*/ 1136269 w 5359400"/>
              <a:gd name="connsiteY1155" fmla="*/ 4193032 h 5359400"/>
              <a:gd name="connsiteX1156" fmla="*/ 1227455 w 5359400"/>
              <a:gd name="connsiteY1156" fmla="*/ 4460621 h 5359400"/>
              <a:gd name="connsiteX1157" fmla="*/ 1280414 w 5359400"/>
              <a:gd name="connsiteY1157" fmla="*/ 4367530 h 5359400"/>
              <a:gd name="connsiteX1158" fmla="*/ 1189101 w 5359400"/>
              <a:gd name="connsiteY1158" fmla="*/ 4099941 h 5359400"/>
              <a:gd name="connsiteX1159" fmla="*/ 995426 w 5359400"/>
              <a:gd name="connsiteY1159" fmla="*/ 4181348 h 5359400"/>
              <a:gd name="connsiteX1160" fmla="*/ 1075309 w 5359400"/>
              <a:gd name="connsiteY1160" fmla="*/ 4460748 h 5359400"/>
              <a:gd name="connsiteX1161" fmla="*/ 1130427 w 5359400"/>
              <a:gd name="connsiteY1161" fmla="*/ 4379341 h 5359400"/>
              <a:gd name="connsiteX1162" fmla="*/ 1050544 w 5359400"/>
              <a:gd name="connsiteY1162" fmla="*/ 4099941 h 5359400"/>
              <a:gd name="connsiteX1163" fmla="*/ 1558925 w 5359400"/>
              <a:gd name="connsiteY1163" fmla="*/ 4227830 h 5359400"/>
              <a:gd name="connsiteX1164" fmla="*/ 1684401 w 5359400"/>
              <a:gd name="connsiteY1164" fmla="*/ 4460494 h 5359400"/>
              <a:gd name="connsiteX1165" fmla="*/ 1730375 w 5359400"/>
              <a:gd name="connsiteY1165" fmla="*/ 4332478 h 5359400"/>
              <a:gd name="connsiteX1166" fmla="*/ 1604899 w 5359400"/>
              <a:gd name="connsiteY1166" fmla="*/ 4099814 h 5359400"/>
              <a:gd name="connsiteX1167" fmla="*/ 1277239 w 5359400"/>
              <a:gd name="connsiteY1167" fmla="*/ 4204589 h 5359400"/>
              <a:gd name="connsiteX1168" fmla="*/ 1379855 w 5359400"/>
              <a:gd name="connsiteY1168" fmla="*/ 4460494 h 5359400"/>
              <a:gd name="connsiteX1169" fmla="*/ 1430655 w 5359400"/>
              <a:gd name="connsiteY1169" fmla="*/ 4355719 h 5359400"/>
              <a:gd name="connsiteX1170" fmla="*/ 1328039 w 5359400"/>
              <a:gd name="connsiteY1170" fmla="*/ 4099814 h 5359400"/>
              <a:gd name="connsiteX1171" fmla="*/ 1699768 w 5359400"/>
              <a:gd name="connsiteY1171" fmla="*/ 4239387 h 5359400"/>
              <a:gd name="connsiteX1172" fmla="*/ 1836674 w 5359400"/>
              <a:gd name="connsiteY1172" fmla="*/ 4460494 h 5359400"/>
              <a:gd name="connsiteX1173" fmla="*/ 1880235 w 5359400"/>
              <a:gd name="connsiteY1173" fmla="*/ 4320794 h 5359400"/>
              <a:gd name="connsiteX1174" fmla="*/ 1743456 w 5359400"/>
              <a:gd name="connsiteY1174" fmla="*/ 4099687 h 5359400"/>
              <a:gd name="connsiteX1175" fmla="*/ 4375785 w 5359400"/>
              <a:gd name="connsiteY1175" fmla="*/ 4104513 h 5359400"/>
              <a:gd name="connsiteX1176" fmla="*/ 4237228 w 5359400"/>
              <a:gd name="connsiteY1176" fmla="*/ 4099814 h 5359400"/>
              <a:gd name="connsiteX1177" fmla="*/ 4237228 w 5359400"/>
              <a:gd name="connsiteY1177" fmla="*/ 4109593 h 5359400"/>
              <a:gd name="connsiteX1178" fmla="*/ 4098798 w 5359400"/>
              <a:gd name="connsiteY1178" fmla="*/ 4099814 h 5359400"/>
              <a:gd name="connsiteX1179" fmla="*/ 4098798 w 5359400"/>
              <a:gd name="connsiteY1179" fmla="*/ 4114927 h 5359400"/>
              <a:gd name="connsiteX1180" fmla="*/ 3960495 w 5359400"/>
              <a:gd name="connsiteY1180" fmla="*/ 4099814 h 5359400"/>
              <a:gd name="connsiteX1181" fmla="*/ 3960495 w 5359400"/>
              <a:gd name="connsiteY1181" fmla="*/ 4120769 h 5359400"/>
              <a:gd name="connsiteX1182" fmla="*/ 3822446 w 5359400"/>
              <a:gd name="connsiteY1182" fmla="*/ 4099814 h 5359400"/>
              <a:gd name="connsiteX1183" fmla="*/ 3821684 w 5359400"/>
              <a:gd name="connsiteY1183" fmla="*/ 4126865 h 5359400"/>
              <a:gd name="connsiteX1184" fmla="*/ 3683889 w 5359400"/>
              <a:gd name="connsiteY1184" fmla="*/ 4099814 h 5359400"/>
              <a:gd name="connsiteX1185" fmla="*/ 3682619 w 5359400"/>
              <a:gd name="connsiteY1185" fmla="*/ 4133469 h 5359400"/>
              <a:gd name="connsiteX1186" fmla="*/ 3545332 w 5359400"/>
              <a:gd name="connsiteY1186" fmla="*/ 4099814 h 5359400"/>
              <a:gd name="connsiteX1187" fmla="*/ 3543427 w 5359400"/>
              <a:gd name="connsiteY1187" fmla="*/ 4140454 h 5359400"/>
              <a:gd name="connsiteX1188" fmla="*/ 3406775 w 5359400"/>
              <a:gd name="connsiteY1188" fmla="*/ 4099814 h 5359400"/>
              <a:gd name="connsiteX1189" fmla="*/ 3403981 w 5359400"/>
              <a:gd name="connsiteY1189" fmla="*/ 4148074 h 5359400"/>
              <a:gd name="connsiteX1190" fmla="*/ 3268218 w 5359400"/>
              <a:gd name="connsiteY1190" fmla="*/ 4099814 h 5359400"/>
              <a:gd name="connsiteX1191" fmla="*/ 3264408 w 5359400"/>
              <a:gd name="connsiteY1191" fmla="*/ 4156075 h 5359400"/>
              <a:gd name="connsiteX1192" fmla="*/ 3129661 w 5359400"/>
              <a:gd name="connsiteY1192" fmla="*/ 4099814 h 5359400"/>
              <a:gd name="connsiteX1193" fmla="*/ 3124454 w 5359400"/>
              <a:gd name="connsiteY1193" fmla="*/ 4164584 h 5359400"/>
              <a:gd name="connsiteX1194" fmla="*/ 2991104 w 5359400"/>
              <a:gd name="connsiteY1194" fmla="*/ 4099814 h 5359400"/>
              <a:gd name="connsiteX1195" fmla="*/ 2984246 w 5359400"/>
              <a:gd name="connsiteY1195" fmla="*/ 4173728 h 5359400"/>
              <a:gd name="connsiteX1196" fmla="*/ 2852547 w 5359400"/>
              <a:gd name="connsiteY1196" fmla="*/ 4099814 h 5359400"/>
              <a:gd name="connsiteX1197" fmla="*/ 2843530 w 5359400"/>
              <a:gd name="connsiteY1197" fmla="*/ 4183253 h 5359400"/>
              <a:gd name="connsiteX1198" fmla="*/ 2714117 w 5359400"/>
              <a:gd name="connsiteY1198" fmla="*/ 4099814 h 5359400"/>
              <a:gd name="connsiteX1199" fmla="*/ 2702433 w 5359400"/>
              <a:gd name="connsiteY1199" fmla="*/ 4193286 h 5359400"/>
              <a:gd name="connsiteX1200" fmla="*/ 2575433 w 5359400"/>
              <a:gd name="connsiteY1200" fmla="*/ 4099814 h 5359400"/>
              <a:gd name="connsiteX1201" fmla="*/ 2560574 w 5359400"/>
              <a:gd name="connsiteY1201" fmla="*/ 4203827 h 5359400"/>
              <a:gd name="connsiteX1202" fmla="*/ 2436876 w 5359400"/>
              <a:gd name="connsiteY1202" fmla="*/ 4099814 h 5359400"/>
              <a:gd name="connsiteX1203" fmla="*/ 2418207 w 5359400"/>
              <a:gd name="connsiteY1203" fmla="*/ 4214114 h 5359400"/>
              <a:gd name="connsiteX1204" fmla="*/ 2298319 w 5359400"/>
              <a:gd name="connsiteY1204" fmla="*/ 4099814 h 5359400"/>
              <a:gd name="connsiteX1205" fmla="*/ 2274316 w 5359400"/>
              <a:gd name="connsiteY1205" fmla="*/ 4225925 h 5359400"/>
              <a:gd name="connsiteX1206" fmla="*/ 2159000 w 5359400"/>
              <a:gd name="connsiteY1206" fmla="*/ 4100449 h 5359400"/>
              <a:gd name="connsiteX1207" fmla="*/ 2130425 w 5359400"/>
              <a:gd name="connsiteY1207" fmla="*/ 4235958 h 5359400"/>
              <a:gd name="connsiteX1208" fmla="*/ 2020570 w 5359400"/>
              <a:gd name="connsiteY1208" fmla="*/ 4099814 h 5359400"/>
              <a:gd name="connsiteX1209" fmla="*/ 1985518 w 5359400"/>
              <a:gd name="connsiteY1209" fmla="*/ 4245991 h 5359400"/>
              <a:gd name="connsiteX1210" fmla="*/ 1882013 w 5359400"/>
              <a:gd name="connsiteY1210" fmla="*/ 4099814 h 5359400"/>
              <a:gd name="connsiteX1211" fmla="*/ 1840484 w 5359400"/>
              <a:gd name="connsiteY1211" fmla="*/ 4251325 h 5359400"/>
              <a:gd name="connsiteX1212" fmla="*/ 1988693 w 5359400"/>
              <a:gd name="connsiteY1212" fmla="*/ 4460748 h 5359400"/>
              <a:gd name="connsiteX1213" fmla="*/ 2026793 w 5359400"/>
              <a:gd name="connsiteY1213" fmla="*/ 4319778 h 5359400"/>
              <a:gd name="connsiteX1214" fmla="*/ 2141093 w 5359400"/>
              <a:gd name="connsiteY1214" fmla="*/ 4460748 h 5359400"/>
              <a:gd name="connsiteX1215" fmla="*/ 2172589 w 5359400"/>
              <a:gd name="connsiteY1215" fmla="*/ 4329303 h 5359400"/>
              <a:gd name="connsiteX1216" fmla="*/ 2293366 w 5359400"/>
              <a:gd name="connsiteY1216" fmla="*/ 4460748 h 5359400"/>
              <a:gd name="connsiteX1217" fmla="*/ 2318766 w 5359400"/>
              <a:gd name="connsiteY1217" fmla="*/ 4339463 h 5359400"/>
              <a:gd name="connsiteX1218" fmla="*/ 2445766 w 5359400"/>
              <a:gd name="connsiteY1218" fmla="*/ 4460748 h 5359400"/>
              <a:gd name="connsiteX1219" fmla="*/ 2466213 w 5359400"/>
              <a:gd name="connsiteY1219" fmla="*/ 4350004 h 5359400"/>
              <a:gd name="connsiteX1220" fmla="*/ 2597912 w 5359400"/>
              <a:gd name="connsiteY1220" fmla="*/ 4460748 h 5359400"/>
              <a:gd name="connsiteX1221" fmla="*/ 2614295 w 5359400"/>
              <a:gd name="connsiteY1221" fmla="*/ 4360545 h 5359400"/>
              <a:gd name="connsiteX1222" fmla="*/ 2750185 w 5359400"/>
              <a:gd name="connsiteY1222" fmla="*/ 4460748 h 5359400"/>
              <a:gd name="connsiteX1223" fmla="*/ 2762885 w 5359400"/>
              <a:gd name="connsiteY1223" fmla="*/ 4370832 h 5359400"/>
              <a:gd name="connsiteX1224" fmla="*/ 2902585 w 5359400"/>
              <a:gd name="connsiteY1224" fmla="*/ 4460748 h 5359400"/>
              <a:gd name="connsiteX1225" fmla="*/ 2912491 w 5359400"/>
              <a:gd name="connsiteY1225" fmla="*/ 4380865 h 5359400"/>
              <a:gd name="connsiteX1226" fmla="*/ 3054858 w 5359400"/>
              <a:gd name="connsiteY1226" fmla="*/ 4460748 h 5359400"/>
              <a:gd name="connsiteX1227" fmla="*/ 3062478 w 5359400"/>
              <a:gd name="connsiteY1227" fmla="*/ 4390517 h 5359400"/>
              <a:gd name="connsiteX1228" fmla="*/ 3207131 w 5359400"/>
              <a:gd name="connsiteY1228" fmla="*/ 4460748 h 5359400"/>
              <a:gd name="connsiteX1229" fmla="*/ 3212846 w 5359400"/>
              <a:gd name="connsiteY1229" fmla="*/ 4399534 h 5359400"/>
              <a:gd name="connsiteX1230" fmla="*/ 3359277 w 5359400"/>
              <a:gd name="connsiteY1230" fmla="*/ 4460748 h 5359400"/>
              <a:gd name="connsiteX1231" fmla="*/ 3363595 w 5359400"/>
              <a:gd name="connsiteY1231" fmla="*/ 4408170 h 5359400"/>
              <a:gd name="connsiteX1232" fmla="*/ 3511550 w 5359400"/>
              <a:gd name="connsiteY1232" fmla="*/ 4460748 h 5359400"/>
              <a:gd name="connsiteX1233" fmla="*/ 3514725 w 5359400"/>
              <a:gd name="connsiteY1233" fmla="*/ 4416425 h 5359400"/>
              <a:gd name="connsiteX1234" fmla="*/ 3663950 w 5359400"/>
              <a:gd name="connsiteY1234" fmla="*/ 4460875 h 5359400"/>
              <a:gd name="connsiteX1235" fmla="*/ 3666109 w 5359400"/>
              <a:gd name="connsiteY1235" fmla="*/ 4424045 h 5359400"/>
              <a:gd name="connsiteX1236" fmla="*/ 3816223 w 5359400"/>
              <a:gd name="connsiteY1236" fmla="*/ 4460875 h 5359400"/>
              <a:gd name="connsiteX1237" fmla="*/ 3817620 w 5359400"/>
              <a:gd name="connsiteY1237" fmla="*/ 4431284 h 5359400"/>
              <a:gd name="connsiteX1238" fmla="*/ 3968496 w 5359400"/>
              <a:gd name="connsiteY1238" fmla="*/ 4460875 h 5359400"/>
              <a:gd name="connsiteX1239" fmla="*/ 3969258 w 5359400"/>
              <a:gd name="connsiteY1239" fmla="*/ 4438015 h 5359400"/>
              <a:gd name="connsiteX1240" fmla="*/ 4120642 w 5359400"/>
              <a:gd name="connsiteY1240" fmla="*/ 4460875 h 5359400"/>
              <a:gd name="connsiteX1241" fmla="*/ 4120642 w 5359400"/>
              <a:gd name="connsiteY1241" fmla="*/ 4444238 h 5359400"/>
              <a:gd name="connsiteX1242" fmla="*/ 4273042 w 5359400"/>
              <a:gd name="connsiteY1242" fmla="*/ 4460875 h 5359400"/>
              <a:gd name="connsiteX1243" fmla="*/ 4273042 w 5359400"/>
              <a:gd name="connsiteY1243" fmla="*/ 4450461 h 5359400"/>
              <a:gd name="connsiteX1244" fmla="*/ 4282694 w 5359400"/>
              <a:gd name="connsiteY1244" fmla="*/ 4450461 h 5359400"/>
              <a:gd name="connsiteX1245" fmla="*/ 4376166 w 5359400"/>
              <a:gd name="connsiteY1245" fmla="*/ 4457065 h 5359400"/>
              <a:gd name="connsiteX1246" fmla="*/ 4376166 w 5359400"/>
              <a:gd name="connsiteY1246" fmla="*/ 4460494 h 5359400"/>
              <a:gd name="connsiteX1247" fmla="*/ 5360289 w 5359400"/>
              <a:gd name="connsiteY1247" fmla="*/ 4460494 h 5359400"/>
              <a:gd name="connsiteX1248" fmla="*/ 5360289 w 5359400"/>
              <a:gd name="connsiteY1248" fmla="*/ 4099814 h 5359400"/>
              <a:gd name="connsiteX1249" fmla="*/ 4375785 w 5359400"/>
              <a:gd name="connsiteY1249" fmla="*/ 4099814 h 5359400"/>
              <a:gd name="connsiteX1250" fmla="*/ 1417955 w 5359400"/>
              <a:gd name="connsiteY1250" fmla="*/ 4216146 h 5359400"/>
              <a:gd name="connsiteX1251" fmla="*/ 1532255 w 5359400"/>
              <a:gd name="connsiteY1251" fmla="*/ 4460494 h 5359400"/>
              <a:gd name="connsiteX1252" fmla="*/ 1580515 w 5359400"/>
              <a:gd name="connsiteY1252" fmla="*/ 4344162 h 5359400"/>
              <a:gd name="connsiteX1253" fmla="*/ 1466215 w 5359400"/>
              <a:gd name="connsiteY1253" fmla="*/ 4099814 h 5359400"/>
              <a:gd name="connsiteX1254" fmla="*/ 572897 w 5359400"/>
              <a:gd name="connsiteY1254" fmla="*/ 4146423 h 5359400"/>
              <a:gd name="connsiteX1255" fmla="*/ 619125 w 5359400"/>
              <a:gd name="connsiteY1255" fmla="*/ 4460494 h 5359400"/>
              <a:gd name="connsiteX1256" fmla="*/ 681228 w 5359400"/>
              <a:gd name="connsiteY1256" fmla="*/ 4413885 h 5359400"/>
              <a:gd name="connsiteX1257" fmla="*/ 635635 w 5359400"/>
              <a:gd name="connsiteY1257" fmla="*/ 4099814 h 5359400"/>
              <a:gd name="connsiteX1258" fmla="*/ 432054 w 5359400"/>
              <a:gd name="connsiteY1258" fmla="*/ 4134739 h 5359400"/>
              <a:gd name="connsiteX1259" fmla="*/ 466725 w 5359400"/>
              <a:gd name="connsiteY1259" fmla="*/ 4460494 h 5359400"/>
              <a:gd name="connsiteX1260" fmla="*/ 530225 w 5359400"/>
              <a:gd name="connsiteY1260" fmla="*/ 4425569 h 5359400"/>
              <a:gd name="connsiteX1261" fmla="*/ 496062 w 5359400"/>
              <a:gd name="connsiteY1261" fmla="*/ 4099814 h 5359400"/>
              <a:gd name="connsiteX1262" fmla="*/ 854583 w 5359400"/>
              <a:gd name="connsiteY1262" fmla="*/ 4169664 h 5359400"/>
              <a:gd name="connsiteX1263" fmla="*/ 923036 w 5359400"/>
              <a:gd name="connsiteY1263" fmla="*/ 4460494 h 5359400"/>
              <a:gd name="connsiteX1264" fmla="*/ 980440 w 5359400"/>
              <a:gd name="connsiteY1264" fmla="*/ 4390644 h 5359400"/>
              <a:gd name="connsiteX1265" fmla="*/ 911987 w 5359400"/>
              <a:gd name="connsiteY1265" fmla="*/ 4099814 h 5359400"/>
              <a:gd name="connsiteX1266" fmla="*/ 713740 w 5359400"/>
              <a:gd name="connsiteY1266" fmla="*/ 4157980 h 5359400"/>
              <a:gd name="connsiteX1267" fmla="*/ 770763 w 5359400"/>
              <a:gd name="connsiteY1267" fmla="*/ 4460494 h 5359400"/>
              <a:gd name="connsiteX1268" fmla="*/ 830453 w 5359400"/>
              <a:gd name="connsiteY1268" fmla="*/ 4402328 h 5359400"/>
              <a:gd name="connsiteX1269" fmla="*/ 773557 w 5359400"/>
              <a:gd name="connsiteY1269" fmla="*/ 4099814 h 5359400"/>
              <a:gd name="connsiteX1270" fmla="*/ 9525 w 5359400"/>
              <a:gd name="connsiteY1270" fmla="*/ 4912868 h 5359400"/>
              <a:gd name="connsiteX1271" fmla="*/ 80772 w 5359400"/>
              <a:gd name="connsiteY1271" fmla="*/ 4912868 h 5359400"/>
              <a:gd name="connsiteX1272" fmla="*/ 80772 w 5359400"/>
              <a:gd name="connsiteY1272" fmla="*/ 4552188 h 5359400"/>
              <a:gd name="connsiteX1273" fmla="*/ 9525 w 5359400"/>
              <a:gd name="connsiteY1273" fmla="*/ 4552188 h 5359400"/>
              <a:gd name="connsiteX1274" fmla="*/ 291211 w 5359400"/>
              <a:gd name="connsiteY1274" fmla="*/ 4575556 h 5359400"/>
              <a:gd name="connsiteX1275" fmla="*/ 314325 w 5359400"/>
              <a:gd name="connsiteY1275" fmla="*/ 4912868 h 5359400"/>
              <a:gd name="connsiteX1276" fmla="*/ 380873 w 5359400"/>
              <a:gd name="connsiteY1276" fmla="*/ 4889627 h 5359400"/>
              <a:gd name="connsiteX1277" fmla="*/ 358140 w 5359400"/>
              <a:gd name="connsiteY1277" fmla="*/ 4552188 h 5359400"/>
              <a:gd name="connsiteX1278" fmla="*/ 150368 w 5359400"/>
              <a:gd name="connsiteY1278" fmla="*/ 4563872 h 5359400"/>
              <a:gd name="connsiteX1279" fmla="*/ 161798 w 5359400"/>
              <a:gd name="connsiteY1279" fmla="*/ 4912868 h 5359400"/>
              <a:gd name="connsiteX1280" fmla="*/ 230759 w 5359400"/>
              <a:gd name="connsiteY1280" fmla="*/ 4901311 h 5359400"/>
              <a:gd name="connsiteX1281" fmla="*/ 219329 w 5359400"/>
              <a:gd name="connsiteY1281" fmla="*/ 4552188 h 5359400"/>
              <a:gd name="connsiteX1282" fmla="*/ 1136269 w 5359400"/>
              <a:gd name="connsiteY1282" fmla="*/ 4645025 h 5359400"/>
              <a:gd name="connsiteX1283" fmla="*/ 1227455 w 5359400"/>
              <a:gd name="connsiteY1283" fmla="*/ 4912614 h 5359400"/>
              <a:gd name="connsiteX1284" fmla="*/ 1280414 w 5359400"/>
              <a:gd name="connsiteY1284" fmla="*/ 4819523 h 5359400"/>
              <a:gd name="connsiteX1285" fmla="*/ 1189101 w 5359400"/>
              <a:gd name="connsiteY1285" fmla="*/ 4551934 h 5359400"/>
              <a:gd name="connsiteX1286" fmla="*/ 995426 w 5359400"/>
              <a:gd name="connsiteY1286" fmla="*/ 4633468 h 5359400"/>
              <a:gd name="connsiteX1287" fmla="*/ 1075309 w 5359400"/>
              <a:gd name="connsiteY1287" fmla="*/ 4912868 h 5359400"/>
              <a:gd name="connsiteX1288" fmla="*/ 1130427 w 5359400"/>
              <a:gd name="connsiteY1288" fmla="*/ 4831461 h 5359400"/>
              <a:gd name="connsiteX1289" fmla="*/ 1050544 w 5359400"/>
              <a:gd name="connsiteY1289" fmla="*/ 4552061 h 5359400"/>
              <a:gd name="connsiteX1290" fmla="*/ 1558925 w 5359400"/>
              <a:gd name="connsiteY1290" fmla="*/ 4680204 h 5359400"/>
              <a:gd name="connsiteX1291" fmla="*/ 1684401 w 5359400"/>
              <a:gd name="connsiteY1291" fmla="*/ 4912868 h 5359400"/>
              <a:gd name="connsiteX1292" fmla="*/ 1730248 w 5359400"/>
              <a:gd name="connsiteY1292" fmla="*/ 4784725 h 5359400"/>
              <a:gd name="connsiteX1293" fmla="*/ 1604772 w 5359400"/>
              <a:gd name="connsiteY1293" fmla="*/ 4551934 h 5359400"/>
              <a:gd name="connsiteX1294" fmla="*/ 1277239 w 5359400"/>
              <a:gd name="connsiteY1294" fmla="*/ 4656963 h 5359400"/>
              <a:gd name="connsiteX1295" fmla="*/ 1379855 w 5359400"/>
              <a:gd name="connsiteY1295" fmla="*/ 4912868 h 5359400"/>
              <a:gd name="connsiteX1296" fmla="*/ 1430655 w 5359400"/>
              <a:gd name="connsiteY1296" fmla="*/ 4808220 h 5359400"/>
              <a:gd name="connsiteX1297" fmla="*/ 1328039 w 5359400"/>
              <a:gd name="connsiteY1297" fmla="*/ 4552188 h 5359400"/>
              <a:gd name="connsiteX1298" fmla="*/ 1699768 w 5359400"/>
              <a:gd name="connsiteY1298" fmla="*/ 4691888 h 5359400"/>
              <a:gd name="connsiteX1299" fmla="*/ 1836674 w 5359400"/>
              <a:gd name="connsiteY1299" fmla="*/ 4912868 h 5359400"/>
              <a:gd name="connsiteX1300" fmla="*/ 1880235 w 5359400"/>
              <a:gd name="connsiteY1300" fmla="*/ 4773168 h 5359400"/>
              <a:gd name="connsiteX1301" fmla="*/ 1743456 w 5359400"/>
              <a:gd name="connsiteY1301" fmla="*/ 4552061 h 5359400"/>
              <a:gd name="connsiteX1302" fmla="*/ 4375785 w 5359400"/>
              <a:gd name="connsiteY1302" fmla="*/ 4557014 h 5359400"/>
              <a:gd name="connsiteX1303" fmla="*/ 4237228 w 5359400"/>
              <a:gd name="connsiteY1303" fmla="*/ 4552188 h 5359400"/>
              <a:gd name="connsiteX1304" fmla="*/ 4237228 w 5359400"/>
              <a:gd name="connsiteY1304" fmla="*/ 4561967 h 5359400"/>
              <a:gd name="connsiteX1305" fmla="*/ 4098798 w 5359400"/>
              <a:gd name="connsiteY1305" fmla="*/ 4552188 h 5359400"/>
              <a:gd name="connsiteX1306" fmla="*/ 4098798 w 5359400"/>
              <a:gd name="connsiteY1306" fmla="*/ 4567428 h 5359400"/>
              <a:gd name="connsiteX1307" fmla="*/ 3960495 w 5359400"/>
              <a:gd name="connsiteY1307" fmla="*/ 4552188 h 5359400"/>
              <a:gd name="connsiteX1308" fmla="*/ 3960495 w 5359400"/>
              <a:gd name="connsiteY1308" fmla="*/ 4573143 h 5359400"/>
              <a:gd name="connsiteX1309" fmla="*/ 3822446 w 5359400"/>
              <a:gd name="connsiteY1309" fmla="*/ 4552188 h 5359400"/>
              <a:gd name="connsiteX1310" fmla="*/ 3821684 w 5359400"/>
              <a:gd name="connsiteY1310" fmla="*/ 4579239 h 5359400"/>
              <a:gd name="connsiteX1311" fmla="*/ 3683889 w 5359400"/>
              <a:gd name="connsiteY1311" fmla="*/ 4552188 h 5359400"/>
              <a:gd name="connsiteX1312" fmla="*/ 3682619 w 5359400"/>
              <a:gd name="connsiteY1312" fmla="*/ 4585843 h 5359400"/>
              <a:gd name="connsiteX1313" fmla="*/ 3545332 w 5359400"/>
              <a:gd name="connsiteY1313" fmla="*/ 4552188 h 5359400"/>
              <a:gd name="connsiteX1314" fmla="*/ 3543427 w 5359400"/>
              <a:gd name="connsiteY1314" fmla="*/ 4592955 h 5359400"/>
              <a:gd name="connsiteX1315" fmla="*/ 3406775 w 5359400"/>
              <a:gd name="connsiteY1315" fmla="*/ 4552188 h 5359400"/>
              <a:gd name="connsiteX1316" fmla="*/ 3403981 w 5359400"/>
              <a:gd name="connsiteY1316" fmla="*/ 4600448 h 5359400"/>
              <a:gd name="connsiteX1317" fmla="*/ 3268218 w 5359400"/>
              <a:gd name="connsiteY1317" fmla="*/ 4552188 h 5359400"/>
              <a:gd name="connsiteX1318" fmla="*/ 3264408 w 5359400"/>
              <a:gd name="connsiteY1318" fmla="*/ 4608449 h 5359400"/>
              <a:gd name="connsiteX1319" fmla="*/ 3129661 w 5359400"/>
              <a:gd name="connsiteY1319" fmla="*/ 4552188 h 5359400"/>
              <a:gd name="connsiteX1320" fmla="*/ 3124454 w 5359400"/>
              <a:gd name="connsiteY1320" fmla="*/ 4617085 h 5359400"/>
              <a:gd name="connsiteX1321" fmla="*/ 2991104 w 5359400"/>
              <a:gd name="connsiteY1321" fmla="*/ 4552188 h 5359400"/>
              <a:gd name="connsiteX1322" fmla="*/ 2984246 w 5359400"/>
              <a:gd name="connsiteY1322" fmla="*/ 4626102 h 5359400"/>
              <a:gd name="connsiteX1323" fmla="*/ 2852547 w 5359400"/>
              <a:gd name="connsiteY1323" fmla="*/ 4552188 h 5359400"/>
              <a:gd name="connsiteX1324" fmla="*/ 2843530 w 5359400"/>
              <a:gd name="connsiteY1324" fmla="*/ 4635754 h 5359400"/>
              <a:gd name="connsiteX1325" fmla="*/ 2714117 w 5359400"/>
              <a:gd name="connsiteY1325" fmla="*/ 4552188 h 5359400"/>
              <a:gd name="connsiteX1326" fmla="*/ 2702433 w 5359400"/>
              <a:gd name="connsiteY1326" fmla="*/ 4645787 h 5359400"/>
              <a:gd name="connsiteX1327" fmla="*/ 2575433 w 5359400"/>
              <a:gd name="connsiteY1327" fmla="*/ 4552188 h 5359400"/>
              <a:gd name="connsiteX1328" fmla="*/ 2560574 w 5359400"/>
              <a:gd name="connsiteY1328" fmla="*/ 4656201 h 5359400"/>
              <a:gd name="connsiteX1329" fmla="*/ 2436876 w 5359400"/>
              <a:gd name="connsiteY1329" fmla="*/ 4552188 h 5359400"/>
              <a:gd name="connsiteX1330" fmla="*/ 2418207 w 5359400"/>
              <a:gd name="connsiteY1330" fmla="*/ 4666488 h 5359400"/>
              <a:gd name="connsiteX1331" fmla="*/ 2298319 w 5359400"/>
              <a:gd name="connsiteY1331" fmla="*/ 4552188 h 5359400"/>
              <a:gd name="connsiteX1332" fmla="*/ 2275078 w 5359400"/>
              <a:gd name="connsiteY1332" fmla="*/ 4677791 h 5359400"/>
              <a:gd name="connsiteX1333" fmla="*/ 2159762 w 5359400"/>
              <a:gd name="connsiteY1333" fmla="*/ 4552188 h 5359400"/>
              <a:gd name="connsiteX1334" fmla="*/ 2130425 w 5359400"/>
              <a:gd name="connsiteY1334" fmla="*/ 4688332 h 5359400"/>
              <a:gd name="connsiteX1335" fmla="*/ 2020570 w 5359400"/>
              <a:gd name="connsiteY1335" fmla="*/ 4552188 h 5359400"/>
              <a:gd name="connsiteX1336" fmla="*/ 1985518 w 5359400"/>
              <a:gd name="connsiteY1336" fmla="*/ 4698492 h 5359400"/>
              <a:gd name="connsiteX1337" fmla="*/ 1882013 w 5359400"/>
              <a:gd name="connsiteY1337" fmla="*/ 4552188 h 5359400"/>
              <a:gd name="connsiteX1338" fmla="*/ 1840611 w 5359400"/>
              <a:gd name="connsiteY1338" fmla="*/ 4703445 h 5359400"/>
              <a:gd name="connsiteX1339" fmla="*/ 1988820 w 5359400"/>
              <a:gd name="connsiteY1339" fmla="*/ 4912868 h 5359400"/>
              <a:gd name="connsiteX1340" fmla="*/ 2026920 w 5359400"/>
              <a:gd name="connsiteY1340" fmla="*/ 4772025 h 5359400"/>
              <a:gd name="connsiteX1341" fmla="*/ 2141220 w 5359400"/>
              <a:gd name="connsiteY1341" fmla="*/ 4912868 h 5359400"/>
              <a:gd name="connsiteX1342" fmla="*/ 2172716 w 5359400"/>
              <a:gd name="connsiteY1342" fmla="*/ 4781550 h 5359400"/>
              <a:gd name="connsiteX1343" fmla="*/ 2293493 w 5359400"/>
              <a:gd name="connsiteY1343" fmla="*/ 4912868 h 5359400"/>
              <a:gd name="connsiteX1344" fmla="*/ 2318893 w 5359400"/>
              <a:gd name="connsiteY1344" fmla="*/ 4791710 h 5359400"/>
              <a:gd name="connsiteX1345" fmla="*/ 2445893 w 5359400"/>
              <a:gd name="connsiteY1345" fmla="*/ 4912868 h 5359400"/>
              <a:gd name="connsiteX1346" fmla="*/ 2466340 w 5359400"/>
              <a:gd name="connsiteY1346" fmla="*/ 4802124 h 5359400"/>
              <a:gd name="connsiteX1347" fmla="*/ 2598039 w 5359400"/>
              <a:gd name="connsiteY1347" fmla="*/ 4912868 h 5359400"/>
              <a:gd name="connsiteX1348" fmla="*/ 2614422 w 5359400"/>
              <a:gd name="connsiteY1348" fmla="*/ 4812665 h 5359400"/>
              <a:gd name="connsiteX1349" fmla="*/ 2750312 w 5359400"/>
              <a:gd name="connsiteY1349" fmla="*/ 4912868 h 5359400"/>
              <a:gd name="connsiteX1350" fmla="*/ 2763012 w 5359400"/>
              <a:gd name="connsiteY1350" fmla="*/ 4823079 h 5359400"/>
              <a:gd name="connsiteX1351" fmla="*/ 2902712 w 5359400"/>
              <a:gd name="connsiteY1351" fmla="*/ 4912868 h 5359400"/>
              <a:gd name="connsiteX1352" fmla="*/ 2912618 w 5359400"/>
              <a:gd name="connsiteY1352" fmla="*/ 4832985 h 5359400"/>
              <a:gd name="connsiteX1353" fmla="*/ 3054985 w 5359400"/>
              <a:gd name="connsiteY1353" fmla="*/ 4912868 h 5359400"/>
              <a:gd name="connsiteX1354" fmla="*/ 3062605 w 5359400"/>
              <a:gd name="connsiteY1354" fmla="*/ 4842637 h 5359400"/>
              <a:gd name="connsiteX1355" fmla="*/ 3207258 w 5359400"/>
              <a:gd name="connsiteY1355" fmla="*/ 4912868 h 5359400"/>
              <a:gd name="connsiteX1356" fmla="*/ 3212973 w 5359400"/>
              <a:gd name="connsiteY1356" fmla="*/ 4851781 h 5359400"/>
              <a:gd name="connsiteX1357" fmla="*/ 3359404 w 5359400"/>
              <a:gd name="connsiteY1357" fmla="*/ 4912868 h 5359400"/>
              <a:gd name="connsiteX1358" fmla="*/ 3363722 w 5359400"/>
              <a:gd name="connsiteY1358" fmla="*/ 4860417 h 5359400"/>
              <a:gd name="connsiteX1359" fmla="*/ 3511677 w 5359400"/>
              <a:gd name="connsiteY1359" fmla="*/ 4912868 h 5359400"/>
              <a:gd name="connsiteX1360" fmla="*/ 3514725 w 5359400"/>
              <a:gd name="connsiteY1360" fmla="*/ 4868545 h 5359400"/>
              <a:gd name="connsiteX1361" fmla="*/ 3663950 w 5359400"/>
              <a:gd name="connsiteY1361" fmla="*/ 4912868 h 5359400"/>
              <a:gd name="connsiteX1362" fmla="*/ 3666109 w 5359400"/>
              <a:gd name="connsiteY1362" fmla="*/ 4876165 h 5359400"/>
              <a:gd name="connsiteX1363" fmla="*/ 3816223 w 5359400"/>
              <a:gd name="connsiteY1363" fmla="*/ 4912868 h 5359400"/>
              <a:gd name="connsiteX1364" fmla="*/ 3817620 w 5359400"/>
              <a:gd name="connsiteY1364" fmla="*/ 4883277 h 5359400"/>
              <a:gd name="connsiteX1365" fmla="*/ 3968496 w 5359400"/>
              <a:gd name="connsiteY1365" fmla="*/ 4912868 h 5359400"/>
              <a:gd name="connsiteX1366" fmla="*/ 3969258 w 5359400"/>
              <a:gd name="connsiteY1366" fmla="*/ 4890008 h 5359400"/>
              <a:gd name="connsiteX1367" fmla="*/ 4120642 w 5359400"/>
              <a:gd name="connsiteY1367" fmla="*/ 4912868 h 5359400"/>
              <a:gd name="connsiteX1368" fmla="*/ 4120642 w 5359400"/>
              <a:gd name="connsiteY1368" fmla="*/ 4896358 h 5359400"/>
              <a:gd name="connsiteX1369" fmla="*/ 4273042 w 5359400"/>
              <a:gd name="connsiteY1369" fmla="*/ 4912868 h 5359400"/>
              <a:gd name="connsiteX1370" fmla="*/ 4273042 w 5359400"/>
              <a:gd name="connsiteY1370" fmla="*/ 4902581 h 5359400"/>
              <a:gd name="connsiteX1371" fmla="*/ 4282694 w 5359400"/>
              <a:gd name="connsiteY1371" fmla="*/ 4902581 h 5359400"/>
              <a:gd name="connsiteX1372" fmla="*/ 4376166 w 5359400"/>
              <a:gd name="connsiteY1372" fmla="*/ 4909185 h 5359400"/>
              <a:gd name="connsiteX1373" fmla="*/ 4376166 w 5359400"/>
              <a:gd name="connsiteY1373" fmla="*/ 4912614 h 5359400"/>
              <a:gd name="connsiteX1374" fmla="*/ 5360289 w 5359400"/>
              <a:gd name="connsiteY1374" fmla="*/ 4912614 h 5359400"/>
              <a:gd name="connsiteX1375" fmla="*/ 5360289 w 5359400"/>
              <a:gd name="connsiteY1375" fmla="*/ 4551934 h 5359400"/>
              <a:gd name="connsiteX1376" fmla="*/ 4375785 w 5359400"/>
              <a:gd name="connsiteY1376" fmla="*/ 4551934 h 5359400"/>
              <a:gd name="connsiteX1377" fmla="*/ 1417955 w 5359400"/>
              <a:gd name="connsiteY1377" fmla="*/ 4668647 h 5359400"/>
              <a:gd name="connsiteX1378" fmla="*/ 1532255 w 5359400"/>
              <a:gd name="connsiteY1378" fmla="*/ 4912868 h 5359400"/>
              <a:gd name="connsiteX1379" fmla="*/ 1580515 w 5359400"/>
              <a:gd name="connsiteY1379" fmla="*/ 4796536 h 5359400"/>
              <a:gd name="connsiteX1380" fmla="*/ 1466215 w 5359400"/>
              <a:gd name="connsiteY1380" fmla="*/ 4552188 h 5359400"/>
              <a:gd name="connsiteX1381" fmla="*/ 572897 w 5359400"/>
              <a:gd name="connsiteY1381" fmla="*/ 4598797 h 5359400"/>
              <a:gd name="connsiteX1382" fmla="*/ 619125 w 5359400"/>
              <a:gd name="connsiteY1382" fmla="*/ 4912868 h 5359400"/>
              <a:gd name="connsiteX1383" fmla="*/ 681228 w 5359400"/>
              <a:gd name="connsiteY1383" fmla="*/ 4866386 h 5359400"/>
              <a:gd name="connsiteX1384" fmla="*/ 635635 w 5359400"/>
              <a:gd name="connsiteY1384" fmla="*/ 4552188 h 5359400"/>
              <a:gd name="connsiteX1385" fmla="*/ 432054 w 5359400"/>
              <a:gd name="connsiteY1385" fmla="*/ 4587113 h 5359400"/>
              <a:gd name="connsiteX1386" fmla="*/ 466725 w 5359400"/>
              <a:gd name="connsiteY1386" fmla="*/ 4912868 h 5359400"/>
              <a:gd name="connsiteX1387" fmla="*/ 530225 w 5359400"/>
              <a:gd name="connsiteY1387" fmla="*/ 4877943 h 5359400"/>
              <a:gd name="connsiteX1388" fmla="*/ 496062 w 5359400"/>
              <a:gd name="connsiteY1388" fmla="*/ 4552188 h 5359400"/>
              <a:gd name="connsiteX1389" fmla="*/ 854583 w 5359400"/>
              <a:gd name="connsiteY1389" fmla="*/ 4622038 h 5359400"/>
              <a:gd name="connsiteX1390" fmla="*/ 923036 w 5359400"/>
              <a:gd name="connsiteY1390" fmla="*/ 4912868 h 5359400"/>
              <a:gd name="connsiteX1391" fmla="*/ 980440 w 5359400"/>
              <a:gd name="connsiteY1391" fmla="*/ 4843145 h 5359400"/>
              <a:gd name="connsiteX1392" fmla="*/ 911987 w 5359400"/>
              <a:gd name="connsiteY1392" fmla="*/ 4552188 h 5359400"/>
              <a:gd name="connsiteX1393" fmla="*/ 713740 w 5359400"/>
              <a:gd name="connsiteY1393" fmla="*/ 4610481 h 5359400"/>
              <a:gd name="connsiteX1394" fmla="*/ 770763 w 5359400"/>
              <a:gd name="connsiteY1394" fmla="*/ 4912868 h 5359400"/>
              <a:gd name="connsiteX1395" fmla="*/ 830453 w 5359400"/>
              <a:gd name="connsiteY1395" fmla="*/ 4854702 h 5359400"/>
              <a:gd name="connsiteX1396" fmla="*/ 773557 w 5359400"/>
              <a:gd name="connsiteY1396" fmla="*/ 4552188 h 5359400"/>
              <a:gd name="connsiteX1397" fmla="*/ 9525 w 5359400"/>
              <a:gd name="connsiteY1397" fmla="*/ 5359908 h 5359400"/>
              <a:gd name="connsiteX1398" fmla="*/ 80772 w 5359400"/>
              <a:gd name="connsiteY1398" fmla="*/ 5359908 h 5359400"/>
              <a:gd name="connsiteX1399" fmla="*/ 80772 w 5359400"/>
              <a:gd name="connsiteY1399" fmla="*/ 4999228 h 5359400"/>
              <a:gd name="connsiteX1400" fmla="*/ 9525 w 5359400"/>
              <a:gd name="connsiteY1400" fmla="*/ 4999228 h 5359400"/>
              <a:gd name="connsiteX1401" fmla="*/ 291211 w 5359400"/>
              <a:gd name="connsiteY1401" fmla="*/ 5022469 h 5359400"/>
              <a:gd name="connsiteX1402" fmla="*/ 314325 w 5359400"/>
              <a:gd name="connsiteY1402" fmla="*/ 5359908 h 5359400"/>
              <a:gd name="connsiteX1403" fmla="*/ 380873 w 5359400"/>
              <a:gd name="connsiteY1403" fmla="*/ 5336667 h 5359400"/>
              <a:gd name="connsiteX1404" fmla="*/ 358140 w 5359400"/>
              <a:gd name="connsiteY1404" fmla="*/ 4999228 h 5359400"/>
              <a:gd name="connsiteX1405" fmla="*/ 150368 w 5359400"/>
              <a:gd name="connsiteY1405" fmla="*/ 5010912 h 5359400"/>
              <a:gd name="connsiteX1406" fmla="*/ 161798 w 5359400"/>
              <a:gd name="connsiteY1406" fmla="*/ 5359908 h 5359400"/>
              <a:gd name="connsiteX1407" fmla="*/ 230759 w 5359400"/>
              <a:gd name="connsiteY1407" fmla="*/ 5348224 h 5359400"/>
              <a:gd name="connsiteX1408" fmla="*/ 219329 w 5359400"/>
              <a:gd name="connsiteY1408" fmla="*/ 4999228 h 5359400"/>
              <a:gd name="connsiteX1409" fmla="*/ 1136269 w 5359400"/>
              <a:gd name="connsiteY1409" fmla="*/ 5092319 h 5359400"/>
              <a:gd name="connsiteX1410" fmla="*/ 1227455 w 5359400"/>
              <a:gd name="connsiteY1410" fmla="*/ 5359908 h 5359400"/>
              <a:gd name="connsiteX1411" fmla="*/ 1280414 w 5359400"/>
              <a:gd name="connsiteY1411" fmla="*/ 5266817 h 5359400"/>
              <a:gd name="connsiteX1412" fmla="*/ 1189101 w 5359400"/>
              <a:gd name="connsiteY1412" fmla="*/ 4999228 h 5359400"/>
              <a:gd name="connsiteX1413" fmla="*/ 995426 w 5359400"/>
              <a:gd name="connsiteY1413" fmla="*/ 5080635 h 5359400"/>
              <a:gd name="connsiteX1414" fmla="*/ 1075309 w 5359400"/>
              <a:gd name="connsiteY1414" fmla="*/ 5360035 h 5359400"/>
              <a:gd name="connsiteX1415" fmla="*/ 1130427 w 5359400"/>
              <a:gd name="connsiteY1415" fmla="*/ 5278628 h 5359400"/>
              <a:gd name="connsiteX1416" fmla="*/ 1050544 w 5359400"/>
              <a:gd name="connsiteY1416" fmla="*/ 4999228 h 5359400"/>
              <a:gd name="connsiteX1417" fmla="*/ 1558925 w 5359400"/>
              <a:gd name="connsiteY1417" fmla="*/ 5127625 h 5359400"/>
              <a:gd name="connsiteX1418" fmla="*/ 1684401 w 5359400"/>
              <a:gd name="connsiteY1418" fmla="*/ 5360289 h 5359400"/>
              <a:gd name="connsiteX1419" fmla="*/ 1730375 w 5359400"/>
              <a:gd name="connsiteY1419" fmla="*/ 5232273 h 5359400"/>
              <a:gd name="connsiteX1420" fmla="*/ 1604899 w 5359400"/>
              <a:gd name="connsiteY1420" fmla="*/ 4999609 h 5359400"/>
              <a:gd name="connsiteX1421" fmla="*/ 1277239 w 5359400"/>
              <a:gd name="connsiteY1421" fmla="*/ 5104257 h 5359400"/>
              <a:gd name="connsiteX1422" fmla="*/ 1379855 w 5359400"/>
              <a:gd name="connsiteY1422" fmla="*/ 5360289 h 5359400"/>
              <a:gd name="connsiteX1423" fmla="*/ 1430655 w 5359400"/>
              <a:gd name="connsiteY1423" fmla="*/ 5255514 h 5359400"/>
              <a:gd name="connsiteX1424" fmla="*/ 1328039 w 5359400"/>
              <a:gd name="connsiteY1424" fmla="*/ 4999609 h 5359400"/>
              <a:gd name="connsiteX1425" fmla="*/ 1699768 w 5359400"/>
              <a:gd name="connsiteY1425" fmla="*/ 5139182 h 5359400"/>
              <a:gd name="connsiteX1426" fmla="*/ 1836674 w 5359400"/>
              <a:gd name="connsiteY1426" fmla="*/ 5360289 h 5359400"/>
              <a:gd name="connsiteX1427" fmla="*/ 1880235 w 5359400"/>
              <a:gd name="connsiteY1427" fmla="*/ 5220589 h 5359400"/>
              <a:gd name="connsiteX1428" fmla="*/ 1743456 w 5359400"/>
              <a:gd name="connsiteY1428" fmla="*/ 4999609 h 5359400"/>
              <a:gd name="connsiteX1429" fmla="*/ 4375785 w 5359400"/>
              <a:gd name="connsiteY1429" fmla="*/ 5003927 h 5359400"/>
              <a:gd name="connsiteX1430" fmla="*/ 4237228 w 5359400"/>
              <a:gd name="connsiteY1430" fmla="*/ 4999228 h 5359400"/>
              <a:gd name="connsiteX1431" fmla="*/ 4237228 w 5359400"/>
              <a:gd name="connsiteY1431" fmla="*/ 5009007 h 5359400"/>
              <a:gd name="connsiteX1432" fmla="*/ 4098798 w 5359400"/>
              <a:gd name="connsiteY1432" fmla="*/ 4999228 h 5359400"/>
              <a:gd name="connsiteX1433" fmla="*/ 4098798 w 5359400"/>
              <a:gd name="connsiteY1433" fmla="*/ 5014341 h 5359400"/>
              <a:gd name="connsiteX1434" fmla="*/ 3960495 w 5359400"/>
              <a:gd name="connsiteY1434" fmla="*/ 4999228 h 5359400"/>
              <a:gd name="connsiteX1435" fmla="*/ 3960495 w 5359400"/>
              <a:gd name="connsiteY1435" fmla="*/ 5020056 h 5359400"/>
              <a:gd name="connsiteX1436" fmla="*/ 3822446 w 5359400"/>
              <a:gd name="connsiteY1436" fmla="*/ 4999228 h 5359400"/>
              <a:gd name="connsiteX1437" fmla="*/ 3820795 w 5359400"/>
              <a:gd name="connsiteY1437" fmla="*/ 5026025 h 5359400"/>
              <a:gd name="connsiteX1438" fmla="*/ 3683000 w 5359400"/>
              <a:gd name="connsiteY1438" fmla="*/ 4998974 h 5359400"/>
              <a:gd name="connsiteX1439" fmla="*/ 3681730 w 5359400"/>
              <a:gd name="connsiteY1439" fmla="*/ 5032629 h 5359400"/>
              <a:gd name="connsiteX1440" fmla="*/ 3544443 w 5359400"/>
              <a:gd name="connsiteY1440" fmla="*/ 4998974 h 5359400"/>
              <a:gd name="connsiteX1441" fmla="*/ 3542538 w 5359400"/>
              <a:gd name="connsiteY1441" fmla="*/ 5039614 h 5359400"/>
              <a:gd name="connsiteX1442" fmla="*/ 3405886 w 5359400"/>
              <a:gd name="connsiteY1442" fmla="*/ 4998974 h 5359400"/>
              <a:gd name="connsiteX1443" fmla="*/ 3403092 w 5359400"/>
              <a:gd name="connsiteY1443" fmla="*/ 5047107 h 5359400"/>
              <a:gd name="connsiteX1444" fmla="*/ 3267329 w 5359400"/>
              <a:gd name="connsiteY1444" fmla="*/ 4998974 h 5359400"/>
              <a:gd name="connsiteX1445" fmla="*/ 3263519 w 5359400"/>
              <a:gd name="connsiteY1445" fmla="*/ 5055235 h 5359400"/>
              <a:gd name="connsiteX1446" fmla="*/ 3128772 w 5359400"/>
              <a:gd name="connsiteY1446" fmla="*/ 4998974 h 5359400"/>
              <a:gd name="connsiteX1447" fmla="*/ 3123565 w 5359400"/>
              <a:gd name="connsiteY1447" fmla="*/ 5063744 h 5359400"/>
              <a:gd name="connsiteX1448" fmla="*/ 2990215 w 5359400"/>
              <a:gd name="connsiteY1448" fmla="*/ 4998974 h 5359400"/>
              <a:gd name="connsiteX1449" fmla="*/ 2983357 w 5359400"/>
              <a:gd name="connsiteY1449" fmla="*/ 5072888 h 5359400"/>
              <a:gd name="connsiteX1450" fmla="*/ 2851658 w 5359400"/>
              <a:gd name="connsiteY1450" fmla="*/ 4998974 h 5359400"/>
              <a:gd name="connsiteX1451" fmla="*/ 2842641 w 5359400"/>
              <a:gd name="connsiteY1451" fmla="*/ 5082413 h 5359400"/>
              <a:gd name="connsiteX1452" fmla="*/ 2713228 w 5359400"/>
              <a:gd name="connsiteY1452" fmla="*/ 4998974 h 5359400"/>
              <a:gd name="connsiteX1453" fmla="*/ 2701544 w 5359400"/>
              <a:gd name="connsiteY1453" fmla="*/ 5092446 h 5359400"/>
              <a:gd name="connsiteX1454" fmla="*/ 2574544 w 5359400"/>
              <a:gd name="connsiteY1454" fmla="*/ 4998974 h 5359400"/>
              <a:gd name="connsiteX1455" fmla="*/ 2559685 w 5359400"/>
              <a:gd name="connsiteY1455" fmla="*/ 5102987 h 5359400"/>
              <a:gd name="connsiteX1456" fmla="*/ 2435987 w 5359400"/>
              <a:gd name="connsiteY1456" fmla="*/ 4998974 h 5359400"/>
              <a:gd name="connsiteX1457" fmla="*/ 2417318 w 5359400"/>
              <a:gd name="connsiteY1457" fmla="*/ 5113274 h 5359400"/>
              <a:gd name="connsiteX1458" fmla="*/ 2297430 w 5359400"/>
              <a:gd name="connsiteY1458" fmla="*/ 4998974 h 5359400"/>
              <a:gd name="connsiteX1459" fmla="*/ 2274189 w 5359400"/>
              <a:gd name="connsiteY1459" fmla="*/ 5124450 h 5359400"/>
              <a:gd name="connsiteX1460" fmla="*/ 2158873 w 5359400"/>
              <a:gd name="connsiteY1460" fmla="*/ 4998974 h 5359400"/>
              <a:gd name="connsiteX1461" fmla="*/ 2130425 w 5359400"/>
              <a:gd name="connsiteY1461" fmla="*/ 5135372 h 5359400"/>
              <a:gd name="connsiteX1462" fmla="*/ 2020570 w 5359400"/>
              <a:gd name="connsiteY1462" fmla="*/ 4999228 h 5359400"/>
              <a:gd name="connsiteX1463" fmla="*/ 1985518 w 5359400"/>
              <a:gd name="connsiteY1463" fmla="*/ 5145405 h 5359400"/>
              <a:gd name="connsiteX1464" fmla="*/ 1882013 w 5359400"/>
              <a:gd name="connsiteY1464" fmla="*/ 4999228 h 5359400"/>
              <a:gd name="connsiteX1465" fmla="*/ 1840611 w 5359400"/>
              <a:gd name="connsiteY1465" fmla="*/ 5150485 h 5359400"/>
              <a:gd name="connsiteX1466" fmla="*/ 1988820 w 5359400"/>
              <a:gd name="connsiteY1466" fmla="*/ 5359908 h 5359400"/>
              <a:gd name="connsiteX1467" fmla="*/ 2026920 w 5359400"/>
              <a:gd name="connsiteY1467" fmla="*/ 5218938 h 5359400"/>
              <a:gd name="connsiteX1468" fmla="*/ 2141220 w 5359400"/>
              <a:gd name="connsiteY1468" fmla="*/ 5359908 h 5359400"/>
              <a:gd name="connsiteX1469" fmla="*/ 2172716 w 5359400"/>
              <a:gd name="connsiteY1469" fmla="*/ 5228463 h 5359400"/>
              <a:gd name="connsiteX1470" fmla="*/ 2293493 w 5359400"/>
              <a:gd name="connsiteY1470" fmla="*/ 5359908 h 5359400"/>
              <a:gd name="connsiteX1471" fmla="*/ 2318893 w 5359400"/>
              <a:gd name="connsiteY1471" fmla="*/ 5238623 h 5359400"/>
              <a:gd name="connsiteX1472" fmla="*/ 2445893 w 5359400"/>
              <a:gd name="connsiteY1472" fmla="*/ 5359908 h 5359400"/>
              <a:gd name="connsiteX1473" fmla="*/ 2466340 w 5359400"/>
              <a:gd name="connsiteY1473" fmla="*/ 5249164 h 5359400"/>
              <a:gd name="connsiteX1474" fmla="*/ 2598039 w 5359400"/>
              <a:gd name="connsiteY1474" fmla="*/ 5359908 h 5359400"/>
              <a:gd name="connsiteX1475" fmla="*/ 2614422 w 5359400"/>
              <a:gd name="connsiteY1475" fmla="*/ 5259705 h 5359400"/>
              <a:gd name="connsiteX1476" fmla="*/ 2750312 w 5359400"/>
              <a:gd name="connsiteY1476" fmla="*/ 5359908 h 5359400"/>
              <a:gd name="connsiteX1477" fmla="*/ 2763012 w 5359400"/>
              <a:gd name="connsiteY1477" fmla="*/ 5269992 h 5359400"/>
              <a:gd name="connsiteX1478" fmla="*/ 2902712 w 5359400"/>
              <a:gd name="connsiteY1478" fmla="*/ 5359908 h 5359400"/>
              <a:gd name="connsiteX1479" fmla="*/ 2912618 w 5359400"/>
              <a:gd name="connsiteY1479" fmla="*/ 5280025 h 5359400"/>
              <a:gd name="connsiteX1480" fmla="*/ 3054985 w 5359400"/>
              <a:gd name="connsiteY1480" fmla="*/ 5359908 h 5359400"/>
              <a:gd name="connsiteX1481" fmla="*/ 3062605 w 5359400"/>
              <a:gd name="connsiteY1481" fmla="*/ 5289550 h 5359400"/>
              <a:gd name="connsiteX1482" fmla="*/ 3207258 w 5359400"/>
              <a:gd name="connsiteY1482" fmla="*/ 5359908 h 5359400"/>
              <a:gd name="connsiteX1483" fmla="*/ 3212973 w 5359400"/>
              <a:gd name="connsiteY1483" fmla="*/ 5298694 h 5359400"/>
              <a:gd name="connsiteX1484" fmla="*/ 3359404 w 5359400"/>
              <a:gd name="connsiteY1484" fmla="*/ 5359908 h 5359400"/>
              <a:gd name="connsiteX1485" fmla="*/ 3363722 w 5359400"/>
              <a:gd name="connsiteY1485" fmla="*/ 5307330 h 5359400"/>
              <a:gd name="connsiteX1486" fmla="*/ 3511677 w 5359400"/>
              <a:gd name="connsiteY1486" fmla="*/ 5359908 h 5359400"/>
              <a:gd name="connsiteX1487" fmla="*/ 3514725 w 5359400"/>
              <a:gd name="connsiteY1487" fmla="*/ 5315458 h 5359400"/>
              <a:gd name="connsiteX1488" fmla="*/ 3663950 w 5359400"/>
              <a:gd name="connsiteY1488" fmla="*/ 5359908 h 5359400"/>
              <a:gd name="connsiteX1489" fmla="*/ 3666109 w 5359400"/>
              <a:gd name="connsiteY1489" fmla="*/ 5323078 h 5359400"/>
              <a:gd name="connsiteX1490" fmla="*/ 3816223 w 5359400"/>
              <a:gd name="connsiteY1490" fmla="*/ 5359908 h 5359400"/>
              <a:gd name="connsiteX1491" fmla="*/ 3817620 w 5359400"/>
              <a:gd name="connsiteY1491" fmla="*/ 5330317 h 5359400"/>
              <a:gd name="connsiteX1492" fmla="*/ 3968496 w 5359400"/>
              <a:gd name="connsiteY1492" fmla="*/ 5359908 h 5359400"/>
              <a:gd name="connsiteX1493" fmla="*/ 3969258 w 5359400"/>
              <a:gd name="connsiteY1493" fmla="*/ 5337048 h 5359400"/>
              <a:gd name="connsiteX1494" fmla="*/ 4120642 w 5359400"/>
              <a:gd name="connsiteY1494" fmla="*/ 5359908 h 5359400"/>
              <a:gd name="connsiteX1495" fmla="*/ 4120642 w 5359400"/>
              <a:gd name="connsiteY1495" fmla="*/ 5343271 h 5359400"/>
              <a:gd name="connsiteX1496" fmla="*/ 4273042 w 5359400"/>
              <a:gd name="connsiteY1496" fmla="*/ 5359908 h 5359400"/>
              <a:gd name="connsiteX1497" fmla="*/ 4273042 w 5359400"/>
              <a:gd name="connsiteY1497" fmla="*/ 5349494 h 5359400"/>
              <a:gd name="connsiteX1498" fmla="*/ 4282694 w 5359400"/>
              <a:gd name="connsiteY1498" fmla="*/ 5349494 h 5359400"/>
              <a:gd name="connsiteX1499" fmla="*/ 4376166 w 5359400"/>
              <a:gd name="connsiteY1499" fmla="*/ 5356098 h 5359400"/>
              <a:gd name="connsiteX1500" fmla="*/ 4376166 w 5359400"/>
              <a:gd name="connsiteY1500" fmla="*/ 5359527 h 5359400"/>
              <a:gd name="connsiteX1501" fmla="*/ 5360289 w 5359400"/>
              <a:gd name="connsiteY1501" fmla="*/ 5359527 h 5359400"/>
              <a:gd name="connsiteX1502" fmla="*/ 5360289 w 5359400"/>
              <a:gd name="connsiteY1502" fmla="*/ 4998847 h 5359400"/>
              <a:gd name="connsiteX1503" fmla="*/ 4375785 w 5359400"/>
              <a:gd name="connsiteY1503" fmla="*/ 4998847 h 5359400"/>
              <a:gd name="connsiteX1504" fmla="*/ 1417955 w 5359400"/>
              <a:gd name="connsiteY1504" fmla="*/ 5115560 h 5359400"/>
              <a:gd name="connsiteX1505" fmla="*/ 1532255 w 5359400"/>
              <a:gd name="connsiteY1505" fmla="*/ 5359908 h 5359400"/>
              <a:gd name="connsiteX1506" fmla="*/ 1580515 w 5359400"/>
              <a:gd name="connsiteY1506" fmla="*/ 5243576 h 5359400"/>
              <a:gd name="connsiteX1507" fmla="*/ 1466215 w 5359400"/>
              <a:gd name="connsiteY1507" fmla="*/ 4999228 h 5359400"/>
              <a:gd name="connsiteX1508" fmla="*/ 572897 w 5359400"/>
              <a:gd name="connsiteY1508" fmla="*/ 5045710 h 5359400"/>
              <a:gd name="connsiteX1509" fmla="*/ 619125 w 5359400"/>
              <a:gd name="connsiteY1509" fmla="*/ 5359908 h 5359400"/>
              <a:gd name="connsiteX1510" fmla="*/ 681228 w 5359400"/>
              <a:gd name="connsiteY1510" fmla="*/ 5313299 h 5359400"/>
              <a:gd name="connsiteX1511" fmla="*/ 635635 w 5359400"/>
              <a:gd name="connsiteY1511" fmla="*/ 4999228 h 5359400"/>
              <a:gd name="connsiteX1512" fmla="*/ 432054 w 5359400"/>
              <a:gd name="connsiteY1512" fmla="*/ 5034153 h 5359400"/>
              <a:gd name="connsiteX1513" fmla="*/ 466725 w 5359400"/>
              <a:gd name="connsiteY1513" fmla="*/ 5359908 h 5359400"/>
              <a:gd name="connsiteX1514" fmla="*/ 530225 w 5359400"/>
              <a:gd name="connsiteY1514" fmla="*/ 5324983 h 5359400"/>
              <a:gd name="connsiteX1515" fmla="*/ 496062 w 5359400"/>
              <a:gd name="connsiteY1515" fmla="*/ 4999228 h 5359400"/>
              <a:gd name="connsiteX1516" fmla="*/ 854583 w 5359400"/>
              <a:gd name="connsiteY1516" fmla="*/ 5069078 h 5359400"/>
              <a:gd name="connsiteX1517" fmla="*/ 923036 w 5359400"/>
              <a:gd name="connsiteY1517" fmla="*/ 5359908 h 5359400"/>
              <a:gd name="connsiteX1518" fmla="*/ 980440 w 5359400"/>
              <a:gd name="connsiteY1518" fmla="*/ 5290058 h 5359400"/>
              <a:gd name="connsiteX1519" fmla="*/ 911987 w 5359400"/>
              <a:gd name="connsiteY1519" fmla="*/ 4999228 h 5359400"/>
              <a:gd name="connsiteX1520" fmla="*/ 713740 w 5359400"/>
              <a:gd name="connsiteY1520" fmla="*/ 5057394 h 5359400"/>
              <a:gd name="connsiteX1521" fmla="*/ 770763 w 5359400"/>
              <a:gd name="connsiteY1521" fmla="*/ 5359908 h 5359400"/>
              <a:gd name="connsiteX1522" fmla="*/ 830453 w 5359400"/>
              <a:gd name="connsiteY1522" fmla="*/ 5301742 h 5359400"/>
              <a:gd name="connsiteX1523" fmla="*/ 773557 w 5359400"/>
              <a:gd name="connsiteY1523" fmla="*/ 4999228 h 535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Lst>
            <a:rect l="l" t="t" r="r" b="b"/>
            <a:pathLst>
              <a:path w="5359400" h="5359400">
                <a:moveTo>
                  <a:pt x="9525" y="1839976"/>
                </a:moveTo>
                <a:lnTo>
                  <a:pt x="80772" y="1839976"/>
                </a:lnTo>
                <a:lnTo>
                  <a:pt x="80772" y="2200529"/>
                </a:lnTo>
                <a:lnTo>
                  <a:pt x="9525" y="2200529"/>
                </a:lnTo>
                <a:close/>
                <a:moveTo>
                  <a:pt x="9525" y="2658237"/>
                </a:moveTo>
                <a:lnTo>
                  <a:pt x="80772" y="2658237"/>
                </a:lnTo>
                <a:lnTo>
                  <a:pt x="80772" y="2297557"/>
                </a:lnTo>
                <a:lnTo>
                  <a:pt x="9525" y="2297557"/>
                </a:lnTo>
                <a:close/>
                <a:moveTo>
                  <a:pt x="9525" y="3115437"/>
                </a:moveTo>
                <a:lnTo>
                  <a:pt x="80772" y="3115437"/>
                </a:lnTo>
                <a:lnTo>
                  <a:pt x="80772" y="2754757"/>
                </a:lnTo>
                <a:lnTo>
                  <a:pt x="9525" y="2754757"/>
                </a:lnTo>
                <a:close/>
                <a:moveTo>
                  <a:pt x="9525" y="1285367"/>
                </a:moveTo>
                <a:lnTo>
                  <a:pt x="80772" y="1285367"/>
                </a:lnTo>
                <a:lnTo>
                  <a:pt x="80772" y="924687"/>
                </a:lnTo>
                <a:lnTo>
                  <a:pt x="9525" y="924687"/>
                </a:lnTo>
                <a:close/>
                <a:moveTo>
                  <a:pt x="9525" y="1742567"/>
                </a:moveTo>
                <a:lnTo>
                  <a:pt x="80772" y="1742567"/>
                </a:lnTo>
                <a:lnTo>
                  <a:pt x="80772" y="1382395"/>
                </a:lnTo>
                <a:lnTo>
                  <a:pt x="9525" y="1382395"/>
                </a:lnTo>
                <a:close/>
                <a:moveTo>
                  <a:pt x="1280414" y="2564765"/>
                </a:moveTo>
                <a:lnTo>
                  <a:pt x="1189101" y="2297176"/>
                </a:lnTo>
                <a:lnTo>
                  <a:pt x="1136269" y="2390267"/>
                </a:lnTo>
                <a:lnTo>
                  <a:pt x="1227455" y="2657856"/>
                </a:lnTo>
                <a:close/>
                <a:moveTo>
                  <a:pt x="1280414" y="1191895"/>
                </a:moveTo>
                <a:lnTo>
                  <a:pt x="1189101" y="924687"/>
                </a:lnTo>
                <a:lnTo>
                  <a:pt x="1136269" y="1017778"/>
                </a:lnTo>
                <a:lnTo>
                  <a:pt x="1227455" y="1285367"/>
                </a:lnTo>
                <a:close/>
                <a:moveTo>
                  <a:pt x="9525" y="827786"/>
                </a:moveTo>
                <a:lnTo>
                  <a:pt x="80772" y="827786"/>
                </a:lnTo>
                <a:lnTo>
                  <a:pt x="80772" y="466725"/>
                </a:lnTo>
                <a:lnTo>
                  <a:pt x="9525" y="466725"/>
                </a:lnTo>
                <a:close/>
                <a:moveTo>
                  <a:pt x="1280414" y="734695"/>
                </a:moveTo>
                <a:lnTo>
                  <a:pt x="1189101" y="466725"/>
                </a:lnTo>
                <a:lnTo>
                  <a:pt x="1136269" y="559816"/>
                </a:lnTo>
                <a:lnTo>
                  <a:pt x="1227455" y="827786"/>
                </a:lnTo>
                <a:close/>
                <a:moveTo>
                  <a:pt x="1280414" y="1649857"/>
                </a:moveTo>
                <a:lnTo>
                  <a:pt x="1189101" y="1382395"/>
                </a:lnTo>
                <a:lnTo>
                  <a:pt x="1136269" y="1475359"/>
                </a:lnTo>
                <a:lnTo>
                  <a:pt x="1227455" y="1742948"/>
                </a:lnTo>
                <a:close/>
                <a:moveTo>
                  <a:pt x="1280414" y="2107057"/>
                </a:moveTo>
                <a:lnTo>
                  <a:pt x="1189101" y="1839468"/>
                </a:lnTo>
                <a:lnTo>
                  <a:pt x="1136269" y="1932559"/>
                </a:lnTo>
                <a:lnTo>
                  <a:pt x="1227455" y="2200021"/>
                </a:lnTo>
                <a:close/>
                <a:moveTo>
                  <a:pt x="9525" y="370205"/>
                </a:moveTo>
                <a:lnTo>
                  <a:pt x="80772" y="370205"/>
                </a:lnTo>
                <a:lnTo>
                  <a:pt x="80772" y="9525"/>
                </a:lnTo>
                <a:lnTo>
                  <a:pt x="9525" y="9525"/>
                </a:lnTo>
                <a:close/>
                <a:moveTo>
                  <a:pt x="291211" y="2778125"/>
                </a:moveTo>
                <a:lnTo>
                  <a:pt x="314325" y="3115818"/>
                </a:lnTo>
                <a:lnTo>
                  <a:pt x="380873" y="3092577"/>
                </a:lnTo>
                <a:lnTo>
                  <a:pt x="358140" y="2755138"/>
                </a:lnTo>
                <a:close/>
                <a:moveTo>
                  <a:pt x="150368" y="21209"/>
                </a:moveTo>
                <a:lnTo>
                  <a:pt x="161925" y="370205"/>
                </a:lnTo>
                <a:lnTo>
                  <a:pt x="230886" y="358521"/>
                </a:lnTo>
                <a:lnTo>
                  <a:pt x="219329" y="9525"/>
                </a:lnTo>
                <a:close/>
                <a:moveTo>
                  <a:pt x="150368" y="478409"/>
                </a:moveTo>
                <a:lnTo>
                  <a:pt x="161925" y="827786"/>
                </a:lnTo>
                <a:lnTo>
                  <a:pt x="230886" y="816102"/>
                </a:lnTo>
                <a:lnTo>
                  <a:pt x="219329" y="466725"/>
                </a:lnTo>
                <a:close/>
                <a:moveTo>
                  <a:pt x="291211" y="1863725"/>
                </a:moveTo>
                <a:lnTo>
                  <a:pt x="314325" y="2200529"/>
                </a:lnTo>
                <a:lnTo>
                  <a:pt x="380873" y="2177288"/>
                </a:lnTo>
                <a:lnTo>
                  <a:pt x="358140" y="1839976"/>
                </a:lnTo>
                <a:close/>
                <a:moveTo>
                  <a:pt x="1280414" y="277114"/>
                </a:moveTo>
                <a:lnTo>
                  <a:pt x="1189101" y="9525"/>
                </a:lnTo>
                <a:lnTo>
                  <a:pt x="1136269" y="102616"/>
                </a:lnTo>
                <a:lnTo>
                  <a:pt x="1227455" y="370205"/>
                </a:lnTo>
                <a:close/>
                <a:moveTo>
                  <a:pt x="291211" y="2320925"/>
                </a:moveTo>
                <a:lnTo>
                  <a:pt x="314325" y="2658237"/>
                </a:lnTo>
                <a:lnTo>
                  <a:pt x="380873" y="2634869"/>
                </a:lnTo>
                <a:lnTo>
                  <a:pt x="358140" y="2297557"/>
                </a:lnTo>
                <a:close/>
                <a:moveTo>
                  <a:pt x="150368" y="2766822"/>
                </a:moveTo>
                <a:lnTo>
                  <a:pt x="161798" y="3115818"/>
                </a:lnTo>
                <a:lnTo>
                  <a:pt x="230759" y="3104134"/>
                </a:lnTo>
                <a:lnTo>
                  <a:pt x="219329" y="2755138"/>
                </a:lnTo>
                <a:close/>
                <a:moveTo>
                  <a:pt x="150368" y="2309622"/>
                </a:moveTo>
                <a:lnTo>
                  <a:pt x="161798" y="2658745"/>
                </a:lnTo>
                <a:lnTo>
                  <a:pt x="230759" y="2647061"/>
                </a:lnTo>
                <a:lnTo>
                  <a:pt x="219329" y="2298065"/>
                </a:lnTo>
                <a:close/>
                <a:moveTo>
                  <a:pt x="150368" y="1852422"/>
                </a:moveTo>
                <a:lnTo>
                  <a:pt x="161798" y="2201418"/>
                </a:lnTo>
                <a:lnTo>
                  <a:pt x="230759" y="2189861"/>
                </a:lnTo>
                <a:lnTo>
                  <a:pt x="219329" y="1840865"/>
                </a:lnTo>
                <a:close/>
                <a:moveTo>
                  <a:pt x="150368" y="937260"/>
                </a:moveTo>
                <a:lnTo>
                  <a:pt x="161798" y="1286256"/>
                </a:lnTo>
                <a:lnTo>
                  <a:pt x="230759" y="1274572"/>
                </a:lnTo>
                <a:lnTo>
                  <a:pt x="219329" y="925576"/>
                </a:lnTo>
                <a:close/>
                <a:moveTo>
                  <a:pt x="291211" y="948944"/>
                </a:moveTo>
                <a:lnTo>
                  <a:pt x="314325" y="1285367"/>
                </a:lnTo>
                <a:lnTo>
                  <a:pt x="380873" y="1262126"/>
                </a:lnTo>
                <a:lnTo>
                  <a:pt x="357886" y="924687"/>
                </a:lnTo>
                <a:close/>
                <a:moveTo>
                  <a:pt x="150368" y="1393825"/>
                </a:moveTo>
                <a:lnTo>
                  <a:pt x="161798" y="1742821"/>
                </a:lnTo>
                <a:lnTo>
                  <a:pt x="230759" y="1731264"/>
                </a:lnTo>
                <a:lnTo>
                  <a:pt x="219329" y="1382268"/>
                </a:lnTo>
                <a:close/>
                <a:moveTo>
                  <a:pt x="1604772" y="466725"/>
                </a:moveTo>
                <a:lnTo>
                  <a:pt x="1558925" y="595122"/>
                </a:lnTo>
                <a:lnTo>
                  <a:pt x="1684401" y="827786"/>
                </a:lnTo>
                <a:lnTo>
                  <a:pt x="1730375" y="699770"/>
                </a:lnTo>
                <a:close/>
                <a:moveTo>
                  <a:pt x="1417955" y="583438"/>
                </a:moveTo>
                <a:lnTo>
                  <a:pt x="1532255" y="827786"/>
                </a:lnTo>
                <a:lnTo>
                  <a:pt x="1580515" y="711454"/>
                </a:lnTo>
                <a:lnTo>
                  <a:pt x="1466215" y="466725"/>
                </a:lnTo>
                <a:close/>
                <a:moveTo>
                  <a:pt x="1604772" y="924687"/>
                </a:moveTo>
                <a:lnTo>
                  <a:pt x="1558925" y="1052703"/>
                </a:lnTo>
                <a:lnTo>
                  <a:pt x="1684401" y="1285367"/>
                </a:lnTo>
                <a:lnTo>
                  <a:pt x="1730375" y="1157351"/>
                </a:lnTo>
                <a:close/>
                <a:moveTo>
                  <a:pt x="1379728" y="1742948"/>
                </a:moveTo>
                <a:lnTo>
                  <a:pt x="1430528" y="1638300"/>
                </a:lnTo>
                <a:lnTo>
                  <a:pt x="1327912" y="1382395"/>
                </a:lnTo>
                <a:lnTo>
                  <a:pt x="1277112" y="1487043"/>
                </a:lnTo>
                <a:close/>
                <a:moveTo>
                  <a:pt x="1277112" y="571881"/>
                </a:moveTo>
                <a:lnTo>
                  <a:pt x="1379728" y="827786"/>
                </a:lnTo>
                <a:lnTo>
                  <a:pt x="1430528" y="723011"/>
                </a:lnTo>
                <a:lnTo>
                  <a:pt x="1327658" y="466725"/>
                </a:lnTo>
                <a:close/>
                <a:moveTo>
                  <a:pt x="1604772" y="1382395"/>
                </a:moveTo>
                <a:lnTo>
                  <a:pt x="1558925" y="1510284"/>
                </a:lnTo>
                <a:lnTo>
                  <a:pt x="1684401" y="1742948"/>
                </a:lnTo>
                <a:lnTo>
                  <a:pt x="1730375" y="1615059"/>
                </a:lnTo>
                <a:close/>
                <a:moveTo>
                  <a:pt x="1379728" y="1285367"/>
                </a:moveTo>
                <a:lnTo>
                  <a:pt x="1430528" y="1180719"/>
                </a:lnTo>
                <a:lnTo>
                  <a:pt x="1327912" y="924687"/>
                </a:lnTo>
                <a:lnTo>
                  <a:pt x="1277112" y="1029462"/>
                </a:lnTo>
                <a:close/>
                <a:moveTo>
                  <a:pt x="1880108" y="231267"/>
                </a:moveTo>
                <a:lnTo>
                  <a:pt x="1743329" y="9525"/>
                </a:lnTo>
                <a:lnTo>
                  <a:pt x="1699641" y="149225"/>
                </a:lnTo>
                <a:lnTo>
                  <a:pt x="1836547" y="370205"/>
                </a:lnTo>
                <a:close/>
                <a:moveTo>
                  <a:pt x="1532001" y="1742948"/>
                </a:moveTo>
                <a:lnTo>
                  <a:pt x="1580261" y="1626616"/>
                </a:lnTo>
                <a:lnTo>
                  <a:pt x="1465961" y="1382395"/>
                </a:lnTo>
                <a:lnTo>
                  <a:pt x="1417701" y="1498727"/>
                </a:lnTo>
                <a:close/>
                <a:moveTo>
                  <a:pt x="1532001" y="2200148"/>
                </a:moveTo>
                <a:lnTo>
                  <a:pt x="1580261" y="2083816"/>
                </a:lnTo>
                <a:lnTo>
                  <a:pt x="1465961" y="1839595"/>
                </a:lnTo>
                <a:lnTo>
                  <a:pt x="1417701" y="1955927"/>
                </a:lnTo>
                <a:close/>
                <a:moveTo>
                  <a:pt x="1466215" y="924687"/>
                </a:moveTo>
                <a:lnTo>
                  <a:pt x="1417955" y="1041019"/>
                </a:lnTo>
                <a:lnTo>
                  <a:pt x="1532255" y="1285367"/>
                </a:lnTo>
                <a:lnTo>
                  <a:pt x="1580515" y="1169035"/>
                </a:lnTo>
                <a:close/>
                <a:moveTo>
                  <a:pt x="1730248" y="2072640"/>
                </a:moveTo>
                <a:lnTo>
                  <a:pt x="1604772" y="1839976"/>
                </a:lnTo>
                <a:lnTo>
                  <a:pt x="1558925" y="1967865"/>
                </a:lnTo>
                <a:lnTo>
                  <a:pt x="1684401" y="2200529"/>
                </a:lnTo>
                <a:close/>
                <a:moveTo>
                  <a:pt x="1580261" y="253873"/>
                </a:moveTo>
                <a:lnTo>
                  <a:pt x="1466215" y="9525"/>
                </a:lnTo>
                <a:lnTo>
                  <a:pt x="1417955" y="125857"/>
                </a:lnTo>
                <a:lnTo>
                  <a:pt x="1532255" y="370205"/>
                </a:lnTo>
                <a:close/>
                <a:moveTo>
                  <a:pt x="1743329" y="466725"/>
                </a:moveTo>
                <a:lnTo>
                  <a:pt x="1699641" y="606425"/>
                </a:lnTo>
                <a:lnTo>
                  <a:pt x="1836547" y="827532"/>
                </a:lnTo>
                <a:lnTo>
                  <a:pt x="1880108" y="687832"/>
                </a:lnTo>
                <a:close/>
                <a:moveTo>
                  <a:pt x="1379728" y="2200529"/>
                </a:moveTo>
                <a:lnTo>
                  <a:pt x="1430528" y="2095881"/>
                </a:lnTo>
                <a:lnTo>
                  <a:pt x="1327912" y="1839976"/>
                </a:lnTo>
                <a:lnTo>
                  <a:pt x="1277112" y="1944624"/>
                </a:lnTo>
                <a:close/>
                <a:moveTo>
                  <a:pt x="1730248" y="242189"/>
                </a:moveTo>
                <a:lnTo>
                  <a:pt x="1604772" y="9525"/>
                </a:lnTo>
                <a:lnTo>
                  <a:pt x="1558925" y="137541"/>
                </a:lnTo>
                <a:lnTo>
                  <a:pt x="1684401" y="370205"/>
                </a:lnTo>
                <a:close/>
                <a:moveTo>
                  <a:pt x="1742948" y="1382395"/>
                </a:moveTo>
                <a:lnTo>
                  <a:pt x="1699260" y="1522095"/>
                </a:lnTo>
                <a:lnTo>
                  <a:pt x="1836166" y="1743075"/>
                </a:lnTo>
                <a:lnTo>
                  <a:pt x="1879727" y="1603375"/>
                </a:lnTo>
                <a:close/>
                <a:moveTo>
                  <a:pt x="1430274" y="265430"/>
                </a:moveTo>
                <a:lnTo>
                  <a:pt x="1327658" y="9525"/>
                </a:lnTo>
                <a:lnTo>
                  <a:pt x="1276858" y="114173"/>
                </a:lnTo>
                <a:lnTo>
                  <a:pt x="1379474" y="370205"/>
                </a:lnTo>
                <a:close/>
                <a:moveTo>
                  <a:pt x="1743329" y="924687"/>
                </a:moveTo>
                <a:lnTo>
                  <a:pt x="1699641" y="1064387"/>
                </a:lnTo>
                <a:lnTo>
                  <a:pt x="1836547" y="1285367"/>
                </a:lnTo>
                <a:lnTo>
                  <a:pt x="1880108" y="1145667"/>
                </a:lnTo>
                <a:close/>
                <a:moveTo>
                  <a:pt x="1580261" y="2541905"/>
                </a:moveTo>
                <a:lnTo>
                  <a:pt x="1465961" y="2297557"/>
                </a:lnTo>
                <a:lnTo>
                  <a:pt x="1417701" y="2413889"/>
                </a:lnTo>
                <a:lnTo>
                  <a:pt x="1532001" y="2658237"/>
                </a:lnTo>
                <a:close/>
                <a:moveTo>
                  <a:pt x="1379728" y="2658237"/>
                </a:moveTo>
                <a:lnTo>
                  <a:pt x="1430528" y="2553462"/>
                </a:lnTo>
                <a:lnTo>
                  <a:pt x="1327912" y="2297557"/>
                </a:lnTo>
                <a:lnTo>
                  <a:pt x="1277112" y="2402205"/>
                </a:lnTo>
                <a:close/>
                <a:moveTo>
                  <a:pt x="1730248" y="2530221"/>
                </a:moveTo>
                <a:lnTo>
                  <a:pt x="1604772" y="2297557"/>
                </a:lnTo>
                <a:lnTo>
                  <a:pt x="1558925" y="2425573"/>
                </a:lnTo>
                <a:lnTo>
                  <a:pt x="1684401" y="2658237"/>
                </a:lnTo>
                <a:close/>
                <a:moveTo>
                  <a:pt x="1742948" y="1839976"/>
                </a:moveTo>
                <a:lnTo>
                  <a:pt x="1699260" y="1979676"/>
                </a:lnTo>
                <a:lnTo>
                  <a:pt x="1836166" y="2200656"/>
                </a:lnTo>
                <a:lnTo>
                  <a:pt x="1879727" y="2060956"/>
                </a:lnTo>
                <a:close/>
                <a:moveTo>
                  <a:pt x="1879727" y="2518537"/>
                </a:moveTo>
                <a:lnTo>
                  <a:pt x="1742948" y="2297557"/>
                </a:lnTo>
                <a:lnTo>
                  <a:pt x="1699260" y="2437257"/>
                </a:lnTo>
                <a:lnTo>
                  <a:pt x="1836166" y="2658364"/>
                </a:lnTo>
                <a:close/>
                <a:moveTo>
                  <a:pt x="291211" y="1405636"/>
                </a:moveTo>
                <a:lnTo>
                  <a:pt x="314325" y="1742948"/>
                </a:lnTo>
                <a:lnTo>
                  <a:pt x="380873" y="1719707"/>
                </a:lnTo>
                <a:lnTo>
                  <a:pt x="357886" y="1382395"/>
                </a:lnTo>
                <a:close/>
                <a:moveTo>
                  <a:pt x="995426" y="1463802"/>
                </a:moveTo>
                <a:lnTo>
                  <a:pt x="1075309" y="1743202"/>
                </a:lnTo>
                <a:lnTo>
                  <a:pt x="1130427" y="1661795"/>
                </a:lnTo>
                <a:lnTo>
                  <a:pt x="1050925" y="1382395"/>
                </a:lnTo>
                <a:close/>
                <a:moveTo>
                  <a:pt x="1136269" y="2848102"/>
                </a:moveTo>
                <a:lnTo>
                  <a:pt x="1227455" y="3115691"/>
                </a:lnTo>
                <a:lnTo>
                  <a:pt x="1280414" y="3022600"/>
                </a:lnTo>
                <a:lnTo>
                  <a:pt x="1189101" y="2755011"/>
                </a:lnTo>
                <a:close/>
                <a:moveTo>
                  <a:pt x="995426" y="1006602"/>
                </a:moveTo>
                <a:lnTo>
                  <a:pt x="1075309" y="1286002"/>
                </a:lnTo>
                <a:lnTo>
                  <a:pt x="1130427" y="1204595"/>
                </a:lnTo>
                <a:lnTo>
                  <a:pt x="1050925" y="924687"/>
                </a:lnTo>
                <a:close/>
                <a:moveTo>
                  <a:pt x="995426" y="2379345"/>
                </a:moveTo>
                <a:lnTo>
                  <a:pt x="1075309" y="2658745"/>
                </a:lnTo>
                <a:lnTo>
                  <a:pt x="1130427" y="2577211"/>
                </a:lnTo>
                <a:lnTo>
                  <a:pt x="1050544" y="2297811"/>
                </a:lnTo>
                <a:close/>
                <a:moveTo>
                  <a:pt x="995426" y="548894"/>
                </a:moveTo>
                <a:lnTo>
                  <a:pt x="1075309" y="828294"/>
                </a:lnTo>
                <a:lnTo>
                  <a:pt x="1130427" y="746125"/>
                </a:lnTo>
                <a:lnTo>
                  <a:pt x="1050925" y="466725"/>
                </a:lnTo>
                <a:close/>
                <a:moveTo>
                  <a:pt x="995426" y="91694"/>
                </a:moveTo>
                <a:lnTo>
                  <a:pt x="1075309" y="371094"/>
                </a:lnTo>
                <a:lnTo>
                  <a:pt x="1130427" y="288925"/>
                </a:lnTo>
                <a:lnTo>
                  <a:pt x="1050925" y="9525"/>
                </a:lnTo>
                <a:close/>
                <a:moveTo>
                  <a:pt x="995426" y="1922145"/>
                </a:moveTo>
                <a:lnTo>
                  <a:pt x="1075309" y="2201545"/>
                </a:lnTo>
                <a:lnTo>
                  <a:pt x="1130427" y="2120138"/>
                </a:lnTo>
                <a:lnTo>
                  <a:pt x="1050544" y="1840738"/>
                </a:lnTo>
                <a:close/>
                <a:moveTo>
                  <a:pt x="854583" y="1452118"/>
                </a:moveTo>
                <a:lnTo>
                  <a:pt x="923036" y="1742948"/>
                </a:lnTo>
                <a:lnTo>
                  <a:pt x="980440" y="1673225"/>
                </a:lnTo>
                <a:lnTo>
                  <a:pt x="911987" y="1382395"/>
                </a:lnTo>
                <a:close/>
                <a:moveTo>
                  <a:pt x="854583" y="994918"/>
                </a:moveTo>
                <a:lnTo>
                  <a:pt x="923036" y="1285748"/>
                </a:lnTo>
                <a:lnTo>
                  <a:pt x="980440" y="1216025"/>
                </a:lnTo>
                <a:lnTo>
                  <a:pt x="911987" y="925195"/>
                </a:lnTo>
                <a:close/>
                <a:moveTo>
                  <a:pt x="854583" y="79756"/>
                </a:moveTo>
                <a:lnTo>
                  <a:pt x="923036" y="370586"/>
                </a:lnTo>
                <a:lnTo>
                  <a:pt x="980440" y="300736"/>
                </a:lnTo>
                <a:lnTo>
                  <a:pt x="911987" y="9525"/>
                </a:lnTo>
                <a:close/>
                <a:moveTo>
                  <a:pt x="854583" y="536956"/>
                </a:moveTo>
                <a:lnTo>
                  <a:pt x="923036" y="827786"/>
                </a:lnTo>
                <a:lnTo>
                  <a:pt x="980440" y="757936"/>
                </a:lnTo>
                <a:lnTo>
                  <a:pt x="911987" y="466725"/>
                </a:lnTo>
                <a:close/>
                <a:moveTo>
                  <a:pt x="995426" y="2836545"/>
                </a:moveTo>
                <a:lnTo>
                  <a:pt x="1075309" y="3115945"/>
                </a:lnTo>
                <a:lnTo>
                  <a:pt x="1130427" y="3034538"/>
                </a:lnTo>
                <a:lnTo>
                  <a:pt x="1050544" y="2755138"/>
                </a:lnTo>
                <a:close/>
                <a:moveTo>
                  <a:pt x="1558925" y="2883154"/>
                </a:moveTo>
                <a:lnTo>
                  <a:pt x="1684401" y="3115818"/>
                </a:lnTo>
                <a:lnTo>
                  <a:pt x="1730375" y="2987802"/>
                </a:lnTo>
                <a:lnTo>
                  <a:pt x="1604899" y="2755138"/>
                </a:lnTo>
                <a:close/>
                <a:moveTo>
                  <a:pt x="4375785" y="1387094"/>
                </a:moveTo>
                <a:lnTo>
                  <a:pt x="4237228" y="1382395"/>
                </a:lnTo>
                <a:lnTo>
                  <a:pt x="4237228" y="1392047"/>
                </a:lnTo>
                <a:lnTo>
                  <a:pt x="4098925" y="1382395"/>
                </a:lnTo>
                <a:lnTo>
                  <a:pt x="4098925" y="1397508"/>
                </a:lnTo>
                <a:lnTo>
                  <a:pt x="3960622" y="1382395"/>
                </a:lnTo>
                <a:lnTo>
                  <a:pt x="3960622" y="1403223"/>
                </a:lnTo>
                <a:lnTo>
                  <a:pt x="3822573" y="1382395"/>
                </a:lnTo>
                <a:lnTo>
                  <a:pt x="3821811" y="1409319"/>
                </a:lnTo>
                <a:lnTo>
                  <a:pt x="3684016" y="1382395"/>
                </a:lnTo>
                <a:lnTo>
                  <a:pt x="3682746" y="1415923"/>
                </a:lnTo>
                <a:lnTo>
                  <a:pt x="3545459" y="1382395"/>
                </a:lnTo>
                <a:lnTo>
                  <a:pt x="3543554" y="1423035"/>
                </a:lnTo>
                <a:lnTo>
                  <a:pt x="3406902" y="1382395"/>
                </a:lnTo>
                <a:lnTo>
                  <a:pt x="3404108" y="1430528"/>
                </a:lnTo>
                <a:lnTo>
                  <a:pt x="3268345" y="1382395"/>
                </a:lnTo>
                <a:lnTo>
                  <a:pt x="3264535" y="1438529"/>
                </a:lnTo>
                <a:lnTo>
                  <a:pt x="3129788" y="1382395"/>
                </a:lnTo>
                <a:lnTo>
                  <a:pt x="3124581" y="1447165"/>
                </a:lnTo>
                <a:lnTo>
                  <a:pt x="2991231" y="1382395"/>
                </a:lnTo>
                <a:lnTo>
                  <a:pt x="2984373" y="1456182"/>
                </a:lnTo>
                <a:lnTo>
                  <a:pt x="2852674" y="1382395"/>
                </a:lnTo>
                <a:lnTo>
                  <a:pt x="2843657" y="1465834"/>
                </a:lnTo>
                <a:lnTo>
                  <a:pt x="2714244" y="1382395"/>
                </a:lnTo>
                <a:lnTo>
                  <a:pt x="2702560" y="1475867"/>
                </a:lnTo>
                <a:lnTo>
                  <a:pt x="2575560" y="1382395"/>
                </a:lnTo>
                <a:lnTo>
                  <a:pt x="2560701" y="1486281"/>
                </a:lnTo>
                <a:lnTo>
                  <a:pt x="2437003" y="1382395"/>
                </a:lnTo>
                <a:lnTo>
                  <a:pt x="2418334" y="1496695"/>
                </a:lnTo>
                <a:lnTo>
                  <a:pt x="2298446" y="1382395"/>
                </a:lnTo>
                <a:lnTo>
                  <a:pt x="2274316" y="1508125"/>
                </a:lnTo>
                <a:lnTo>
                  <a:pt x="2159000" y="1382649"/>
                </a:lnTo>
                <a:lnTo>
                  <a:pt x="2130425" y="1518412"/>
                </a:lnTo>
                <a:lnTo>
                  <a:pt x="2020570" y="1382395"/>
                </a:lnTo>
                <a:lnTo>
                  <a:pt x="1985518" y="1528572"/>
                </a:lnTo>
                <a:lnTo>
                  <a:pt x="1882013" y="1382395"/>
                </a:lnTo>
                <a:lnTo>
                  <a:pt x="1840484" y="1533525"/>
                </a:lnTo>
                <a:lnTo>
                  <a:pt x="1988693" y="1742948"/>
                </a:lnTo>
                <a:lnTo>
                  <a:pt x="2026793" y="1602105"/>
                </a:lnTo>
                <a:lnTo>
                  <a:pt x="2141093" y="1742948"/>
                </a:lnTo>
                <a:lnTo>
                  <a:pt x="2172589" y="1611630"/>
                </a:lnTo>
                <a:lnTo>
                  <a:pt x="2293366" y="1742948"/>
                </a:lnTo>
                <a:lnTo>
                  <a:pt x="2318766" y="1621790"/>
                </a:lnTo>
                <a:lnTo>
                  <a:pt x="2445766" y="1742948"/>
                </a:lnTo>
                <a:lnTo>
                  <a:pt x="2466213" y="1632331"/>
                </a:lnTo>
                <a:lnTo>
                  <a:pt x="2597912" y="1742948"/>
                </a:lnTo>
                <a:lnTo>
                  <a:pt x="2614295" y="1642745"/>
                </a:lnTo>
                <a:lnTo>
                  <a:pt x="2750185" y="1742948"/>
                </a:lnTo>
                <a:lnTo>
                  <a:pt x="2762885" y="1653159"/>
                </a:lnTo>
                <a:lnTo>
                  <a:pt x="2902585" y="1742948"/>
                </a:lnTo>
                <a:lnTo>
                  <a:pt x="2912491" y="1663192"/>
                </a:lnTo>
                <a:lnTo>
                  <a:pt x="3054858" y="1742948"/>
                </a:lnTo>
                <a:lnTo>
                  <a:pt x="3062478" y="1672717"/>
                </a:lnTo>
                <a:lnTo>
                  <a:pt x="3207131" y="1742948"/>
                </a:lnTo>
                <a:lnTo>
                  <a:pt x="3212846" y="1681861"/>
                </a:lnTo>
                <a:lnTo>
                  <a:pt x="3359277" y="1742948"/>
                </a:lnTo>
                <a:lnTo>
                  <a:pt x="3363595" y="1690497"/>
                </a:lnTo>
                <a:lnTo>
                  <a:pt x="3511550" y="1742948"/>
                </a:lnTo>
                <a:lnTo>
                  <a:pt x="3514725" y="1698625"/>
                </a:lnTo>
                <a:lnTo>
                  <a:pt x="3663950" y="1742948"/>
                </a:lnTo>
                <a:lnTo>
                  <a:pt x="3666109" y="1706245"/>
                </a:lnTo>
                <a:lnTo>
                  <a:pt x="3816223" y="1742948"/>
                </a:lnTo>
                <a:lnTo>
                  <a:pt x="3817620" y="1713357"/>
                </a:lnTo>
                <a:lnTo>
                  <a:pt x="3968496" y="1742948"/>
                </a:lnTo>
                <a:lnTo>
                  <a:pt x="3969258" y="1720088"/>
                </a:lnTo>
                <a:lnTo>
                  <a:pt x="4120642" y="1742948"/>
                </a:lnTo>
                <a:lnTo>
                  <a:pt x="4120642" y="1726438"/>
                </a:lnTo>
                <a:lnTo>
                  <a:pt x="4273042" y="1742948"/>
                </a:lnTo>
                <a:lnTo>
                  <a:pt x="4273042" y="1732661"/>
                </a:lnTo>
                <a:lnTo>
                  <a:pt x="4282694" y="1732661"/>
                </a:lnTo>
                <a:lnTo>
                  <a:pt x="4376166" y="1739265"/>
                </a:lnTo>
                <a:lnTo>
                  <a:pt x="4376166" y="1742694"/>
                </a:lnTo>
                <a:lnTo>
                  <a:pt x="5360289" y="1742694"/>
                </a:lnTo>
                <a:lnTo>
                  <a:pt x="5360289" y="1382395"/>
                </a:lnTo>
                <a:lnTo>
                  <a:pt x="4375785" y="1382395"/>
                </a:lnTo>
                <a:close/>
                <a:moveTo>
                  <a:pt x="4375785" y="1844294"/>
                </a:moveTo>
                <a:lnTo>
                  <a:pt x="4237228" y="1839595"/>
                </a:lnTo>
                <a:lnTo>
                  <a:pt x="4237228" y="1849247"/>
                </a:lnTo>
                <a:lnTo>
                  <a:pt x="4098798" y="1839595"/>
                </a:lnTo>
                <a:lnTo>
                  <a:pt x="4098798" y="1854708"/>
                </a:lnTo>
                <a:lnTo>
                  <a:pt x="3960495" y="1839595"/>
                </a:lnTo>
                <a:lnTo>
                  <a:pt x="3960495" y="1860423"/>
                </a:lnTo>
                <a:lnTo>
                  <a:pt x="3822446" y="1839595"/>
                </a:lnTo>
                <a:lnTo>
                  <a:pt x="3821684" y="1866646"/>
                </a:lnTo>
                <a:lnTo>
                  <a:pt x="3683889" y="1839595"/>
                </a:lnTo>
                <a:lnTo>
                  <a:pt x="3682619" y="1873123"/>
                </a:lnTo>
                <a:lnTo>
                  <a:pt x="3545332" y="1839595"/>
                </a:lnTo>
                <a:lnTo>
                  <a:pt x="3543427" y="1880235"/>
                </a:lnTo>
                <a:lnTo>
                  <a:pt x="3406775" y="1839595"/>
                </a:lnTo>
                <a:lnTo>
                  <a:pt x="3403981" y="1887728"/>
                </a:lnTo>
                <a:lnTo>
                  <a:pt x="3268218" y="1839595"/>
                </a:lnTo>
                <a:lnTo>
                  <a:pt x="3264408" y="1895729"/>
                </a:lnTo>
                <a:lnTo>
                  <a:pt x="3129661" y="1839595"/>
                </a:lnTo>
                <a:lnTo>
                  <a:pt x="3124454" y="1904365"/>
                </a:lnTo>
                <a:lnTo>
                  <a:pt x="2991104" y="1839595"/>
                </a:lnTo>
                <a:lnTo>
                  <a:pt x="2984246" y="1913382"/>
                </a:lnTo>
                <a:lnTo>
                  <a:pt x="2852547" y="1839595"/>
                </a:lnTo>
                <a:lnTo>
                  <a:pt x="2843530" y="1923034"/>
                </a:lnTo>
                <a:lnTo>
                  <a:pt x="2714117" y="1839595"/>
                </a:lnTo>
                <a:lnTo>
                  <a:pt x="2702433" y="1933067"/>
                </a:lnTo>
                <a:lnTo>
                  <a:pt x="2575433" y="1839595"/>
                </a:lnTo>
                <a:lnTo>
                  <a:pt x="2560574" y="1943481"/>
                </a:lnTo>
                <a:lnTo>
                  <a:pt x="2436876" y="1839595"/>
                </a:lnTo>
                <a:lnTo>
                  <a:pt x="2418207" y="1953895"/>
                </a:lnTo>
                <a:lnTo>
                  <a:pt x="2298319" y="1839595"/>
                </a:lnTo>
                <a:lnTo>
                  <a:pt x="2274316" y="1965325"/>
                </a:lnTo>
                <a:lnTo>
                  <a:pt x="2159000" y="1839849"/>
                </a:lnTo>
                <a:lnTo>
                  <a:pt x="2130425" y="1976120"/>
                </a:lnTo>
                <a:lnTo>
                  <a:pt x="2020570" y="1839976"/>
                </a:lnTo>
                <a:lnTo>
                  <a:pt x="1985518" y="1986153"/>
                </a:lnTo>
                <a:lnTo>
                  <a:pt x="1882013" y="1839976"/>
                </a:lnTo>
                <a:lnTo>
                  <a:pt x="1840484" y="1990725"/>
                </a:lnTo>
                <a:lnTo>
                  <a:pt x="1988693" y="2200021"/>
                </a:lnTo>
                <a:lnTo>
                  <a:pt x="2026793" y="2059178"/>
                </a:lnTo>
                <a:lnTo>
                  <a:pt x="2141093" y="2200021"/>
                </a:lnTo>
                <a:lnTo>
                  <a:pt x="2172589" y="2068703"/>
                </a:lnTo>
                <a:lnTo>
                  <a:pt x="2293366" y="2200021"/>
                </a:lnTo>
                <a:lnTo>
                  <a:pt x="2318766" y="2078863"/>
                </a:lnTo>
                <a:lnTo>
                  <a:pt x="2445766" y="2200021"/>
                </a:lnTo>
                <a:lnTo>
                  <a:pt x="2466213" y="2089404"/>
                </a:lnTo>
                <a:lnTo>
                  <a:pt x="2597912" y="2200021"/>
                </a:lnTo>
                <a:lnTo>
                  <a:pt x="2614295" y="2099945"/>
                </a:lnTo>
                <a:lnTo>
                  <a:pt x="2750185" y="2200021"/>
                </a:lnTo>
                <a:lnTo>
                  <a:pt x="2762885" y="2110232"/>
                </a:lnTo>
                <a:lnTo>
                  <a:pt x="2902585" y="2200021"/>
                </a:lnTo>
                <a:lnTo>
                  <a:pt x="2912491" y="2120265"/>
                </a:lnTo>
                <a:lnTo>
                  <a:pt x="3054858" y="2200021"/>
                </a:lnTo>
                <a:lnTo>
                  <a:pt x="3062478" y="2129790"/>
                </a:lnTo>
                <a:lnTo>
                  <a:pt x="3207131" y="2200021"/>
                </a:lnTo>
                <a:lnTo>
                  <a:pt x="3212846" y="2138934"/>
                </a:lnTo>
                <a:lnTo>
                  <a:pt x="3359277" y="2200021"/>
                </a:lnTo>
                <a:lnTo>
                  <a:pt x="3363595" y="2147570"/>
                </a:lnTo>
                <a:lnTo>
                  <a:pt x="3511550" y="2200021"/>
                </a:lnTo>
                <a:lnTo>
                  <a:pt x="3514725" y="2155825"/>
                </a:lnTo>
                <a:lnTo>
                  <a:pt x="3663950" y="2200148"/>
                </a:lnTo>
                <a:lnTo>
                  <a:pt x="3666109" y="2163445"/>
                </a:lnTo>
                <a:lnTo>
                  <a:pt x="3816223" y="2200148"/>
                </a:lnTo>
                <a:lnTo>
                  <a:pt x="3817620" y="2170557"/>
                </a:lnTo>
                <a:lnTo>
                  <a:pt x="3968496" y="2200148"/>
                </a:lnTo>
                <a:lnTo>
                  <a:pt x="3969258" y="2177288"/>
                </a:lnTo>
                <a:lnTo>
                  <a:pt x="4120642" y="2200148"/>
                </a:lnTo>
                <a:lnTo>
                  <a:pt x="4120642" y="2183638"/>
                </a:lnTo>
                <a:lnTo>
                  <a:pt x="4273042" y="2200148"/>
                </a:lnTo>
                <a:lnTo>
                  <a:pt x="4273042" y="2189861"/>
                </a:lnTo>
                <a:lnTo>
                  <a:pt x="4282694" y="2189861"/>
                </a:lnTo>
                <a:lnTo>
                  <a:pt x="4376166" y="2196338"/>
                </a:lnTo>
                <a:lnTo>
                  <a:pt x="4376166" y="2199767"/>
                </a:lnTo>
                <a:lnTo>
                  <a:pt x="5360289" y="2199767"/>
                </a:lnTo>
                <a:lnTo>
                  <a:pt x="5360289" y="1839976"/>
                </a:lnTo>
                <a:lnTo>
                  <a:pt x="4375785" y="1839976"/>
                </a:lnTo>
                <a:close/>
                <a:moveTo>
                  <a:pt x="4375785" y="929005"/>
                </a:moveTo>
                <a:lnTo>
                  <a:pt x="4237228" y="924306"/>
                </a:lnTo>
                <a:lnTo>
                  <a:pt x="4237228" y="934085"/>
                </a:lnTo>
                <a:lnTo>
                  <a:pt x="4098925" y="924687"/>
                </a:lnTo>
                <a:lnTo>
                  <a:pt x="4098925" y="939800"/>
                </a:lnTo>
                <a:lnTo>
                  <a:pt x="3960622" y="924687"/>
                </a:lnTo>
                <a:lnTo>
                  <a:pt x="3960622" y="945642"/>
                </a:lnTo>
                <a:lnTo>
                  <a:pt x="3822573" y="924687"/>
                </a:lnTo>
                <a:lnTo>
                  <a:pt x="3821811" y="951738"/>
                </a:lnTo>
                <a:lnTo>
                  <a:pt x="3684016" y="924687"/>
                </a:lnTo>
                <a:lnTo>
                  <a:pt x="3682746" y="958342"/>
                </a:lnTo>
                <a:lnTo>
                  <a:pt x="3545459" y="924687"/>
                </a:lnTo>
                <a:lnTo>
                  <a:pt x="3543554" y="965454"/>
                </a:lnTo>
                <a:lnTo>
                  <a:pt x="3406902" y="924687"/>
                </a:lnTo>
                <a:lnTo>
                  <a:pt x="3404108" y="972947"/>
                </a:lnTo>
                <a:lnTo>
                  <a:pt x="3268345" y="924687"/>
                </a:lnTo>
                <a:lnTo>
                  <a:pt x="3264535" y="980948"/>
                </a:lnTo>
                <a:lnTo>
                  <a:pt x="3129788" y="924687"/>
                </a:lnTo>
                <a:lnTo>
                  <a:pt x="3124581" y="989457"/>
                </a:lnTo>
                <a:lnTo>
                  <a:pt x="2991231" y="924687"/>
                </a:lnTo>
                <a:lnTo>
                  <a:pt x="2984373" y="998601"/>
                </a:lnTo>
                <a:lnTo>
                  <a:pt x="2852674" y="924687"/>
                </a:lnTo>
                <a:lnTo>
                  <a:pt x="2843657" y="1008126"/>
                </a:lnTo>
                <a:lnTo>
                  <a:pt x="2714244" y="924687"/>
                </a:lnTo>
                <a:lnTo>
                  <a:pt x="2701925" y="1018286"/>
                </a:lnTo>
                <a:lnTo>
                  <a:pt x="2574925" y="924687"/>
                </a:lnTo>
                <a:lnTo>
                  <a:pt x="2560066" y="1028700"/>
                </a:lnTo>
                <a:lnTo>
                  <a:pt x="2436368" y="924687"/>
                </a:lnTo>
                <a:lnTo>
                  <a:pt x="2417699" y="1038987"/>
                </a:lnTo>
                <a:lnTo>
                  <a:pt x="2297811" y="924687"/>
                </a:lnTo>
                <a:lnTo>
                  <a:pt x="2274316" y="1050925"/>
                </a:lnTo>
                <a:lnTo>
                  <a:pt x="2159000" y="925322"/>
                </a:lnTo>
                <a:lnTo>
                  <a:pt x="2130425" y="1060831"/>
                </a:lnTo>
                <a:lnTo>
                  <a:pt x="2020570" y="924687"/>
                </a:lnTo>
                <a:lnTo>
                  <a:pt x="1985518" y="1070991"/>
                </a:lnTo>
                <a:lnTo>
                  <a:pt x="1882013" y="924687"/>
                </a:lnTo>
                <a:lnTo>
                  <a:pt x="1840484" y="1076325"/>
                </a:lnTo>
                <a:lnTo>
                  <a:pt x="1988693" y="1285748"/>
                </a:lnTo>
                <a:lnTo>
                  <a:pt x="2026793" y="1144905"/>
                </a:lnTo>
                <a:lnTo>
                  <a:pt x="2141093" y="1285748"/>
                </a:lnTo>
                <a:lnTo>
                  <a:pt x="2172589" y="1154303"/>
                </a:lnTo>
                <a:lnTo>
                  <a:pt x="2293366" y="1285748"/>
                </a:lnTo>
                <a:lnTo>
                  <a:pt x="2318766" y="1164590"/>
                </a:lnTo>
                <a:lnTo>
                  <a:pt x="2445766" y="1285748"/>
                </a:lnTo>
                <a:lnTo>
                  <a:pt x="2466213" y="1175004"/>
                </a:lnTo>
                <a:lnTo>
                  <a:pt x="2597912" y="1285748"/>
                </a:lnTo>
                <a:lnTo>
                  <a:pt x="2614295" y="1185545"/>
                </a:lnTo>
                <a:lnTo>
                  <a:pt x="2750185" y="1285748"/>
                </a:lnTo>
                <a:lnTo>
                  <a:pt x="2762885" y="1195959"/>
                </a:lnTo>
                <a:lnTo>
                  <a:pt x="2902585" y="1285748"/>
                </a:lnTo>
                <a:lnTo>
                  <a:pt x="2912491" y="1205865"/>
                </a:lnTo>
                <a:lnTo>
                  <a:pt x="3054858" y="1285748"/>
                </a:lnTo>
                <a:lnTo>
                  <a:pt x="3062478" y="1215517"/>
                </a:lnTo>
                <a:lnTo>
                  <a:pt x="3207131" y="1285748"/>
                </a:lnTo>
                <a:lnTo>
                  <a:pt x="3212846" y="1224661"/>
                </a:lnTo>
                <a:lnTo>
                  <a:pt x="3359277" y="1285748"/>
                </a:lnTo>
                <a:lnTo>
                  <a:pt x="3363595" y="1233297"/>
                </a:lnTo>
                <a:lnTo>
                  <a:pt x="3511550" y="1285748"/>
                </a:lnTo>
                <a:lnTo>
                  <a:pt x="3514725" y="1241425"/>
                </a:lnTo>
                <a:lnTo>
                  <a:pt x="3663950" y="1285875"/>
                </a:lnTo>
                <a:lnTo>
                  <a:pt x="3666109" y="1249172"/>
                </a:lnTo>
                <a:lnTo>
                  <a:pt x="3816223" y="1285875"/>
                </a:lnTo>
                <a:lnTo>
                  <a:pt x="3817620" y="1256284"/>
                </a:lnTo>
                <a:lnTo>
                  <a:pt x="3968496" y="1285875"/>
                </a:lnTo>
                <a:lnTo>
                  <a:pt x="3969258" y="1263015"/>
                </a:lnTo>
                <a:lnTo>
                  <a:pt x="4120642" y="1285875"/>
                </a:lnTo>
                <a:lnTo>
                  <a:pt x="4120642" y="1269238"/>
                </a:lnTo>
                <a:lnTo>
                  <a:pt x="4273042" y="1285875"/>
                </a:lnTo>
                <a:lnTo>
                  <a:pt x="4273042" y="1275588"/>
                </a:lnTo>
                <a:lnTo>
                  <a:pt x="4282694" y="1275588"/>
                </a:lnTo>
                <a:lnTo>
                  <a:pt x="4376166" y="1282192"/>
                </a:lnTo>
                <a:lnTo>
                  <a:pt x="4376166" y="1285621"/>
                </a:lnTo>
                <a:lnTo>
                  <a:pt x="5360289" y="1285621"/>
                </a:lnTo>
                <a:lnTo>
                  <a:pt x="5360289" y="924687"/>
                </a:lnTo>
                <a:lnTo>
                  <a:pt x="4375785" y="924687"/>
                </a:lnTo>
                <a:close/>
                <a:moveTo>
                  <a:pt x="1276985" y="2859405"/>
                </a:moveTo>
                <a:lnTo>
                  <a:pt x="1379601" y="3115310"/>
                </a:lnTo>
                <a:lnTo>
                  <a:pt x="1430401" y="3010535"/>
                </a:lnTo>
                <a:lnTo>
                  <a:pt x="1327785" y="2754630"/>
                </a:lnTo>
                <a:close/>
                <a:moveTo>
                  <a:pt x="4375785" y="471805"/>
                </a:moveTo>
                <a:lnTo>
                  <a:pt x="4237228" y="466725"/>
                </a:lnTo>
                <a:lnTo>
                  <a:pt x="4237228" y="476504"/>
                </a:lnTo>
                <a:lnTo>
                  <a:pt x="4098925" y="466725"/>
                </a:lnTo>
                <a:lnTo>
                  <a:pt x="4098925" y="481838"/>
                </a:lnTo>
                <a:lnTo>
                  <a:pt x="3960114" y="466725"/>
                </a:lnTo>
                <a:lnTo>
                  <a:pt x="3960114" y="487680"/>
                </a:lnTo>
                <a:lnTo>
                  <a:pt x="3821557" y="466725"/>
                </a:lnTo>
                <a:lnTo>
                  <a:pt x="3820795" y="493776"/>
                </a:lnTo>
                <a:lnTo>
                  <a:pt x="3683000" y="466725"/>
                </a:lnTo>
                <a:lnTo>
                  <a:pt x="3681730" y="500380"/>
                </a:lnTo>
                <a:lnTo>
                  <a:pt x="3544443" y="466725"/>
                </a:lnTo>
                <a:lnTo>
                  <a:pt x="3542538" y="507365"/>
                </a:lnTo>
                <a:lnTo>
                  <a:pt x="3405886" y="466725"/>
                </a:lnTo>
                <a:lnTo>
                  <a:pt x="3403092" y="514985"/>
                </a:lnTo>
                <a:lnTo>
                  <a:pt x="3267329" y="466725"/>
                </a:lnTo>
                <a:lnTo>
                  <a:pt x="3263519" y="522986"/>
                </a:lnTo>
                <a:lnTo>
                  <a:pt x="3128772" y="466725"/>
                </a:lnTo>
                <a:lnTo>
                  <a:pt x="3123565" y="531495"/>
                </a:lnTo>
                <a:lnTo>
                  <a:pt x="2990215" y="466725"/>
                </a:lnTo>
                <a:lnTo>
                  <a:pt x="2983357" y="540639"/>
                </a:lnTo>
                <a:lnTo>
                  <a:pt x="2851658" y="466725"/>
                </a:lnTo>
                <a:lnTo>
                  <a:pt x="2842641" y="550164"/>
                </a:lnTo>
                <a:lnTo>
                  <a:pt x="2713228" y="466725"/>
                </a:lnTo>
                <a:lnTo>
                  <a:pt x="2701925" y="560578"/>
                </a:lnTo>
                <a:lnTo>
                  <a:pt x="2574925" y="466725"/>
                </a:lnTo>
                <a:lnTo>
                  <a:pt x="2560066" y="570738"/>
                </a:lnTo>
                <a:lnTo>
                  <a:pt x="2436114" y="466725"/>
                </a:lnTo>
                <a:lnTo>
                  <a:pt x="2417445" y="581025"/>
                </a:lnTo>
                <a:lnTo>
                  <a:pt x="2297557" y="466725"/>
                </a:lnTo>
                <a:lnTo>
                  <a:pt x="2274316" y="592201"/>
                </a:lnTo>
                <a:lnTo>
                  <a:pt x="2159000" y="466725"/>
                </a:lnTo>
                <a:lnTo>
                  <a:pt x="2130425" y="603250"/>
                </a:lnTo>
                <a:lnTo>
                  <a:pt x="2020443" y="466725"/>
                </a:lnTo>
                <a:lnTo>
                  <a:pt x="1985391" y="612902"/>
                </a:lnTo>
                <a:lnTo>
                  <a:pt x="1881886" y="466725"/>
                </a:lnTo>
                <a:lnTo>
                  <a:pt x="1840484" y="617982"/>
                </a:lnTo>
                <a:lnTo>
                  <a:pt x="1988693" y="827405"/>
                </a:lnTo>
                <a:lnTo>
                  <a:pt x="2026793" y="686435"/>
                </a:lnTo>
                <a:lnTo>
                  <a:pt x="2141093" y="827405"/>
                </a:lnTo>
                <a:lnTo>
                  <a:pt x="2172589" y="695960"/>
                </a:lnTo>
                <a:lnTo>
                  <a:pt x="2293366" y="827405"/>
                </a:lnTo>
                <a:lnTo>
                  <a:pt x="2318766" y="706120"/>
                </a:lnTo>
                <a:lnTo>
                  <a:pt x="2445766" y="827405"/>
                </a:lnTo>
                <a:lnTo>
                  <a:pt x="2466213" y="716661"/>
                </a:lnTo>
                <a:lnTo>
                  <a:pt x="2597912" y="827405"/>
                </a:lnTo>
                <a:lnTo>
                  <a:pt x="2614295" y="727202"/>
                </a:lnTo>
                <a:lnTo>
                  <a:pt x="2750185" y="827405"/>
                </a:lnTo>
                <a:lnTo>
                  <a:pt x="2762885" y="737489"/>
                </a:lnTo>
                <a:lnTo>
                  <a:pt x="2902585" y="827405"/>
                </a:lnTo>
                <a:lnTo>
                  <a:pt x="2912491" y="747522"/>
                </a:lnTo>
                <a:lnTo>
                  <a:pt x="3054858" y="827405"/>
                </a:lnTo>
                <a:lnTo>
                  <a:pt x="3062478" y="757174"/>
                </a:lnTo>
                <a:lnTo>
                  <a:pt x="3207131" y="827405"/>
                </a:lnTo>
                <a:lnTo>
                  <a:pt x="3212846" y="766191"/>
                </a:lnTo>
                <a:lnTo>
                  <a:pt x="3359277" y="827405"/>
                </a:lnTo>
                <a:lnTo>
                  <a:pt x="3363595" y="774827"/>
                </a:lnTo>
                <a:lnTo>
                  <a:pt x="3511550" y="827405"/>
                </a:lnTo>
                <a:lnTo>
                  <a:pt x="3514598" y="782955"/>
                </a:lnTo>
                <a:lnTo>
                  <a:pt x="3663823" y="827405"/>
                </a:lnTo>
                <a:lnTo>
                  <a:pt x="3665982" y="790575"/>
                </a:lnTo>
                <a:lnTo>
                  <a:pt x="3816096" y="827405"/>
                </a:lnTo>
                <a:lnTo>
                  <a:pt x="3817493" y="797814"/>
                </a:lnTo>
                <a:lnTo>
                  <a:pt x="3968369" y="827405"/>
                </a:lnTo>
                <a:lnTo>
                  <a:pt x="3969131" y="804545"/>
                </a:lnTo>
                <a:lnTo>
                  <a:pt x="4120515" y="827405"/>
                </a:lnTo>
                <a:lnTo>
                  <a:pt x="4120515" y="810768"/>
                </a:lnTo>
                <a:lnTo>
                  <a:pt x="4272915" y="827405"/>
                </a:lnTo>
                <a:lnTo>
                  <a:pt x="4272915" y="816991"/>
                </a:lnTo>
                <a:lnTo>
                  <a:pt x="4282440" y="816991"/>
                </a:lnTo>
                <a:lnTo>
                  <a:pt x="4376039" y="823595"/>
                </a:lnTo>
                <a:lnTo>
                  <a:pt x="4376039" y="827024"/>
                </a:lnTo>
                <a:lnTo>
                  <a:pt x="5360162" y="827024"/>
                </a:lnTo>
                <a:lnTo>
                  <a:pt x="5360162" y="466725"/>
                </a:lnTo>
                <a:lnTo>
                  <a:pt x="4375785" y="466725"/>
                </a:lnTo>
                <a:close/>
                <a:moveTo>
                  <a:pt x="4375785" y="9525"/>
                </a:moveTo>
                <a:lnTo>
                  <a:pt x="4375785" y="14224"/>
                </a:lnTo>
                <a:lnTo>
                  <a:pt x="4237228" y="9525"/>
                </a:lnTo>
                <a:lnTo>
                  <a:pt x="4237228" y="19304"/>
                </a:lnTo>
                <a:lnTo>
                  <a:pt x="4098925" y="9525"/>
                </a:lnTo>
                <a:lnTo>
                  <a:pt x="4098925" y="24638"/>
                </a:lnTo>
                <a:lnTo>
                  <a:pt x="3960114" y="9525"/>
                </a:lnTo>
                <a:lnTo>
                  <a:pt x="3960114" y="30353"/>
                </a:lnTo>
                <a:lnTo>
                  <a:pt x="3821557" y="9525"/>
                </a:lnTo>
                <a:lnTo>
                  <a:pt x="3820795" y="36576"/>
                </a:lnTo>
                <a:lnTo>
                  <a:pt x="3683000" y="9525"/>
                </a:lnTo>
                <a:lnTo>
                  <a:pt x="3681730" y="43180"/>
                </a:lnTo>
                <a:lnTo>
                  <a:pt x="3544443" y="9525"/>
                </a:lnTo>
                <a:lnTo>
                  <a:pt x="3542538" y="50165"/>
                </a:lnTo>
                <a:lnTo>
                  <a:pt x="3405886" y="9525"/>
                </a:lnTo>
                <a:lnTo>
                  <a:pt x="3403092" y="57658"/>
                </a:lnTo>
                <a:lnTo>
                  <a:pt x="3267329" y="9525"/>
                </a:lnTo>
                <a:lnTo>
                  <a:pt x="3263519" y="65786"/>
                </a:lnTo>
                <a:lnTo>
                  <a:pt x="3128772" y="9525"/>
                </a:lnTo>
                <a:lnTo>
                  <a:pt x="3123565" y="74295"/>
                </a:lnTo>
                <a:lnTo>
                  <a:pt x="2990215" y="9525"/>
                </a:lnTo>
                <a:lnTo>
                  <a:pt x="2983357" y="83439"/>
                </a:lnTo>
                <a:lnTo>
                  <a:pt x="2851658" y="9525"/>
                </a:lnTo>
                <a:lnTo>
                  <a:pt x="2842641" y="92964"/>
                </a:lnTo>
                <a:lnTo>
                  <a:pt x="2713228" y="9525"/>
                </a:lnTo>
                <a:lnTo>
                  <a:pt x="2701925" y="102997"/>
                </a:lnTo>
                <a:lnTo>
                  <a:pt x="2574925" y="9525"/>
                </a:lnTo>
                <a:lnTo>
                  <a:pt x="2560066" y="113538"/>
                </a:lnTo>
                <a:lnTo>
                  <a:pt x="2436114" y="9525"/>
                </a:lnTo>
                <a:lnTo>
                  <a:pt x="2417445" y="123825"/>
                </a:lnTo>
                <a:lnTo>
                  <a:pt x="2297557" y="9525"/>
                </a:lnTo>
                <a:lnTo>
                  <a:pt x="2274316" y="135001"/>
                </a:lnTo>
                <a:lnTo>
                  <a:pt x="2159000" y="9525"/>
                </a:lnTo>
                <a:lnTo>
                  <a:pt x="2130425" y="145669"/>
                </a:lnTo>
                <a:lnTo>
                  <a:pt x="2020443" y="9525"/>
                </a:lnTo>
                <a:lnTo>
                  <a:pt x="1985391" y="155702"/>
                </a:lnTo>
                <a:lnTo>
                  <a:pt x="1881886" y="9525"/>
                </a:lnTo>
                <a:lnTo>
                  <a:pt x="1840484" y="160782"/>
                </a:lnTo>
                <a:lnTo>
                  <a:pt x="1988693" y="370205"/>
                </a:lnTo>
                <a:lnTo>
                  <a:pt x="2026793" y="229235"/>
                </a:lnTo>
                <a:lnTo>
                  <a:pt x="2141093" y="370205"/>
                </a:lnTo>
                <a:lnTo>
                  <a:pt x="2172589" y="238760"/>
                </a:lnTo>
                <a:lnTo>
                  <a:pt x="2293366" y="370205"/>
                </a:lnTo>
                <a:lnTo>
                  <a:pt x="2318766" y="248920"/>
                </a:lnTo>
                <a:lnTo>
                  <a:pt x="2445766" y="370205"/>
                </a:lnTo>
                <a:lnTo>
                  <a:pt x="2466213" y="259461"/>
                </a:lnTo>
                <a:lnTo>
                  <a:pt x="2597912" y="370205"/>
                </a:lnTo>
                <a:lnTo>
                  <a:pt x="2614295" y="270002"/>
                </a:lnTo>
                <a:lnTo>
                  <a:pt x="2750185" y="370205"/>
                </a:lnTo>
                <a:lnTo>
                  <a:pt x="2762885" y="280289"/>
                </a:lnTo>
                <a:lnTo>
                  <a:pt x="2902585" y="370205"/>
                </a:lnTo>
                <a:lnTo>
                  <a:pt x="2912491" y="290322"/>
                </a:lnTo>
                <a:lnTo>
                  <a:pt x="3054858" y="370205"/>
                </a:lnTo>
                <a:lnTo>
                  <a:pt x="3062478" y="299847"/>
                </a:lnTo>
                <a:lnTo>
                  <a:pt x="3207131" y="370205"/>
                </a:lnTo>
                <a:lnTo>
                  <a:pt x="3212846" y="308991"/>
                </a:lnTo>
                <a:lnTo>
                  <a:pt x="3359277" y="370205"/>
                </a:lnTo>
                <a:lnTo>
                  <a:pt x="3363595" y="317627"/>
                </a:lnTo>
                <a:lnTo>
                  <a:pt x="3511550" y="370205"/>
                </a:lnTo>
                <a:lnTo>
                  <a:pt x="3514598" y="325755"/>
                </a:lnTo>
                <a:lnTo>
                  <a:pt x="3663823" y="370205"/>
                </a:lnTo>
                <a:lnTo>
                  <a:pt x="3665982" y="333375"/>
                </a:lnTo>
                <a:lnTo>
                  <a:pt x="3816096" y="370205"/>
                </a:lnTo>
                <a:lnTo>
                  <a:pt x="3817493" y="340614"/>
                </a:lnTo>
                <a:lnTo>
                  <a:pt x="3968369" y="370205"/>
                </a:lnTo>
                <a:lnTo>
                  <a:pt x="3969131" y="347345"/>
                </a:lnTo>
                <a:lnTo>
                  <a:pt x="4120515" y="370205"/>
                </a:lnTo>
                <a:lnTo>
                  <a:pt x="4120515" y="353568"/>
                </a:lnTo>
                <a:lnTo>
                  <a:pt x="4272915" y="370205"/>
                </a:lnTo>
                <a:lnTo>
                  <a:pt x="4272915" y="359791"/>
                </a:lnTo>
                <a:lnTo>
                  <a:pt x="4282567" y="359791"/>
                </a:lnTo>
                <a:lnTo>
                  <a:pt x="4376039" y="366395"/>
                </a:lnTo>
                <a:lnTo>
                  <a:pt x="4376039" y="369824"/>
                </a:lnTo>
                <a:lnTo>
                  <a:pt x="5360162" y="369824"/>
                </a:lnTo>
                <a:lnTo>
                  <a:pt x="5360162" y="9525"/>
                </a:lnTo>
                <a:close/>
                <a:moveTo>
                  <a:pt x="854583" y="1909699"/>
                </a:moveTo>
                <a:lnTo>
                  <a:pt x="923036" y="2200529"/>
                </a:lnTo>
                <a:lnTo>
                  <a:pt x="980440" y="2130425"/>
                </a:lnTo>
                <a:lnTo>
                  <a:pt x="911987" y="1839595"/>
                </a:lnTo>
                <a:close/>
                <a:moveTo>
                  <a:pt x="291211" y="490347"/>
                </a:moveTo>
                <a:lnTo>
                  <a:pt x="314325" y="827786"/>
                </a:lnTo>
                <a:lnTo>
                  <a:pt x="380873" y="804545"/>
                </a:lnTo>
                <a:lnTo>
                  <a:pt x="357886" y="466725"/>
                </a:lnTo>
                <a:close/>
                <a:moveTo>
                  <a:pt x="4375785" y="2302256"/>
                </a:moveTo>
                <a:lnTo>
                  <a:pt x="4237228" y="2297557"/>
                </a:lnTo>
                <a:lnTo>
                  <a:pt x="4237228" y="2307336"/>
                </a:lnTo>
                <a:lnTo>
                  <a:pt x="4098798" y="2297557"/>
                </a:lnTo>
                <a:lnTo>
                  <a:pt x="4098798" y="2312670"/>
                </a:lnTo>
                <a:lnTo>
                  <a:pt x="3960495" y="2297557"/>
                </a:lnTo>
                <a:lnTo>
                  <a:pt x="3960495" y="2318385"/>
                </a:lnTo>
                <a:lnTo>
                  <a:pt x="3822446" y="2297557"/>
                </a:lnTo>
                <a:lnTo>
                  <a:pt x="3821684" y="2324608"/>
                </a:lnTo>
                <a:lnTo>
                  <a:pt x="3683889" y="2297557"/>
                </a:lnTo>
                <a:lnTo>
                  <a:pt x="3682619" y="2331212"/>
                </a:lnTo>
                <a:lnTo>
                  <a:pt x="3545332" y="2297557"/>
                </a:lnTo>
                <a:lnTo>
                  <a:pt x="3543427" y="2338197"/>
                </a:lnTo>
                <a:lnTo>
                  <a:pt x="3406775" y="2297557"/>
                </a:lnTo>
                <a:lnTo>
                  <a:pt x="3403981" y="2345690"/>
                </a:lnTo>
                <a:lnTo>
                  <a:pt x="3268218" y="2297557"/>
                </a:lnTo>
                <a:lnTo>
                  <a:pt x="3264408" y="2353818"/>
                </a:lnTo>
                <a:lnTo>
                  <a:pt x="3129661" y="2297557"/>
                </a:lnTo>
                <a:lnTo>
                  <a:pt x="3124454" y="2362327"/>
                </a:lnTo>
                <a:lnTo>
                  <a:pt x="2991104" y="2297557"/>
                </a:lnTo>
                <a:lnTo>
                  <a:pt x="2984246" y="2371344"/>
                </a:lnTo>
                <a:lnTo>
                  <a:pt x="2852547" y="2297557"/>
                </a:lnTo>
                <a:lnTo>
                  <a:pt x="2843530" y="2380996"/>
                </a:lnTo>
                <a:lnTo>
                  <a:pt x="2714117" y="2297557"/>
                </a:lnTo>
                <a:lnTo>
                  <a:pt x="2702433" y="2391029"/>
                </a:lnTo>
                <a:lnTo>
                  <a:pt x="2575433" y="2297557"/>
                </a:lnTo>
                <a:lnTo>
                  <a:pt x="2560574" y="2401443"/>
                </a:lnTo>
                <a:lnTo>
                  <a:pt x="2436876" y="2297557"/>
                </a:lnTo>
                <a:lnTo>
                  <a:pt x="2418207" y="2411857"/>
                </a:lnTo>
                <a:lnTo>
                  <a:pt x="2298319" y="2297557"/>
                </a:lnTo>
                <a:lnTo>
                  <a:pt x="2274316" y="2422525"/>
                </a:lnTo>
                <a:lnTo>
                  <a:pt x="2159000" y="2297049"/>
                </a:lnTo>
                <a:lnTo>
                  <a:pt x="2130425" y="2433701"/>
                </a:lnTo>
                <a:lnTo>
                  <a:pt x="2020570" y="2297557"/>
                </a:lnTo>
                <a:lnTo>
                  <a:pt x="1985518" y="2443734"/>
                </a:lnTo>
                <a:lnTo>
                  <a:pt x="1882013" y="2297557"/>
                </a:lnTo>
                <a:lnTo>
                  <a:pt x="1840611" y="2448814"/>
                </a:lnTo>
                <a:lnTo>
                  <a:pt x="1988820" y="2658237"/>
                </a:lnTo>
                <a:lnTo>
                  <a:pt x="2026920" y="2517267"/>
                </a:lnTo>
                <a:lnTo>
                  <a:pt x="2141220" y="2658237"/>
                </a:lnTo>
                <a:lnTo>
                  <a:pt x="2172716" y="2526792"/>
                </a:lnTo>
                <a:lnTo>
                  <a:pt x="2293493" y="2658237"/>
                </a:lnTo>
                <a:lnTo>
                  <a:pt x="2318893" y="2536952"/>
                </a:lnTo>
                <a:lnTo>
                  <a:pt x="2445893" y="2658237"/>
                </a:lnTo>
                <a:lnTo>
                  <a:pt x="2466340" y="2547493"/>
                </a:lnTo>
                <a:lnTo>
                  <a:pt x="2598039" y="2658237"/>
                </a:lnTo>
                <a:lnTo>
                  <a:pt x="2614422" y="2558034"/>
                </a:lnTo>
                <a:lnTo>
                  <a:pt x="2750312" y="2658237"/>
                </a:lnTo>
                <a:lnTo>
                  <a:pt x="2763012" y="2568321"/>
                </a:lnTo>
                <a:lnTo>
                  <a:pt x="2902712" y="2658237"/>
                </a:lnTo>
                <a:lnTo>
                  <a:pt x="2912618" y="2578354"/>
                </a:lnTo>
                <a:lnTo>
                  <a:pt x="3054985" y="2658237"/>
                </a:lnTo>
                <a:lnTo>
                  <a:pt x="3062605" y="2587879"/>
                </a:lnTo>
                <a:lnTo>
                  <a:pt x="3207258" y="2658237"/>
                </a:lnTo>
                <a:lnTo>
                  <a:pt x="3212973" y="2597023"/>
                </a:lnTo>
                <a:lnTo>
                  <a:pt x="3359404" y="2658237"/>
                </a:lnTo>
                <a:lnTo>
                  <a:pt x="3363722" y="2605659"/>
                </a:lnTo>
                <a:lnTo>
                  <a:pt x="3511677" y="2658237"/>
                </a:lnTo>
                <a:lnTo>
                  <a:pt x="3514725" y="2613787"/>
                </a:lnTo>
                <a:lnTo>
                  <a:pt x="3663950" y="2658237"/>
                </a:lnTo>
                <a:lnTo>
                  <a:pt x="3666109" y="2621407"/>
                </a:lnTo>
                <a:lnTo>
                  <a:pt x="3816223" y="2658237"/>
                </a:lnTo>
                <a:lnTo>
                  <a:pt x="3817620" y="2628646"/>
                </a:lnTo>
                <a:lnTo>
                  <a:pt x="3968496" y="2658237"/>
                </a:lnTo>
                <a:lnTo>
                  <a:pt x="3969258" y="2635250"/>
                </a:lnTo>
                <a:lnTo>
                  <a:pt x="4120642" y="2658237"/>
                </a:lnTo>
                <a:lnTo>
                  <a:pt x="4120642" y="2641600"/>
                </a:lnTo>
                <a:lnTo>
                  <a:pt x="4273042" y="2658237"/>
                </a:lnTo>
                <a:lnTo>
                  <a:pt x="4273042" y="2647823"/>
                </a:lnTo>
                <a:lnTo>
                  <a:pt x="4282694" y="2647823"/>
                </a:lnTo>
                <a:lnTo>
                  <a:pt x="4376166" y="2654427"/>
                </a:lnTo>
                <a:lnTo>
                  <a:pt x="4376166" y="2657856"/>
                </a:lnTo>
                <a:lnTo>
                  <a:pt x="5360289" y="2657856"/>
                </a:lnTo>
                <a:lnTo>
                  <a:pt x="5360289" y="2297176"/>
                </a:lnTo>
                <a:lnTo>
                  <a:pt x="4375785" y="2297176"/>
                </a:lnTo>
                <a:close/>
                <a:moveTo>
                  <a:pt x="1699641" y="2894711"/>
                </a:moveTo>
                <a:lnTo>
                  <a:pt x="1836547" y="3115818"/>
                </a:lnTo>
                <a:lnTo>
                  <a:pt x="1880108" y="2976118"/>
                </a:lnTo>
                <a:lnTo>
                  <a:pt x="1743329" y="2755011"/>
                </a:lnTo>
                <a:close/>
                <a:moveTo>
                  <a:pt x="4375785" y="2759837"/>
                </a:moveTo>
                <a:lnTo>
                  <a:pt x="4237228" y="2755138"/>
                </a:lnTo>
                <a:lnTo>
                  <a:pt x="4237228" y="2765425"/>
                </a:lnTo>
                <a:lnTo>
                  <a:pt x="4098798" y="2755646"/>
                </a:lnTo>
                <a:lnTo>
                  <a:pt x="4098798" y="2770759"/>
                </a:lnTo>
                <a:lnTo>
                  <a:pt x="3960495" y="2755646"/>
                </a:lnTo>
                <a:lnTo>
                  <a:pt x="3960495" y="2776474"/>
                </a:lnTo>
                <a:lnTo>
                  <a:pt x="3822446" y="2755646"/>
                </a:lnTo>
                <a:lnTo>
                  <a:pt x="3821684" y="2782697"/>
                </a:lnTo>
                <a:lnTo>
                  <a:pt x="3683889" y="2755646"/>
                </a:lnTo>
                <a:lnTo>
                  <a:pt x="3682619" y="2789301"/>
                </a:lnTo>
                <a:lnTo>
                  <a:pt x="3545332" y="2755646"/>
                </a:lnTo>
                <a:lnTo>
                  <a:pt x="3543427" y="2796286"/>
                </a:lnTo>
                <a:lnTo>
                  <a:pt x="3406775" y="2755646"/>
                </a:lnTo>
                <a:lnTo>
                  <a:pt x="3403981" y="2803779"/>
                </a:lnTo>
                <a:lnTo>
                  <a:pt x="3268218" y="2755646"/>
                </a:lnTo>
                <a:lnTo>
                  <a:pt x="3264408" y="2811907"/>
                </a:lnTo>
                <a:lnTo>
                  <a:pt x="3129661" y="2755646"/>
                </a:lnTo>
                <a:lnTo>
                  <a:pt x="3124454" y="2820416"/>
                </a:lnTo>
                <a:lnTo>
                  <a:pt x="2991104" y="2755646"/>
                </a:lnTo>
                <a:lnTo>
                  <a:pt x="2984246" y="2829560"/>
                </a:lnTo>
                <a:lnTo>
                  <a:pt x="2852547" y="2755646"/>
                </a:lnTo>
                <a:lnTo>
                  <a:pt x="2843530" y="2839085"/>
                </a:lnTo>
                <a:lnTo>
                  <a:pt x="2714117" y="2755646"/>
                </a:lnTo>
                <a:lnTo>
                  <a:pt x="2702433" y="2849118"/>
                </a:lnTo>
                <a:lnTo>
                  <a:pt x="2575433" y="2755646"/>
                </a:lnTo>
                <a:lnTo>
                  <a:pt x="2560574" y="2859659"/>
                </a:lnTo>
                <a:lnTo>
                  <a:pt x="2436876" y="2755646"/>
                </a:lnTo>
                <a:lnTo>
                  <a:pt x="2418207" y="2869946"/>
                </a:lnTo>
                <a:lnTo>
                  <a:pt x="2298319" y="2755646"/>
                </a:lnTo>
                <a:lnTo>
                  <a:pt x="2275078" y="2881122"/>
                </a:lnTo>
                <a:lnTo>
                  <a:pt x="2159762" y="2755646"/>
                </a:lnTo>
                <a:lnTo>
                  <a:pt x="2130425" y="2891282"/>
                </a:lnTo>
                <a:lnTo>
                  <a:pt x="2020570" y="2755138"/>
                </a:lnTo>
                <a:lnTo>
                  <a:pt x="1985518" y="2901315"/>
                </a:lnTo>
                <a:lnTo>
                  <a:pt x="1882013" y="2755138"/>
                </a:lnTo>
                <a:lnTo>
                  <a:pt x="1840611" y="2906395"/>
                </a:lnTo>
                <a:lnTo>
                  <a:pt x="1988820" y="3115818"/>
                </a:lnTo>
                <a:lnTo>
                  <a:pt x="2026920" y="2974848"/>
                </a:lnTo>
                <a:lnTo>
                  <a:pt x="2141220" y="3115818"/>
                </a:lnTo>
                <a:lnTo>
                  <a:pt x="2172716" y="2984373"/>
                </a:lnTo>
                <a:lnTo>
                  <a:pt x="2293493" y="3115818"/>
                </a:lnTo>
                <a:lnTo>
                  <a:pt x="2318893" y="2994533"/>
                </a:lnTo>
                <a:lnTo>
                  <a:pt x="2445893" y="3115818"/>
                </a:lnTo>
                <a:lnTo>
                  <a:pt x="2466340" y="3005074"/>
                </a:lnTo>
                <a:lnTo>
                  <a:pt x="2598039" y="3115818"/>
                </a:lnTo>
                <a:lnTo>
                  <a:pt x="2614422" y="3015615"/>
                </a:lnTo>
                <a:lnTo>
                  <a:pt x="2750312" y="3115818"/>
                </a:lnTo>
                <a:lnTo>
                  <a:pt x="2763012" y="3025902"/>
                </a:lnTo>
                <a:lnTo>
                  <a:pt x="2902712" y="3115818"/>
                </a:lnTo>
                <a:lnTo>
                  <a:pt x="2912618" y="3035935"/>
                </a:lnTo>
                <a:lnTo>
                  <a:pt x="3054985" y="3115818"/>
                </a:lnTo>
                <a:lnTo>
                  <a:pt x="3062605" y="3045460"/>
                </a:lnTo>
                <a:lnTo>
                  <a:pt x="3207258" y="3115818"/>
                </a:lnTo>
                <a:lnTo>
                  <a:pt x="3212973" y="3054604"/>
                </a:lnTo>
                <a:lnTo>
                  <a:pt x="3359404" y="3115818"/>
                </a:lnTo>
                <a:lnTo>
                  <a:pt x="3363722" y="3063240"/>
                </a:lnTo>
                <a:lnTo>
                  <a:pt x="3511677" y="3115818"/>
                </a:lnTo>
                <a:lnTo>
                  <a:pt x="3514725" y="3071368"/>
                </a:lnTo>
                <a:lnTo>
                  <a:pt x="3663950" y="3115818"/>
                </a:lnTo>
                <a:lnTo>
                  <a:pt x="3666109" y="3078988"/>
                </a:lnTo>
                <a:lnTo>
                  <a:pt x="3816223" y="3115818"/>
                </a:lnTo>
                <a:lnTo>
                  <a:pt x="3817620" y="3086227"/>
                </a:lnTo>
                <a:lnTo>
                  <a:pt x="3968496" y="3115818"/>
                </a:lnTo>
                <a:lnTo>
                  <a:pt x="3969258" y="3092958"/>
                </a:lnTo>
                <a:lnTo>
                  <a:pt x="4120642" y="3115818"/>
                </a:lnTo>
                <a:lnTo>
                  <a:pt x="4120642" y="3099181"/>
                </a:lnTo>
                <a:lnTo>
                  <a:pt x="4273042" y="3115818"/>
                </a:lnTo>
                <a:lnTo>
                  <a:pt x="4273042" y="3105404"/>
                </a:lnTo>
                <a:lnTo>
                  <a:pt x="4282694" y="3105404"/>
                </a:lnTo>
                <a:lnTo>
                  <a:pt x="4376166" y="3112008"/>
                </a:lnTo>
                <a:lnTo>
                  <a:pt x="4376166" y="3115437"/>
                </a:lnTo>
                <a:lnTo>
                  <a:pt x="5360289" y="3115437"/>
                </a:lnTo>
                <a:lnTo>
                  <a:pt x="5360289" y="2754757"/>
                </a:lnTo>
                <a:lnTo>
                  <a:pt x="4375785" y="2754757"/>
                </a:lnTo>
                <a:close/>
                <a:moveTo>
                  <a:pt x="1417955" y="2871470"/>
                </a:moveTo>
                <a:lnTo>
                  <a:pt x="1532255" y="3115818"/>
                </a:lnTo>
                <a:lnTo>
                  <a:pt x="1580515" y="2999486"/>
                </a:lnTo>
                <a:lnTo>
                  <a:pt x="1466215" y="2755138"/>
                </a:lnTo>
                <a:close/>
                <a:moveTo>
                  <a:pt x="572897" y="2801620"/>
                </a:moveTo>
                <a:lnTo>
                  <a:pt x="619125" y="3115818"/>
                </a:lnTo>
                <a:lnTo>
                  <a:pt x="681228" y="3069209"/>
                </a:lnTo>
                <a:lnTo>
                  <a:pt x="635635" y="2755138"/>
                </a:lnTo>
                <a:close/>
                <a:moveTo>
                  <a:pt x="432054" y="44450"/>
                </a:moveTo>
                <a:lnTo>
                  <a:pt x="466725" y="370205"/>
                </a:lnTo>
                <a:lnTo>
                  <a:pt x="530225" y="335280"/>
                </a:lnTo>
                <a:lnTo>
                  <a:pt x="496443" y="9525"/>
                </a:lnTo>
                <a:close/>
                <a:moveTo>
                  <a:pt x="432054" y="501650"/>
                </a:moveTo>
                <a:lnTo>
                  <a:pt x="466725" y="827786"/>
                </a:lnTo>
                <a:lnTo>
                  <a:pt x="530225" y="792861"/>
                </a:lnTo>
                <a:lnTo>
                  <a:pt x="496443" y="466725"/>
                </a:lnTo>
                <a:close/>
                <a:moveTo>
                  <a:pt x="572897" y="1428750"/>
                </a:moveTo>
                <a:lnTo>
                  <a:pt x="619125" y="1742948"/>
                </a:lnTo>
                <a:lnTo>
                  <a:pt x="681228" y="1696466"/>
                </a:lnTo>
                <a:lnTo>
                  <a:pt x="635000" y="1382395"/>
                </a:lnTo>
                <a:close/>
                <a:moveTo>
                  <a:pt x="432054" y="959612"/>
                </a:moveTo>
                <a:lnTo>
                  <a:pt x="466725" y="1285367"/>
                </a:lnTo>
                <a:lnTo>
                  <a:pt x="530225" y="1250442"/>
                </a:lnTo>
                <a:lnTo>
                  <a:pt x="496443" y="924687"/>
                </a:lnTo>
                <a:close/>
                <a:moveTo>
                  <a:pt x="572897" y="2343912"/>
                </a:moveTo>
                <a:lnTo>
                  <a:pt x="619125" y="2658237"/>
                </a:lnTo>
                <a:lnTo>
                  <a:pt x="681228" y="2611628"/>
                </a:lnTo>
                <a:lnTo>
                  <a:pt x="635635" y="2297557"/>
                </a:lnTo>
                <a:close/>
                <a:moveTo>
                  <a:pt x="572897" y="1886712"/>
                </a:moveTo>
                <a:lnTo>
                  <a:pt x="619125" y="2200529"/>
                </a:lnTo>
                <a:lnTo>
                  <a:pt x="681228" y="2154047"/>
                </a:lnTo>
                <a:lnTo>
                  <a:pt x="635635" y="1839976"/>
                </a:lnTo>
                <a:close/>
                <a:moveTo>
                  <a:pt x="432054" y="2790063"/>
                </a:moveTo>
                <a:lnTo>
                  <a:pt x="466725" y="3115818"/>
                </a:lnTo>
                <a:lnTo>
                  <a:pt x="530225" y="3080893"/>
                </a:lnTo>
                <a:lnTo>
                  <a:pt x="496062" y="2755138"/>
                </a:lnTo>
                <a:close/>
                <a:moveTo>
                  <a:pt x="291211" y="32766"/>
                </a:moveTo>
                <a:lnTo>
                  <a:pt x="314325" y="370205"/>
                </a:lnTo>
                <a:lnTo>
                  <a:pt x="380873" y="346964"/>
                </a:lnTo>
                <a:lnTo>
                  <a:pt x="357886" y="9525"/>
                </a:lnTo>
                <a:close/>
                <a:moveTo>
                  <a:pt x="432054" y="1874266"/>
                </a:moveTo>
                <a:lnTo>
                  <a:pt x="466725" y="2200529"/>
                </a:lnTo>
                <a:lnTo>
                  <a:pt x="530225" y="2165731"/>
                </a:lnTo>
                <a:lnTo>
                  <a:pt x="496062" y="1839976"/>
                </a:lnTo>
                <a:close/>
                <a:moveTo>
                  <a:pt x="432054" y="2331466"/>
                </a:moveTo>
                <a:lnTo>
                  <a:pt x="466725" y="2658237"/>
                </a:lnTo>
                <a:lnTo>
                  <a:pt x="530225" y="2623312"/>
                </a:lnTo>
                <a:lnTo>
                  <a:pt x="496062" y="2297557"/>
                </a:lnTo>
                <a:close/>
                <a:moveTo>
                  <a:pt x="432054" y="1416177"/>
                </a:moveTo>
                <a:lnTo>
                  <a:pt x="466725" y="1742948"/>
                </a:lnTo>
                <a:lnTo>
                  <a:pt x="530225" y="1708023"/>
                </a:lnTo>
                <a:lnTo>
                  <a:pt x="496443" y="1382395"/>
                </a:lnTo>
                <a:close/>
                <a:moveTo>
                  <a:pt x="713740" y="1897126"/>
                </a:moveTo>
                <a:lnTo>
                  <a:pt x="770763" y="2199513"/>
                </a:lnTo>
                <a:lnTo>
                  <a:pt x="830453" y="2141347"/>
                </a:lnTo>
                <a:lnTo>
                  <a:pt x="773557" y="1838960"/>
                </a:lnTo>
                <a:close/>
                <a:moveTo>
                  <a:pt x="713740" y="981837"/>
                </a:moveTo>
                <a:lnTo>
                  <a:pt x="770763" y="1284351"/>
                </a:lnTo>
                <a:lnTo>
                  <a:pt x="830453" y="1226185"/>
                </a:lnTo>
                <a:lnTo>
                  <a:pt x="773557" y="924687"/>
                </a:lnTo>
                <a:close/>
                <a:moveTo>
                  <a:pt x="713740" y="524637"/>
                </a:moveTo>
                <a:lnTo>
                  <a:pt x="770763" y="827151"/>
                </a:lnTo>
                <a:lnTo>
                  <a:pt x="830453" y="768985"/>
                </a:lnTo>
                <a:lnTo>
                  <a:pt x="773557" y="466725"/>
                </a:lnTo>
                <a:close/>
                <a:moveTo>
                  <a:pt x="713740" y="1439926"/>
                </a:moveTo>
                <a:lnTo>
                  <a:pt x="770763" y="1742313"/>
                </a:lnTo>
                <a:lnTo>
                  <a:pt x="830453" y="1684147"/>
                </a:lnTo>
                <a:lnTo>
                  <a:pt x="773557" y="1382395"/>
                </a:lnTo>
                <a:close/>
                <a:moveTo>
                  <a:pt x="713740" y="67056"/>
                </a:moveTo>
                <a:lnTo>
                  <a:pt x="770763" y="370205"/>
                </a:lnTo>
                <a:lnTo>
                  <a:pt x="830453" y="312039"/>
                </a:lnTo>
                <a:lnTo>
                  <a:pt x="773557" y="9525"/>
                </a:lnTo>
                <a:close/>
                <a:moveTo>
                  <a:pt x="854583" y="2824988"/>
                </a:moveTo>
                <a:lnTo>
                  <a:pt x="923036" y="3115818"/>
                </a:lnTo>
                <a:lnTo>
                  <a:pt x="980440" y="3045968"/>
                </a:lnTo>
                <a:lnTo>
                  <a:pt x="911987" y="2755138"/>
                </a:lnTo>
                <a:close/>
                <a:moveTo>
                  <a:pt x="713740" y="2355723"/>
                </a:moveTo>
                <a:lnTo>
                  <a:pt x="770763" y="2658237"/>
                </a:lnTo>
                <a:lnTo>
                  <a:pt x="830453" y="2600071"/>
                </a:lnTo>
                <a:lnTo>
                  <a:pt x="773557" y="2297557"/>
                </a:lnTo>
                <a:close/>
                <a:moveTo>
                  <a:pt x="572897" y="513715"/>
                </a:moveTo>
                <a:lnTo>
                  <a:pt x="619125" y="827786"/>
                </a:lnTo>
                <a:lnTo>
                  <a:pt x="681228" y="781177"/>
                </a:lnTo>
                <a:lnTo>
                  <a:pt x="635000" y="466725"/>
                </a:lnTo>
                <a:close/>
                <a:moveTo>
                  <a:pt x="854583" y="2367915"/>
                </a:moveTo>
                <a:lnTo>
                  <a:pt x="923036" y="2658745"/>
                </a:lnTo>
                <a:lnTo>
                  <a:pt x="980440" y="2588895"/>
                </a:lnTo>
                <a:lnTo>
                  <a:pt x="911987" y="2298065"/>
                </a:lnTo>
                <a:close/>
                <a:moveTo>
                  <a:pt x="572897" y="56007"/>
                </a:moveTo>
                <a:lnTo>
                  <a:pt x="619125" y="370205"/>
                </a:lnTo>
                <a:lnTo>
                  <a:pt x="681228" y="323596"/>
                </a:lnTo>
                <a:lnTo>
                  <a:pt x="635000" y="9525"/>
                </a:lnTo>
                <a:close/>
                <a:moveTo>
                  <a:pt x="572897" y="971296"/>
                </a:moveTo>
                <a:lnTo>
                  <a:pt x="619125" y="1285367"/>
                </a:lnTo>
                <a:lnTo>
                  <a:pt x="681228" y="1238885"/>
                </a:lnTo>
                <a:lnTo>
                  <a:pt x="635000" y="924687"/>
                </a:lnTo>
                <a:close/>
                <a:moveTo>
                  <a:pt x="713740" y="2812796"/>
                </a:moveTo>
                <a:lnTo>
                  <a:pt x="770763" y="3115310"/>
                </a:lnTo>
                <a:lnTo>
                  <a:pt x="830453" y="3057144"/>
                </a:lnTo>
                <a:lnTo>
                  <a:pt x="773557" y="2754630"/>
                </a:lnTo>
                <a:close/>
                <a:moveTo>
                  <a:pt x="9525" y="3556635"/>
                </a:moveTo>
                <a:lnTo>
                  <a:pt x="80772" y="3556635"/>
                </a:lnTo>
                <a:lnTo>
                  <a:pt x="80772" y="3195955"/>
                </a:lnTo>
                <a:lnTo>
                  <a:pt x="9525" y="3195955"/>
                </a:lnTo>
                <a:close/>
                <a:moveTo>
                  <a:pt x="291211" y="3219196"/>
                </a:moveTo>
                <a:lnTo>
                  <a:pt x="314325" y="3556635"/>
                </a:lnTo>
                <a:lnTo>
                  <a:pt x="380873" y="3533267"/>
                </a:lnTo>
                <a:lnTo>
                  <a:pt x="357886" y="3195955"/>
                </a:lnTo>
                <a:close/>
                <a:moveTo>
                  <a:pt x="150368" y="3207639"/>
                </a:moveTo>
                <a:lnTo>
                  <a:pt x="161925" y="3556635"/>
                </a:lnTo>
                <a:lnTo>
                  <a:pt x="230886" y="3544951"/>
                </a:lnTo>
                <a:lnTo>
                  <a:pt x="219456" y="3195955"/>
                </a:lnTo>
                <a:close/>
                <a:moveTo>
                  <a:pt x="1136269" y="3289046"/>
                </a:moveTo>
                <a:lnTo>
                  <a:pt x="1227455" y="3556635"/>
                </a:lnTo>
                <a:lnTo>
                  <a:pt x="1280414" y="3463544"/>
                </a:lnTo>
                <a:lnTo>
                  <a:pt x="1189101" y="3195955"/>
                </a:lnTo>
                <a:close/>
                <a:moveTo>
                  <a:pt x="995426" y="3277362"/>
                </a:moveTo>
                <a:lnTo>
                  <a:pt x="1075309" y="3556762"/>
                </a:lnTo>
                <a:lnTo>
                  <a:pt x="1130427" y="3475228"/>
                </a:lnTo>
                <a:lnTo>
                  <a:pt x="1050925" y="3195955"/>
                </a:lnTo>
                <a:close/>
                <a:moveTo>
                  <a:pt x="1558925" y="3324225"/>
                </a:moveTo>
                <a:lnTo>
                  <a:pt x="1684401" y="3556889"/>
                </a:lnTo>
                <a:lnTo>
                  <a:pt x="1730375" y="3428873"/>
                </a:lnTo>
                <a:lnTo>
                  <a:pt x="1604899" y="3196209"/>
                </a:lnTo>
                <a:close/>
                <a:moveTo>
                  <a:pt x="1277239" y="3300857"/>
                </a:moveTo>
                <a:lnTo>
                  <a:pt x="1379855" y="3556889"/>
                </a:lnTo>
                <a:lnTo>
                  <a:pt x="1430655" y="3452114"/>
                </a:lnTo>
                <a:lnTo>
                  <a:pt x="1328039" y="3196209"/>
                </a:lnTo>
                <a:close/>
                <a:moveTo>
                  <a:pt x="1699768" y="3335782"/>
                </a:moveTo>
                <a:lnTo>
                  <a:pt x="1836674" y="3556889"/>
                </a:lnTo>
                <a:lnTo>
                  <a:pt x="1880235" y="3417189"/>
                </a:lnTo>
                <a:lnTo>
                  <a:pt x="1743456" y="3196209"/>
                </a:lnTo>
                <a:close/>
                <a:moveTo>
                  <a:pt x="4375785" y="3200654"/>
                </a:moveTo>
                <a:lnTo>
                  <a:pt x="4237228" y="3195955"/>
                </a:lnTo>
                <a:lnTo>
                  <a:pt x="4237228" y="3205734"/>
                </a:lnTo>
                <a:lnTo>
                  <a:pt x="4098925" y="3195955"/>
                </a:lnTo>
                <a:lnTo>
                  <a:pt x="4098925" y="3211068"/>
                </a:lnTo>
                <a:lnTo>
                  <a:pt x="3960622" y="3195955"/>
                </a:lnTo>
                <a:lnTo>
                  <a:pt x="3960622" y="3216783"/>
                </a:lnTo>
                <a:lnTo>
                  <a:pt x="3822573" y="3195955"/>
                </a:lnTo>
                <a:lnTo>
                  <a:pt x="3820795" y="3222625"/>
                </a:lnTo>
                <a:lnTo>
                  <a:pt x="3683000" y="3195574"/>
                </a:lnTo>
                <a:lnTo>
                  <a:pt x="3681730" y="3229229"/>
                </a:lnTo>
                <a:lnTo>
                  <a:pt x="3544443" y="3195574"/>
                </a:lnTo>
                <a:lnTo>
                  <a:pt x="3542538" y="3236214"/>
                </a:lnTo>
                <a:lnTo>
                  <a:pt x="3405886" y="3195574"/>
                </a:lnTo>
                <a:lnTo>
                  <a:pt x="3403092" y="3243707"/>
                </a:lnTo>
                <a:lnTo>
                  <a:pt x="3267329" y="3195574"/>
                </a:lnTo>
                <a:lnTo>
                  <a:pt x="3263519" y="3251835"/>
                </a:lnTo>
                <a:lnTo>
                  <a:pt x="3128772" y="3195574"/>
                </a:lnTo>
                <a:lnTo>
                  <a:pt x="3123565" y="3260344"/>
                </a:lnTo>
                <a:lnTo>
                  <a:pt x="2990215" y="3195574"/>
                </a:lnTo>
                <a:lnTo>
                  <a:pt x="2983357" y="3269488"/>
                </a:lnTo>
                <a:lnTo>
                  <a:pt x="2851658" y="3195574"/>
                </a:lnTo>
                <a:lnTo>
                  <a:pt x="2842641" y="3279013"/>
                </a:lnTo>
                <a:lnTo>
                  <a:pt x="2713228" y="3195574"/>
                </a:lnTo>
                <a:lnTo>
                  <a:pt x="2701544" y="3289046"/>
                </a:lnTo>
                <a:lnTo>
                  <a:pt x="2574544" y="3195574"/>
                </a:lnTo>
                <a:lnTo>
                  <a:pt x="2559685" y="3299587"/>
                </a:lnTo>
                <a:lnTo>
                  <a:pt x="2435987" y="3195574"/>
                </a:lnTo>
                <a:lnTo>
                  <a:pt x="2417318" y="3309874"/>
                </a:lnTo>
                <a:lnTo>
                  <a:pt x="2297430" y="3195574"/>
                </a:lnTo>
                <a:lnTo>
                  <a:pt x="2274189" y="3321050"/>
                </a:lnTo>
                <a:lnTo>
                  <a:pt x="2158873" y="3195574"/>
                </a:lnTo>
                <a:lnTo>
                  <a:pt x="2130425" y="3332099"/>
                </a:lnTo>
                <a:lnTo>
                  <a:pt x="2020570" y="3195955"/>
                </a:lnTo>
                <a:lnTo>
                  <a:pt x="1985518" y="3342132"/>
                </a:lnTo>
                <a:lnTo>
                  <a:pt x="1882013" y="3195955"/>
                </a:lnTo>
                <a:lnTo>
                  <a:pt x="1840611" y="3347212"/>
                </a:lnTo>
                <a:lnTo>
                  <a:pt x="1988820" y="3556635"/>
                </a:lnTo>
                <a:lnTo>
                  <a:pt x="2026920" y="3415665"/>
                </a:lnTo>
                <a:lnTo>
                  <a:pt x="2141220" y="3556635"/>
                </a:lnTo>
                <a:lnTo>
                  <a:pt x="2172462" y="3425825"/>
                </a:lnTo>
                <a:lnTo>
                  <a:pt x="2293239" y="3557270"/>
                </a:lnTo>
                <a:lnTo>
                  <a:pt x="2318639" y="3435985"/>
                </a:lnTo>
                <a:lnTo>
                  <a:pt x="2445639" y="3557270"/>
                </a:lnTo>
                <a:lnTo>
                  <a:pt x="2466086" y="3446526"/>
                </a:lnTo>
                <a:lnTo>
                  <a:pt x="2597785" y="3557270"/>
                </a:lnTo>
                <a:lnTo>
                  <a:pt x="2614168" y="3457067"/>
                </a:lnTo>
                <a:lnTo>
                  <a:pt x="2750058" y="3557270"/>
                </a:lnTo>
                <a:lnTo>
                  <a:pt x="2762758" y="3467354"/>
                </a:lnTo>
                <a:lnTo>
                  <a:pt x="2902458" y="3557270"/>
                </a:lnTo>
                <a:lnTo>
                  <a:pt x="2912364" y="3477387"/>
                </a:lnTo>
                <a:lnTo>
                  <a:pt x="3054731" y="3557270"/>
                </a:lnTo>
                <a:lnTo>
                  <a:pt x="3062351" y="3486912"/>
                </a:lnTo>
                <a:lnTo>
                  <a:pt x="3207004" y="3557270"/>
                </a:lnTo>
                <a:lnTo>
                  <a:pt x="3212719" y="3496056"/>
                </a:lnTo>
                <a:lnTo>
                  <a:pt x="3359150" y="3557270"/>
                </a:lnTo>
                <a:lnTo>
                  <a:pt x="3363468" y="3504692"/>
                </a:lnTo>
                <a:lnTo>
                  <a:pt x="3511423" y="3557270"/>
                </a:lnTo>
                <a:lnTo>
                  <a:pt x="3514471" y="3512820"/>
                </a:lnTo>
                <a:lnTo>
                  <a:pt x="3663696" y="3557270"/>
                </a:lnTo>
                <a:lnTo>
                  <a:pt x="3665855" y="3520440"/>
                </a:lnTo>
                <a:lnTo>
                  <a:pt x="3815969" y="3557270"/>
                </a:lnTo>
                <a:lnTo>
                  <a:pt x="3817366" y="3527679"/>
                </a:lnTo>
                <a:lnTo>
                  <a:pt x="3968242" y="3557270"/>
                </a:lnTo>
                <a:lnTo>
                  <a:pt x="3969004" y="3534283"/>
                </a:lnTo>
                <a:lnTo>
                  <a:pt x="4120388" y="3557270"/>
                </a:lnTo>
                <a:lnTo>
                  <a:pt x="4120388" y="3540633"/>
                </a:lnTo>
                <a:lnTo>
                  <a:pt x="4272788" y="3557270"/>
                </a:lnTo>
                <a:lnTo>
                  <a:pt x="4272788" y="3546856"/>
                </a:lnTo>
                <a:lnTo>
                  <a:pt x="4282440" y="3546856"/>
                </a:lnTo>
                <a:lnTo>
                  <a:pt x="4375912" y="3553460"/>
                </a:lnTo>
                <a:lnTo>
                  <a:pt x="4375912" y="3556889"/>
                </a:lnTo>
                <a:lnTo>
                  <a:pt x="5360035" y="3556889"/>
                </a:lnTo>
                <a:lnTo>
                  <a:pt x="5360035" y="3195955"/>
                </a:lnTo>
                <a:lnTo>
                  <a:pt x="4375785" y="3195955"/>
                </a:lnTo>
                <a:close/>
                <a:moveTo>
                  <a:pt x="1417955" y="3312287"/>
                </a:moveTo>
                <a:lnTo>
                  <a:pt x="1532255" y="3556635"/>
                </a:lnTo>
                <a:lnTo>
                  <a:pt x="1580515" y="3440303"/>
                </a:lnTo>
                <a:lnTo>
                  <a:pt x="1466215" y="3195955"/>
                </a:lnTo>
                <a:close/>
                <a:moveTo>
                  <a:pt x="572897" y="3242437"/>
                </a:moveTo>
                <a:lnTo>
                  <a:pt x="619125" y="3556635"/>
                </a:lnTo>
                <a:lnTo>
                  <a:pt x="681228" y="3510026"/>
                </a:lnTo>
                <a:lnTo>
                  <a:pt x="635000" y="3195955"/>
                </a:lnTo>
                <a:close/>
                <a:moveTo>
                  <a:pt x="432054" y="3230880"/>
                </a:moveTo>
                <a:lnTo>
                  <a:pt x="466725" y="3556635"/>
                </a:lnTo>
                <a:lnTo>
                  <a:pt x="530225" y="3521710"/>
                </a:lnTo>
                <a:lnTo>
                  <a:pt x="496443" y="3195955"/>
                </a:lnTo>
                <a:close/>
                <a:moveTo>
                  <a:pt x="854583" y="3265805"/>
                </a:moveTo>
                <a:lnTo>
                  <a:pt x="923036" y="3556635"/>
                </a:lnTo>
                <a:lnTo>
                  <a:pt x="980440" y="3486785"/>
                </a:lnTo>
                <a:lnTo>
                  <a:pt x="911987" y="3195955"/>
                </a:lnTo>
                <a:close/>
                <a:moveTo>
                  <a:pt x="713740" y="3254121"/>
                </a:moveTo>
                <a:lnTo>
                  <a:pt x="770763" y="3556635"/>
                </a:lnTo>
                <a:lnTo>
                  <a:pt x="830453" y="3498469"/>
                </a:lnTo>
                <a:lnTo>
                  <a:pt x="773557" y="3195955"/>
                </a:lnTo>
                <a:close/>
                <a:moveTo>
                  <a:pt x="9525" y="4007993"/>
                </a:moveTo>
                <a:lnTo>
                  <a:pt x="80772" y="4007993"/>
                </a:lnTo>
                <a:lnTo>
                  <a:pt x="80772" y="3647313"/>
                </a:lnTo>
                <a:lnTo>
                  <a:pt x="9525" y="3647313"/>
                </a:lnTo>
                <a:close/>
                <a:moveTo>
                  <a:pt x="291211" y="3670554"/>
                </a:moveTo>
                <a:lnTo>
                  <a:pt x="314325" y="4007993"/>
                </a:lnTo>
                <a:lnTo>
                  <a:pt x="380619" y="3984625"/>
                </a:lnTo>
                <a:lnTo>
                  <a:pt x="357886" y="3647313"/>
                </a:lnTo>
                <a:close/>
                <a:moveTo>
                  <a:pt x="150368" y="3658870"/>
                </a:moveTo>
                <a:lnTo>
                  <a:pt x="161798" y="4007993"/>
                </a:lnTo>
                <a:lnTo>
                  <a:pt x="230759" y="3996309"/>
                </a:lnTo>
                <a:lnTo>
                  <a:pt x="219329" y="3647313"/>
                </a:lnTo>
                <a:close/>
                <a:moveTo>
                  <a:pt x="1136269" y="3740404"/>
                </a:moveTo>
                <a:lnTo>
                  <a:pt x="1227455" y="4007993"/>
                </a:lnTo>
                <a:lnTo>
                  <a:pt x="1280414" y="3914902"/>
                </a:lnTo>
                <a:lnTo>
                  <a:pt x="1189101" y="3647313"/>
                </a:lnTo>
                <a:close/>
                <a:moveTo>
                  <a:pt x="995426" y="3728720"/>
                </a:moveTo>
                <a:lnTo>
                  <a:pt x="1075309" y="4008120"/>
                </a:lnTo>
                <a:lnTo>
                  <a:pt x="1130427" y="3926586"/>
                </a:lnTo>
                <a:lnTo>
                  <a:pt x="1050544" y="3647186"/>
                </a:lnTo>
                <a:close/>
                <a:moveTo>
                  <a:pt x="1558925" y="3775202"/>
                </a:moveTo>
                <a:lnTo>
                  <a:pt x="1684401" y="4007993"/>
                </a:lnTo>
                <a:lnTo>
                  <a:pt x="1730375" y="3879977"/>
                </a:lnTo>
                <a:lnTo>
                  <a:pt x="1604899" y="3647313"/>
                </a:lnTo>
                <a:close/>
                <a:moveTo>
                  <a:pt x="1277239" y="3751961"/>
                </a:moveTo>
                <a:lnTo>
                  <a:pt x="1379855" y="4007993"/>
                </a:lnTo>
                <a:lnTo>
                  <a:pt x="1430655" y="3903218"/>
                </a:lnTo>
                <a:lnTo>
                  <a:pt x="1328039" y="3647313"/>
                </a:lnTo>
                <a:close/>
                <a:moveTo>
                  <a:pt x="1699768" y="3786886"/>
                </a:moveTo>
                <a:lnTo>
                  <a:pt x="1836674" y="4007993"/>
                </a:lnTo>
                <a:lnTo>
                  <a:pt x="1880235" y="3868293"/>
                </a:lnTo>
                <a:lnTo>
                  <a:pt x="1743456" y="3647313"/>
                </a:lnTo>
                <a:close/>
                <a:moveTo>
                  <a:pt x="4375785" y="3652012"/>
                </a:moveTo>
                <a:lnTo>
                  <a:pt x="4237228" y="3647313"/>
                </a:lnTo>
                <a:lnTo>
                  <a:pt x="4237228" y="3657092"/>
                </a:lnTo>
                <a:lnTo>
                  <a:pt x="4098798" y="3647313"/>
                </a:lnTo>
                <a:lnTo>
                  <a:pt x="4098798" y="3662426"/>
                </a:lnTo>
                <a:lnTo>
                  <a:pt x="3960495" y="3647313"/>
                </a:lnTo>
                <a:lnTo>
                  <a:pt x="3960495" y="3668141"/>
                </a:lnTo>
                <a:lnTo>
                  <a:pt x="3822446" y="3647313"/>
                </a:lnTo>
                <a:lnTo>
                  <a:pt x="3821684" y="3674364"/>
                </a:lnTo>
                <a:lnTo>
                  <a:pt x="3683889" y="3647313"/>
                </a:lnTo>
                <a:lnTo>
                  <a:pt x="3682619" y="3680968"/>
                </a:lnTo>
                <a:lnTo>
                  <a:pt x="3545332" y="3647313"/>
                </a:lnTo>
                <a:lnTo>
                  <a:pt x="3543427" y="3687953"/>
                </a:lnTo>
                <a:lnTo>
                  <a:pt x="3406775" y="3647313"/>
                </a:lnTo>
                <a:lnTo>
                  <a:pt x="3403981" y="3695446"/>
                </a:lnTo>
                <a:lnTo>
                  <a:pt x="3268218" y="3647313"/>
                </a:lnTo>
                <a:lnTo>
                  <a:pt x="3264408" y="3703574"/>
                </a:lnTo>
                <a:lnTo>
                  <a:pt x="3129661" y="3647313"/>
                </a:lnTo>
                <a:lnTo>
                  <a:pt x="3124454" y="3712083"/>
                </a:lnTo>
                <a:lnTo>
                  <a:pt x="2991104" y="3647313"/>
                </a:lnTo>
                <a:lnTo>
                  <a:pt x="2984246" y="3721100"/>
                </a:lnTo>
                <a:lnTo>
                  <a:pt x="2852547" y="3647313"/>
                </a:lnTo>
                <a:lnTo>
                  <a:pt x="2843530" y="3730752"/>
                </a:lnTo>
                <a:lnTo>
                  <a:pt x="2714117" y="3647313"/>
                </a:lnTo>
                <a:lnTo>
                  <a:pt x="2701925" y="3740785"/>
                </a:lnTo>
                <a:lnTo>
                  <a:pt x="2574925" y="3647313"/>
                </a:lnTo>
                <a:lnTo>
                  <a:pt x="2560066" y="3751199"/>
                </a:lnTo>
                <a:lnTo>
                  <a:pt x="2436368" y="3647313"/>
                </a:lnTo>
                <a:lnTo>
                  <a:pt x="2417699" y="3761613"/>
                </a:lnTo>
                <a:lnTo>
                  <a:pt x="2297811" y="3647313"/>
                </a:lnTo>
                <a:lnTo>
                  <a:pt x="2274570" y="3772789"/>
                </a:lnTo>
                <a:lnTo>
                  <a:pt x="2159254" y="3647313"/>
                </a:lnTo>
                <a:lnTo>
                  <a:pt x="2130425" y="3783457"/>
                </a:lnTo>
                <a:lnTo>
                  <a:pt x="2020570" y="3647313"/>
                </a:lnTo>
                <a:lnTo>
                  <a:pt x="1985391" y="3794125"/>
                </a:lnTo>
                <a:lnTo>
                  <a:pt x="1881886" y="3647948"/>
                </a:lnTo>
                <a:lnTo>
                  <a:pt x="1840484" y="3799205"/>
                </a:lnTo>
                <a:lnTo>
                  <a:pt x="1988693" y="4008628"/>
                </a:lnTo>
                <a:lnTo>
                  <a:pt x="2026793" y="3867658"/>
                </a:lnTo>
                <a:lnTo>
                  <a:pt x="2141093" y="4008628"/>
                </a:lnTo>
                <a:lnTo>
                  <a:pt x="2172589" y="3877183"/>
                </a:lnTo>
                <a:lnTo>
                  <a:pt x="2293366" y="4008628"/>
                </a:lnTo>
                <a:lnTo>
                  <a:pt x="2318766" y="3887343"/>
                </a:lnTo>
                <a:lnTo>
                  <a:pt x="2445766" y="4008628"/>
                </a:lnTo>
                <a:lnTo>
                  <a:pt x="2466213" y="3897884"/>
                </a:lnTo>
                <a:lnTo>
                  <a:pt x="2597912" y="4008628"/>
                </a:lnTo>
                <a:lnTo>
                  <a:pt x="2614295" y="3908425"/>
                </a:lnTo>
                <a:lnTo>
                  <a:pt x="2750185" y="4008628"/>
                </a:lnTo>
                <a:lnTo>
                  <a:pt x="2762885" y="3918712"/>
                </a:lnTo>
                <a:lnTo>
                  <a:pt x="2902585" y="4008628"/>
                </a:lnTo>
                <a:lnTo>
                  <a:pt x="2912491" y="3928745"/>
                </a:lnTo>
                <a:lnTo>
                  <a:pt x="3054858" y="4008628"/>
                </a:lnTo>
                <a:lnTo>
                  <a:pt x="3062478" y="3938270"/>
                </a:lnTo>
                <a:lnTo>
                  <a:pt x="3207131" y="4008628"/>
                </a:lnTo>
                <a:lnTo>
                  <a:pt x="3212846" y="3947414"/>
                </a:lnTo>
                <a:lnTo>
                  <a:pt x="3359277" y="4008628"/>
                </a:lnTo>
                <a:lnTo>
                  <a:pt x="3363595" y="3956050"/>
                </a:lnTo>
                <a:lnTo>
                  <a:pt x="3511550" y="4008628"/>
                </a:lnTo>
                <a:lnTo>
                  <a:pt x="3514598" y="3964178"/>
                </a:lnTo>
                <a:lnTo>
                  <a:pt x="3663823" y="4008628"/>
                </a:lnTo>
                <a:lnTo>
                  <a:pt x="3665982" y="3971798"/>
                </a:lnTo>
                <a:lnTo>
                  <a:pt x="3816096" y="4008628"/>
                </a:lnTo>
                <a:lnTo>
                  <a:pt x="3817493" y="3979037"/>
                </a:lnTo>
                <a:lnTo>
                  <a:pt x="3968369" y="4008628"/>
                </a:lnTo>
                <a:lnTo>
                  <a:pt x="3969131" y="3985641"/>
                </a:lnTo>
                <a:lnTo>
                  <a:pt x="4120515" y="4008628"/>
                </a:lnTo>
                <a:lnTo>
                  <a:pt x="4120515" y="3991991"/>
                </a:lnTo>
                <a:lnTo>
                  <a:pt x="4272915" y="4008628"/>
                </a:lnTo>
                <a:lnTo>
                  <a:pt x="4272915" y="3998214"/>
                </a:lnTo>
                <a:lnTo>
                  <a:pt x="4282567" y="3998214"/>
                </a:lnTo>
                <a:lnTo>
                  <a:pt x="4376039" y="4004691"/>
                </a:lnTo>
                <a:lnTo>
                  <a:pt x="4376039" y="4008247"/>
                </a:lnTo>
                <a:lnTo>
                  <a:pt x="5360162" y="4008247"/>
                </a:lnTo>
                <a:lnTo>
                  <a:pt x="5360162" y="3647567"/>
                </a:lnTo>
                <a:lnTo>
                  <a:pt x="4375785" y="3647567"/>
                </a:lnTo>
                <a:close/>
                <a:moveTo>
                  <a:pt x="1417955" y="3763645"/>
                </a:moveTo>
                <a:lnTo>
                  <a:pt x="1532255" y="4007993"/>
                </a:lnTo>
                <a:lnTo>
                  <a:pt x="1580515" y="3891661"/>
                </a:lnTo>
                <a:lnTo>
                  <a:pt x="1466215" y="3647313"/>
                </a:lnTo>
                <a:close/>
                <a:moveTo>
                  <a:pt x="572897" y="3693795"/>
                </a:moveTo>
                <a:lnTo>
                  <a:pt x="619125" y="4007993"/>
                </a:lnTo>
                <a:lnTo>
                  <a:pt x="681228" y="3961384"/>
                </a:lnTo>
                <a:lnTo>
                  <a:pt x="635635" y="3647313"/>
                </a:lnTo>
                <a:close/>
                <a:moveTo>
                  <a:pt x="432054" y="3682238"/>
                </a:moveTo>
                <a:lnTo>
                  <a:pt x="466725" y="4007993"/>
                </a:lnTo>
                <a:lnTo>
                  <a:pt x="530225" y="3973068"/>
                </a:lnTo>
                <a:lnTo>
                  <a:pt x="496062" y="3647313"/>
                </a:lnTo>
                <a:close/>
                <a:moveTo>
                  <a:pt x="854583" y="3717036"/>
                </a:moveTo>
                <a:lnTo>
                  <a:pt x="923036" y="4007993"/>
                </a:lnTo>
                <a:lnTo>
                  <a:pt x="980440" y="3938143"/>
                </a:lnTo>
                <a:lnTo>
                  <a:pt x="911987" y="3647313"/>
                </a:lnTo>
                <a:close/>
                <a:moveTo>
                  <a:pt x="713740" y="3705225"/>
                </a:moveTo>
                <a:lnTo>
                  <a:pt x="770763" y="4007739"/>
                </a:lnTo>
                <a:lnTo>
                  <a:pt x="830453" y="3949573"/>
                </a:lnTo>
                <a:lnTo>
                  <a:pt x="773557" y="3647059"/>
                </a:lnTo>
                <a:close/>
                <a:moveTo>
                  <a:pt x="9525" y="4460494"/>
                </a:moveTo>
                <a:lnTo>
                  <a:pt x="80772" y="4460494"/>
                </a:lnTo>
                <a:lnTo>
                  <a:pt x="80772" y="4099814"/>
                </a:lnTo>
                <a:lnTo>
                  <a:pt x="9525" y="4099814"/>
                </a:lnTo>
                <a:close/>
                <a:moveTo>
                  <a:pt x="291211" y="4123055"/>
                </a:moveTo>
                <a:lnTo>
                  <a:pt x="314325" y="4460494"/>
                </a:lnTo>
                <a:lnTo>
                  <a:pt x="380873" y="4437253"/>
                </a:lnTo>
                <a:lnTo>
                  <a:pt x="358140" y="4099814"/>
                </a:lnTo>
                <a:close/>
                <a:moveTo>
                  <a:pt x="150368" y="4111625"/>
                </a:moveTo>
                <a:lnTo>
                  <a:pt x="161798" y="4460621"/>
                </a:lnTo>
                <a:lnTo>
                  <a:pt x="230759" y="4448937"/>
                </a:lnTo>
                <a:lnTo>
                  <a:pt x="219329" y="4099941"/>
                </a:lnTo>
                <a:close/>
                <a:moveTo>
                  <a:pt x="1136269" y="4193032"/>
                </a:moveTo>
                <a:lnTo>
                  <a:pt x="1227455" y="4460621"/>
                </a:lnTo>
                <a:lnTo>
                  <a:pt x="1280414" y="4367530"/>
                </a:lnTo>
                <a:lnTo>
                  <a:pt x="1189101" y="4099941"/>
                </a:lnTo>
                <a:close/>
                <a:moveTo>
                  <a:pt x="995426" y="4181348"/>
                </a:moveTo>
                <a:lnTo>
                  <a:pt x="1075309" y="4460748"/>
                </a:lnTo>
                <a:lnTo>
                  <a:pt x="1130427" y="4379341"/>
                </a:lnTo>
                <a:lnTo>
                  <a:pt x="1050544" y="4099941"/>
                </a:lnTo>
                <a:close/>
                <a:moveTo>
                  <a:pt x="1558925" y="4227830"/>
                </a:moveTo>
                <a:lnTo>
                  <a:pt x="1684401" y="4460494"/>
                </a:lnTo>
                <a:lnTo>
                  <a:pt x="1730375" y="4332478"/>
                </a:lnTo>
                <a:lnTo>
                  <a:pt x="1604899" y="4099814"/>
                </a:lnTo>
                <a:close/>
                <a:moveTo>
                  <a:pt x="1277239" y="4204589"/>
                </a:moveTo>
                <a:lnTo>
                  <a:pt x="1379855" y="4460494"/>
                </a:lnTo>
                <a:lnTo>
                  <a:pt x="1430655" y="4355719"/>
                </a:lnTo>
                <a:lnTo>
                  <a:pt x="1328039" y="4099814"/>
                </a:lnTo>
                <a:close/>
                <a:moveTo>
                  <a:pt x="1699768" y="4239387"/>
                </a:moveTo>
                <a:lnTo>
                  <a:pt x="1836674" y="4460494"/>
                </a:lnTo>
                <a:lnTo>
                  <a:pt x="1880235" y="4320794"/>
                </a:lnTo>
                <a:lnTo>
                  <a:pt x="1743456" y="4099687"/>
                </a:lnTo>
                <a:close/>
                <a:moveTo>
                  <a:pt x="4375785" y="4104513"/>
                </a:moveTo>
                <a:lnTo>
                  <a:pt x="4237228" y="4099814"/>
                </a:lnTo>
                <a:lnTo>
                  <a:pt x="4237228" y="4109593"/>
                </a:lnTo>
                <a:lnTo>
                  <a:pt x="4098798" y="4099814"/>
                </a:lnTo>
                <a:lnTo>
                  <a:pt x="4098798" y="4114927"/>
                </a:lnTo>
                <a:lnTo>
                  <a:pt x="3960495" y="4099814"/>
                </a:lnTo>
                <a:lnTo>
                  <a:pt x="3960495" y="4120769"/>
                </a:lnTo>
                <a:lnTo>
                  <a:pt x="3822446" y="4099814"/>
                </a:lnTo>
                <a:lnTo>
                  <a:pt x="3821684" y="4126865"/>
                </a:lnTo>
                <a:lnTo>
                  <a:pt x="3683889" y="4099814"/>
                </a:lnTo>
                <a:lnTo>
                  <a:pt x="3682619" y="4133469"/>
                </a:lnTo>
                <a:lnTo>
                  <a:pt x="3545332" y="4099814"/>
                </a:lnTo>
                <a:lnTo>
                  <a:pt x="3543427" y="4140454"/>
                </a:lnTo>
                <a:lnTo>
                  <a:pt x="3406775" y="4099814"/>
                </a:lnTo>
                <a:lnTo>
                  <a:pt x="3403981" y="4148074"/>
                </a:lnTo>
                <a:lnTo>
                  <a:pt x="3268218" y="4099814"/>
                </a:lnTo>
                <a:lnTo>
                  <a:pt x="3264408" y="4156075"/>
                </a:lnTo>
                <a:lnTo>
                  <a:pt x="3129661" y="4099814"/>
                </a:lnTo>
                <a:lnTo>
                  <a:pt x="3124454" y="4164584"/>
                </a:lnTo>
                <a:lnTo>
                  <a:pt x="2991104" y="4099814"/>
                </a:lnTo>
                <a:lnTo>
                  <a:pt x="2984246" y="4173728"/>
                </a:lnTo>
                <a:lnTo>
                  <a:pt x="2852547" y="4099814"/>
                </a:lnTo>
                <a:lnTo>
                  <a:pt x="2843530" y="4183253"/>
                </a:lnTo>
                <a:lnTo>
                  <a:pt x="2714117" y="4099814"/>
                </a:lnTo>
                <a:lnTo>
                  <a:pt x="2702433" y="4193286"/>
                </a:lnTo>
                <a:lnTo>
                  <a:pt x="2575433" y="4099814"/>
                </a:lnTo>
                <a:lnTo>
                  <a:pt x="2560574" y="4203827"/>
                </a:lnTo>
                <a:lnTo>
                  <a:pt x="2436876" y="4099814"/>
                </a:lnTo>
                <a:lnTo>
                  <a:pt x="2418207" y="4214114"/>
                </a:lnTo>
                <a:lnTo>
                  <a:pt x="2298319" y="4099814"/>
                </a:lnTo>
                <a:lnTo>
                  <a:pt x="2274316" y="4225925"/>
                </a:lnTo>
                <a:lnTo>
                  <a:pt x="2159000" y="4100449"/>
                </a:lnTo>
                <a:lnTo>
                  <a:pt x="2130425" y="4235958"/>
                </a:lnTo>
                <a:lnTo>
                  <a:pt x="2020570" y="4099814"/>
                </a:lnTo>
                <a:lnTo>
                  <a:pt x="1985518" y="4245991"/>
                </a:lnTo>
                <a:lnTo>
                  <a:pt x="1882013" y="4099814"/>
                </a:lnTo>
                <a:lnTo>
                  <a:pt x="1840484" y="4251325"/>
                </a:lnTo>
                <a:lnTo>
                  <a:pt x="1988693" y="4460748"/>
                </a:lnTo>
                <a:lnTo>
                  <a:pt x="2026793" y="4319778"/>
                </a:lnTo>
                <a:lnTo>
                  <a:pt x="2141093" y="4460748"/>
                </a:lnTo>
                <a:lnTo>
                  <a:pt x="2172589" y="4329303"/>
                </a:lnTo>
                <a:lnTo>
                  <a:pt x="2293366" y="4460748"/>
                </a:lnTo>
                <a:lnTo>
                  <a:pt x="2318766" y="4339463"/>
                </a:lnTo>
                <a:lnTo>
                  <a:pt x="2445766" y="4460748"/>
                </a:lnTo>
                <a:lnTo>
                  <a:pt x="2466213" y="4350004"/>
                </a:lnTo>
                <a:lnTo>
                  <a:pt x="2597912" y="4460748"/>
                </a:lnTo>
                <a:lnTo>
                  <a:pt x="2614295" y="4360545"/>
                </a:lnTo>
                <a:lnTo>
                  <a:pt x="2750185" y="4460748"/>
                </a:lnTo>
                <a:lnTo>
                  <a:pt x="2762885" y="4370832"/>
                </a:lnTo>
                <a:lnTo>
                  <a:pt x="2902585" y="4460748"/>
                </a:lnTo>
                <a:lnTo>
                  <a:pt x="2912491" y="4380865"/>
                </a:lnTo>
                <a:lnTo>
                  <a:pt x="3054858" y="4460748"/>
                </a:lnTo>
                <a:lnTo>
                  <a:pt x="3062478" y="4390517"/>
                </a:lnTo>
                <a:lnTo>
                  <a:pt x="3207131" y="4460748"/>
                </a:lnTo>
                <a:lnTo>
                  <a:pt x="3212846" y="4399534"/>
                </a:lnTo>
                <a:lnTo>
                  <a:pt x="3359277" y="4460748"/>
                </a:lnTo>
                <a:lnTo>
                  <a:pt x="3363595" y="4408170"/>
                </a:lnTo>
                <a:lnTo>
                  <a:pt x="3511550" y="4460748"/>
                </a:lnTo>
                <a:lnTo>
                  <a:pt x="3514725" y="4416425"/>
                </a:lnTo>
                <a:lnTo>
                  <a:pt x="3663950" y="4460875"/>
                </a:lnTo>
                <a:lnTo>
                  <a:pt x="3666109" y="4424045"/>
                </a:lnTo>
                <a:lnTo>
                  <a:pt x="3816223" y="4460875"/>
                </a:lnTo>
                <a:lnTo>
                  <a:pt x="3817620" y="4431284"/>
                </a:lnTo>
                <a:lnTo>
                  <a:pt x="3968496" y="4460875"/>
                </a:lnTo>
                <a:lnTo>
                  <a:pt x="3969258" y="4438015"/>
                </a:lnTo>
                <a:lnTo>
                  <a:pt x="4120642" y="4460875"/>
                </a:lnTo>
                <a:lnTo>
                  <a:pt x="4120642" y="4444238"/>
                </a:lnTo>
                <a:lnTo>
                  <a:pt x="4273042" y="4460875"/>
                </a:lnTo>
                <a:lnTo>
                  <a:pt x="4273042" y="4450461"/>
                </a:lnTo>
                <a:lnTo>
                  <a:pt x="4282694" y="4450461"/>
                </a:lnTo>
                <a:lnTo>
                  <a:pt x="4376166" y="4457065"/>
                </a:lnTo>
                <a:lnTo>
                  <a:pt x="4376166" y="4460494"/>
                </a:lnTo>
                <a:lnTo>
                  <a:pt x="5360289" y="4460494"/>
                </a:lnTo>
                <a:lnTo>
                  <a:pt x="5360289" y="4099814"/>
                </a:lnTo>
                <a:lnTo>
                  <a:pt x="4375785" y="4099814"/>
                </a:lnTo>
                <a:close/>
                <a:moveTo>
                  <a:pt x="1417955" y="4216146"/>
                </a:moveTo>
                <a:lnTo>
                  <a:pt x="1532255" y="4460494"/>
                </a:lnTo>
                <a:lnTo>
                  <a:pt x="1580515" y="4344162"/>
                </a:lnTo>
                <a:lnTo>
                  <a:pt x="1466215" y="4099814"/>
                </a:lnTo>
                <a:close/>
                <a:moveTo>
                  <a:pt x="572897" y="4146423"/>
                </a:moveTo>
                <a:lnTo>
                  <a:pt x="619125" y="4460494"/>
                </a:lnTo>
                <a:lnTo>
                  <a:pt x="681228" y="4413885"/>
                </a:lnTo>
                <a:lnTo>
                  <a:pt x="635635" y="4099814"/>
                </a:lnTo>
                <a:close/>
                <a:moveTo>
                  <a:pt x="432054" y="4134739"/>
                </a:moveTo>
                <a:lnTo>
                  <a:pt x="466725" y="4460494"/>
                </a:lnTo>
                <a:lnTo>
                  <a:pt x="530225" y="4425569"/>
                </a:lnTo>
                <a:lnTo>
                  <a:pt x="496062" y="4099814"/>
                </a:lnTo>
                <a:close/>
                <a:moveTo>
                  <a:pt x="854583" y="4169664"/>
                </a:moveTo>
                <a:lnTo>
                  <a:pt x="923036" y="4460494"/>
                </a:lnTo>
                <a:lnTo>
                  <a:pt x="980440" y="4390644"/>
                </a:lnTo>
                <a:lnTo>
                  <a:pt x="911987" y="4099814"/>
                </a:lnTo>
                <a:close/>
                <a:moveTo>
                  <a:pt x="713740" y="4157980"/>
                </a:moveTo>
                <a:lnTo>
                  <a:pt x="770763" y="4460494"/>
                </a:lnTo>
                <a:lnTo>
                  <a:pt x="830453" y="4402328"/>
                </a:lnTo>
                <a:lnTo>
                  <a:pt x="773557" y="4099814"/>
                </a:lnTo>
                <a:close/>
                <a:moveTo>
                  <a:pt x="9525" y="4912868"/>
                </a:moveTo>
                <a:lnTo>
                  <a:pt x="80772" y="4912868"/>
                </a:lnTo>
                <a:lnTo>
                  <a:pt x="80772" y="4552188"/>
                </a:lnTo>
                <a:lnTo>
                  <a:pt x="9525" y="4552188"/>
                </a:lnTo>
                <a:close/>
                <a:moveTo>
                  <a:pt x="291211" y="4575556"/>
                </a:moveTo>
                <a:lnTo>
                  <a:pt x="314325" y="4912868"/>
                </a:lnTo>
                <a:lnTo>
                  <a:pt x="380873" y="4889627"/>
                </a:lnTo>
                <a:lnTo>
                  <a:pt x="358140" y="4552188"/>
                </a:lnTo>
                <a:close/>
                <a:moveTo>
                  <a:pt x="150368" y="4563872"/>
                </a:moveTo>
                <a:lnTo>
                  <a:pt x="161798" y="4912868"/>
                </a:lnTo>
                <a:lnTo>
                  <a:pt x="230759" y="4901311"/>
                </a:lnTo>
                <a:lnTo>
                  <a:pt x="219329" y="4552188"/>
                </a:lnTo>
                <a:close/>
                <a:moveTo>
                  <a:pt x="1136269" y="4645025"/>
                </a:moveTo>
                <a:lnTo>
                  <a:pt x="1227455" y="4912614"/>
                </a:lnTo>
                <a:lnTo>
                  <a:pt x="1280414" y="4819523"/>
                </a:lnTo>
                <a:lnTo>
                  <a:pt x="1189101" y="4551934"/>
                </a:lnTo>
                <a:close/>
                <a:moveTo>
                  <a:pt x="995426" y="4633468"/>
                </a:moveTo>
                <a:lnTo>
                  <a:pt x="1075309" y="4912868"/>
                </a:lnTo>
                <a:lnTo>
                  <a:pt x="1130427" y="4831461"/>
                </a:lnTo>
                <a:lnTo>
                  <a:pt x="1050544" y="4552061"/>
                </a:lnTo>
                <a:close/>
                <a:moveTo>
                  <a:pt x="1558925" y="4680204"/>
                </a:moveTo>
                <a:lnTo>
                  <a:pt x="1684401" y="4912868"/>
                </a:lnTo>
                <a:lnTo>
                  <a:pt x="1730248" y="4784725"/>
                </a:lnTo>
                <a:lnTo>
                  <a:pt x="1604772" y="4551934"/>
                </a:lnTo>
                <a:close/>
                <a:moveTo>
                  <a:pt x="1277239" y="4656963"/>
                </a:moveTo>
                <a:lnTo>
                  <a:pt x="1379855" y="4912868"/>
                </a:lnTo>
                <a:lnTo>
                  <a:pt x="1430655" y="4808220"/>
                </a:lnTo>
                <a:lnTo>
                  <a:pt x="1328039" y="4552188"/>
                </a:lnTo>
                <a:close/>
                <a:moveTo>
                  <a:pt x="1699768" y="4691888"/>
                </a:moveTo>
                <a:lnTo>
                  <a:pt x="1836674" y="4912868"/>
                </a:lnTo>
                <a:lnTo>
                  <a:pt x="1880235" y="4773168"/>
                </a:lnTo>
                <a:lnTo>
                  <a:pt x="1743456" y="4552061"/>
                </a:lnTo>
                <a:close/>
                <a:moveTo>
                  <a:pt x="4375785" y="4557014"/>
                </a:moveTo>
                <a:lnTo>
                  <a:pt x="4237228" y="4552188"/>
                </a:lnTo>
                <a:lnTo>
                  <a:pt x="4237228" y="4561967"/>
                </a:lnTo>
                <a:lnTo>
                  <a:pt x="4098798" y="4552188"/>
                </a:lnTo>
                <a:lnTo>
                  <a:pt x="4098798" y="4567428"/>
                </a:lnTo>
                <a:lnTo>
                  <a:pt x="3960495" y="4552188"/>
                </a:lnTo>
                <a:lnTo>
                  <a:pt x="3960495" y="4573143"/>
                </a:lnTo>
                <a:lnTo>
                  <a:pt x="3822446" y="4552188"/>
                </a:lnTo>
                <a:lnTo>
                  <a:pt x="3821684" y="4579239"/>
                </a:lnTo>
                <a:lnTo>
                  <a:pt x="3683889" y="4552188"/>
                </a:lnTo>
                <a:lnTo>
                  <a:pt x="3682619" y="4585843"/>
                </a:lnTo>
                <a:lnTo>
                  <a:pt x="3545332" y="4552188"/>
                </a:lnTo>
                <a:lnTo>
                  <a:pt x="3543427" y="4592955"/>
                </a:lnTo>
                <a:lnTo>
                  <a:pt x="3406775" y="4552188"/>
                </a:lnTo>
                <a:lnTo>
                  <a:pt x="3403981" y="4600448"/>
                </a:lnTo>
                <a:lnTo>
                  <a:pt x="3268218" y="4552188"/>
                </a:lnTo>
                <a:lnTo>
                  <a:pt x="3264408" y="4608449"/>
                </a:lnTo>
                <a:lnTo>
                  <a:pt x="3129661" y="4552188"/>
                </a:lnTo>
                <a:lnTo>
                  <a:pt x="3124454" y="4617085"/>
                </a:lnTo>
                <a:lnTo>
                  <a:pt x="2991104" y="4552188"/>
                </a:lnTo>
                <a:lnTo>
                  <a:pt x="2984246" y="4626102"/>
                </a:lnTo>
                <a:lnTo>
                  <a:pt x="2852547" y="4552188"/>
                </a:lnTo>
                <a:lnTo>
                  <a:pt x="2843530" y="4635754"/>
                </a:lnTo>
                <a:lnTo>
                  <a:pt x="2714117" y="4552188"/>
                </a:lnTo>
                <a:lnTo>
                  <a:pt x="2702433" y="4645787"/>
                </a:lnTo>
                <a:lnTo>
                  <a:pt x="2575433" y="4552188"/>
                </a:lnTo>
                <a:lnTo>
                  <a:pt x="2560574" y="4656201"/>
                </a:lnTo>
                <a:lnTo>
                  <a:pt x="2436876" y="4552188"/>
                </a:lnTo>
                <a:lnTo>
                  <a:pt x="2418207" y="4666488"/>
                </a:lnTo>
                <a:lnTo>
                  <a:pt x="2298319" y="4552188"/>
                </a:lnTo>
                <a:lnTo>
                  <a:pt x="2275078" y="4677791"/>
                </a:lnTo>
                <a:lnTo>
                  <a:pt x="2159762" y="4552188"/>
                </a:lnTo>
                <a:lnTo>
                  <a:pt x="2130425" y="4688332"/>
                </a:lnTo>
                <a:lnTo>
                  <a:pt x="2020570" y="4552188"/>
                </a:lnTo>
                <a:lnTo>
                  <a:pt x="1985518" y="4698492"/>
                </a:lnTo>
                <a:lnTo>
                  <a:pt x="1882013" y="4552188"/>
                </a:lnTo>
                <a:lnTo>
                  <a:pt x="1840611" y="4703445"/>
                </a:lnTo>
                <a:lnTo>
                  <a:pt x="1988820" y="4912868"/>
                </a:lnTo>
                <a:lnTo>
                  <a:pt x="2026920" y="4772025"/>
                </a:lnTo>
                <a:lnTo>
                  <a:pt x="2141220" y="4912868"/>
                </a:lnTo>
                <a:lnTo>
                  <a:pt x="2172716" y="4781550"/>
                </a:lnTo>
                <a:lnTo>
                  <a:pt x="2293493" y="4912868"/>
                </a:lnTo>
                <a:lnTo>
                  <a:pt x="2318893" y="4791710"/>
                </a:lnTo>
                <a:lnTo>
                  <a:pt x="2445893" y="4912868"/>
                </a:lnTo>
                <a:lnTo>
                  <a:pt x="2466340" y="4802124"/>
                </a:lnTo>
                <a:lnTo>
                  <a:pt x="2598039" y="4912868"/>
                </a:lnTo>
                <a:lnTo>
                  <a:pt x="2614422" y="4812665"/>
                </a:lnTo>
                <a:lnTo>
                  <a:pt x="2750312" y="4912868"/>
                </a:lnTo>
                <a:lnTo>
                  <a:pt x="2763012" y="4823079"/>
                </a:lnTo>
                <a:lnTo>
                  <a:pt x="2902712" y="4912868"/>
                </a:lnTo>
                <a:lnTo>
                  <a:pt x="2912618" y="4832985"/>
                </a:lnTo>
                <a:lnTo>
                  <a:pt x="3054985" y="4912868"/>
                </a:lnTo>
                <a:lnTo>
                  <a:pt x="3062605" y="4842637"/>
                </a:lnTo>
                <a:lnTo>
                  <a:pt x="3207258" y="4912868"/>
                </a:lnTo>
                <a:lnTo>
                  <a:pt x="3212973" y="4851781"/>
                </a:lnTo>
                <a:lnTo>
                  <a:pt x="3359404" y="4912868"/>
                </a:lnTo>
                <a:lnTo>
                  <a:pt x="3363722" y="4860417"/>
                </a:lnTo>
                <a:lnTo>
                  <a:pt x="3511677" y="4912868"/>
                </a:lnTo>
                <a:lnTo>
                  <a:pt x="3514725" y="4868545"/>
                </a:lnTo>
                <a:lnTo>
                  <a:pt x="3663950" y="4912868"/>
                </a:lnTo>
                <a:lnTo>
                  <a:pt x="3666109" y="4876165"/>
                </a:lnTo>
                <a:lnTo>
                  <a:pt x="3816223" y="4912868"/>
                </a:lnTo>
                <a:lnTo>
                  <a:pt x="3817620" y="4883277"/>
                </a:lnTo>
                <a:lnTo>
                  <a:pt x="3968496" y="4912868"/>
                </a:lnTo>
                <a:lnTo>
                  <a:pt x="3969258" y="4890008"/>
                </a:lnTo>
                <a:lnTo>
                  <a:pt x="4120642" y="4912868"/>
                </a:lnTo>
                <a:lnTo>
                  <a:pt x="4120642" y="4896358"/>
                </a:lnTo>
                <a:lnTo>
                  <a:pt x="4273042" y="4912868"/>
                </a:lnTo>
                <a:lnTo>
                  <a:pt x="4273042" y="4902581"/>
                </a:lnTo>
                <a:lnTo>
                  <a:pt x="4282694" y="4902581"/>
                </a:lnTo>
                <a:lnTo>
                  <a:pt x="4376166" y="4909185"/>
                </a:lnTo>
                <a:lnTo>
                  <a:pt x="4376166" y="4912614"/>
                </a:lnTo>
                <a:lnTo>
                  <a:pt x="5360289" y="4912614"/>
                </a:lnTo>
                <a:lnTo>
                  <a:pt x="5360289" y="4551934"/>
                </a:lnTo>
                <a:lnTo>
                  <a:pt x="4375785" y="4551934"/>
                </a:lnTo>
                <a:close/>
                <a:moveTo>
                  <a:pt x="1417955" y="4668647"/>
                </a:moveTo>
                <a:lnTo>
                  <a:pt x="1532255" y="4912868"/>
                </a:lnTo>
                <a:lnTo>
                  <a:pt x="1580515" y="4796536"/>
                </a:lnTo>
                <a:lnTo>
                  <a:pt x="1466215" y="4552188"/>
                </a:lnTo>
                <a:close/>
                <a:moveTo>
                  <a:pt x="572897" y="4598797"/>
                </a:moveTo>
                <a:lnTo>
                  <a:pt x="619125" y="4912868"/>
                </a:lnTo>
                <a:lnTo>
                  <a:pt x="681228" y="4866386"/>
                </a:lnTo>
                <a:lnTo>
                  <a:pt x="635635" y="4552188"/>
                </a:lnTo>
                <a:close/>
                <a:moveTo>
                  <a:pt x="432054" y="4587113"/>
                </a:moveTo>
                <a:lnTo>
                  <a:pt x="466725" y="4912868"/>
                </a:lnTo>
                <a:lnTo>
                  <a:pt x="530225" y="4877943"/>
                </a:lnTo>
                <a:lnTo>
                  <a:pt x="496062" y="4552188"/>
                </a:lnTo>
                <a:close/>
                <a:moveTo>
                  <a:pt x="854583" y="4622038"/>
                </a:moveTo>
                <a:lnTo>
                  <a:pt x="923036" y="4912868"/>
                </a:lnTo>
                <a:lnTo>
                  <a:pt x="980440" y="4843145"/>
                </a:lnTo>
                <a:lnTo>
                  <a:pt x="911987" y="4552188"/>
                </a:lnTo>
                <a:close/>
                <a:moveTo>
                  <a:pt x="713740" y="4610481"/>
                </a:moveTo>
                <a:lnTo>
                  <a:pt x="770763" y="4912868"/>
                </a:lnTo>
                <a:lnTo>
                  <a:pt x="830453" y="4854702"/>
                </a:lnTo>
                <a:lnTo>
                  <a:pt x="773557" y="4552188"/>
                </a:lnTo>
                <a:close/>
                <a:moveTo>
                  <a:pt x="9525" y="5359908"/>
                </a:moveTo>
                <a:lnTo>
                  <a:pt x="80772" y="5359908"/>
                </a:lnTo>
                <a:lnTo>
                  <a:pt x="80772" y="4999228"/>
                </a:lnTo>
                <a:lnTo>
                  <a:pt x="9525" y="4999228"/>
                </a:lnTo>
                <a:close/>
                <a:moveTo>
                  <a:pt x="291211" y="5022469"/>
                </a:moveTo>
                <a:lnTo>
                  <a:pt x="314325" y="5359908"/>
                </a:lnTo>
                <a:lnTo>
                  <a:pt x="380873" y="5336667"/>
                </a:lnTo>
                <a:lnTo>
                  <a:pt x="358140" y="4999228"/>
                </a:lnTo>
                <a:close/>
                <a:moveTo>
                  <a:pt x="150368" y="5010912"/>
                </a:moveTo>
                <a:lnTo>
                  <a:pt x="161798" y="5359908"/>
                </a:lnTo>
                <a:lnTo>
                  <a:pt x="230759" y="5348224"/>
                </a:lnTo>
                <a:lnTo>
                  <a:pt x="219329" y="4999228"/>
                </a:lnTo>
                <a:close/>
                <a:moveTo>
                  <a:pt x="1136269" y="5092319"/>
                </a:moveTo>
                <a:lnTo>
                  <a:pt x="1227455" y="5359908"/>
                </a:lnTo>
                <a:lnTo>
                  <a:pt x="1280414" y="5266817"/>
                </a:lnTo>
                <a:lnTo>
                  <a:pt x="1189101" y="4999228"/>
                </a:lnTo>
                <a:close/>
                <a:moveTo>
                  <a:pt x="995426" y="5080635"/>
                </a:moveTo>
                <a:lnTo>
                  <a:pt x="1075309" y="5360035"/>
                </a:lnTo>
                <a:lnTo>
                  <a:pt x="1130427" y="5278628"/>
                </a:lnTo>
                <a:lnTo>
                  <a:pt x="1050544" y="4999228"/>
                </a:lnTo>
                <a:close/>
                <a:moveTo>
                  <a:pt x="1558925" y="5127625"/>
                </a:moveTo>
                <a:lnTo>
                  <a:pt x="1684401" y="5360289"/>
                </a:lnTo>
                <a:lnTo>
                  <a:pt x="1730375" y="5232273"/>
                </a:lnTo>
                <a:lnTo>
                  <a:pt x="1604899" y="4999609"/>
                </a:lnTo>
                <a:close/>
                <a:moveTo>
                  <a:pt x="1277239" y="5104257"/>
                </a:moveTo>
                <a:lnTo>
                  <a:pt x="1379855" y="5360289"/>
                </a:lnTo>
                <a:lnTo>
                  <a:pt x="1430655" y="5255514"/>
                </a:lnTo>
                <a:lnTo>
                  <a:pt x="1328039" y="4999609"/>
                </a:lnTo>
                <a:close/>
                <a:moveTo>
                  <a:pt x="1699768" y="5139182"/>
                </a:moveTo>
                <a:lnTo>
                  <a:pt x="1836674" y="5360289"/>
                </a:lnTo>
                <a:lnTo>
                  <a:pt x="1880235" y="5220589"/>
                </a:lnTo>
                <a:lnTo>
                  <a:pt x="1743456" y="4999609"/>
                </a:lnTo>
                <a:close/>
                <a:moveTo>
                  <a:pt x="4375785" y="5003927"/>
                </a:moveTo>
                <a:lnTo>
                  <a:pt x="4237228" y="4999228"/>
                </a:lnTo>
                <a:lnTo>
                  <a:pt x="4237228" y="5009007"/>
                </a:lnTo>
                <a:lnTo>
                  <a:pt x="4098798" y="4999228"/>
                </a:lnTo>
                <a:lnTo>
                  <a:pt x="4098798" y="5014341"/>
                </a:lnTo>
                <a:lnTo>
                  <a:pt x="3960495" y="4999228"/>
                </a:lnTo>
                <a:lnTo>
                  <a:pt x="3960495" y="5020056"/>
                </a:lnTo>
                <a:lnTo>
                  <a:pt x="3822446" y="4999228"/>
                </a:lnTo>
                <a:lnTo>
                  <a:pt x="3820795" y="5026025"/>
                </a:lnTo>
                <a:lnTo>
                  <a:pt x="3683000" y="4998974"/>
                </a:lnTo>
                <a:lnTo>
                  <a:pt x="3681730" y="5032629"/>
                </a:lnTo>
                <a:lnTo>
                  <a:pt x="3544443" y="4998974"/>
                </a:lnTo>
                <a:lnTo>
                  <a:pt x="3542538" y="5039614"/>
                </a:lnTo>
                <a:lnTo>
                  <a:pt x="3405886" y="4998974"/>
                </a:lnTo>
                <a:lnTo>
                  <a:pt x="3403092" y="5047107"/>
                </a:lnTo>
                <a:lnTo>
                  <a:pt x="3267329" y="4998974"/>
                </a:lnTo>
                <a:lnTo>
                  <a:pt x="3263519" y="5055235"/>
                </a:lnTo>
                <a:lnTo>
                  <a:pt x="3128772" y="4998974"/>
                </a:lnTo>
                <a:lnTo>
                  <a:pt x="3123565" y="5063744"/>
                </a:lnTo>
                <a:lnTo>
                  <a:pt x="2990215" y="4998974"/>
                </a:lnTo>
                <a:lnTo>
                  <a:pt x="2983357" y="5072888"/>
                </a:lnTo>
                <a:lnTo>
                  <a:pt x="2851658" y="4998974"/>
                </a:lnTo>
                <a:lnTo>
                  <a:pt x="2842641" y="5082413"/>
                </a:lnTo>
                <a:lnTo>
                  <a:pt x="2713228" y="4998974"/>
                </a:lnTo>
                <a:lnTo>
                  <a:pt x="2701544" y="5092446"/>
                </a:lnTo>
                <a:lnTo>
                  <a:pt x="2574544" y="4998974"/>
                </a:lnTo>
                <a:lnTo>
                  <a:pt x="2559685" y="5102987"/>
                </a:lnTo>
                <a:lnTo>
                  <a:pt x="2435987" y="4998974"/>
                </a:lnTo>
                <a:lnTo>
                  <a:pt x="2417318" y="5113274"/>
                </a:lnTo>
                <a:lnTo>
                  <a:pt x="2297430" y="4998974"/>
                </a:lnTo>
                <a:lnTo>
                  <a:pt x="2274189" y="5124450"/>
                </a:lnTo>
                <a:lnTo>
                  <a:pt x="2158873" y="4998974"/>
                </a:lnTo>
                <a:lnTo>
                  <a:pt x="2130425" y="5135372"/>
                </a:lnTo>
                <a:lnTo>
                  <a:pt x="2020570" y="4999228"/>
                </a:lnTo>
                <a:lnTo>
                  <a:pt x="1985518" y="5145405"/>
                </a:lnTo>
                <a:lnTo>
                  <a:pt x="1882013" y="4999228"/>
                </a:lnTo>
                <a:lnTo>
                  <a:pt x="1840611" y="5150485"/>
                </a:lnTo>
                <a:lnTo>
                  <a:pt x="1988820" y="5359908"/>
                </a:lnTo>
                <a:lnTo>
                  <a:pt x="2026920" y="5218938"/>
                </a:lnTo>
                <a:lnTo>
                  <a:pt x="2141220" y="5359908"/>
                </a:lnTo>
                <a:lnTo>
                  <a:pt x="2172716" y="5228463"/>
                </a:lnTo>
                <a:lnTo>
                  <a:pt x="2293493" y="5359908"/>
                </a:lnTo>
                <a:lnTo>
                  <a:pt x="2318893" y="5238623"/>
                </a:lnTo>
                <a:lnTo>
                  <a:pt x="2445893" y="5359908"/>
                </a:lnTo>
                <a:lnTo>
                  <a:pt x="2466340" y="5249164"/>
                </a:lnTo>
                <a:lnTo>
                  <a:pt x="2598039" y="5359908"/>
                </a:lnTo>
                <a:lnTo>
                  <a:pt x="2614422" y="5259705"/>
                </a:lnTo>
                <a:lnTo>
                  <a:pt x="2750312" y="5359908"/>
                </a:lnTo>
                <a:lnTo>
                  <a:pt x="2763012" y="5269992"/>
                </a:lnTo>
                <a:lnTo>
                  <a:pt x="2902712" y="5359908"/>
                </a:lnTo>
                <a:lnTo>
                  <a:pt x="2912618" y="5280025"/>
                </a:lnTo>
                <a:lnTo>
                  <a:pt x="3054985" y="5359908"/>
                </a:lnTo>
                <a:lnTo>
                  <a:pt x="3062605" y="5289550"/>
                </a:lnTo>
                <a:lnTo>
                  <a:pt x="3207258" y="5359908"/>
                </a:lnTo>
                <a:lnTo>
                  <a:pt x="3212973" y="5298694"/>
                </a:lnTo>
                <a:lnTo>
                  <a:pt x="3359404" y="5359908"/>
                </a:lnTo>
                <a:lnTo>
                  <a:pt x="3363722" y="5307330"/>
                </a:lnTo>
                <a:lnTo>
                  <a:pt x="3511677" y="5359908"/>
                </a:lnTo>
                <a:lnTo>
                  <a:pt x="3514725" y="5315458"/>
                </a:lnTo>
                <a:lnTo>
                  <a:pt x="3663950" y="5359908"/>
                </a:lnTo>
                <a:lnTo>
                  <a:pt x="3666109" y="5323078"/>
                </a:lnTo>
                <a:lnTo>
                  <a:pt x="3816223" y="5359908"/>
                </a:lnTo>
                <a:lnTo>
                  <a:pt x="3817620" y="5330317"/>
                </a:lnTo>
                <a:lnTo>
                  <a:pt x="3968496" y="5359908"/>
                </a:lnTo>
                <a:lnTo>
                  <a:pt x="3969258" y="5337048"/>
                </a:lnTo>
                <a:lnTo>
                  <a:pt x="4120642" y="5359908"/>
                </a:lnTo>
                <a:lnTo>
                  <a:pt x="4120642" y="5343271"/>
                </a:lnTo>
                <a:lnTo>
                  <a:pt x="4273042" y="5359908"/>
                </a:lnTo>
                <a:lnTo>
                  <a:pt x="4273042" y="5349494"/>
                </a:lnTo>
                <a:lnTo>
                  <a:pt x="4282694" y="5349494"/>
                </a:lnTo>
                <a:lnTo>
                  <a:pt x="4376166" y="5356098"/>
                </a:lnTo>
                <a:lnTo>
                  <a:pt x="4376166" y="5359527"/>
                </a:lnTo>
                <a:lnTo>
                  <a:pt x="5360289" y="5359527"/>
                </a:lnTo>
                <a:lnTo>
                  <a:pt x="5360289" y="4998847"/>
                </a:lnTo>
                <a:lnTo>
                  <a:pt x="4375785" y="4998847"/>
                </a:lnTo>
                <a:close/>
                <a:moveTo>
                  <a:pt x="1417955" y="5115560"/>
                </a:moveTo>
                <a:lnTo>
                  <a:pt x="1532255" y="5359908"/>
                </a:lnTo>
                <a:lnTo>
                  <a:pt x="1580515" y="5243576"/>
                </a:lnTo>
                <a:lnTo>
                  <a:pt x="1466215" y="4999228"/>
                </a:lnTo>
                <a:close/>
                <a:moveTo>
                  <a:pt x="572897" y="5045710"/>
                </a:moveTo>
                <a:lnTo>
                  <a:pt x="619125" y="5359908"/>
                </a:lnTo>
                <a:lnTo>
                  <a:pt x="681228" y="5313299"/>
                </a:lnTo>
                <a:lnTo>
                  <a:pt x="635635" y="4999228"/>
                </a:lnTo>
                <a:close/>
                <a:moveTo>
                  <a:pt x="432054" y="5034153"/>
                </a:moveTo>
                <a:lnTo>
                  <a:pt x="466725" y="5359908"/>
                </a:lnTo>
                <a:lnTo>
                  <a:pt x="530225" y="5324983"/>
                </a:lnTo>
                <a:lnTo>
                  <a:pt x="496062" y="4999228"/>
                </a:lnTo>
                <a:close/>
                <a:moveTo>
                  <a:pt x="854583" y="5069078"/>
                </a:moveTo>
                <a:lnTo>
                  <a:pt x="923036" y="5359908"/>
                </a:lnTo>
                <a:lnTo>
                  <a:pt x="980440" y="5290058"/>
                </a:lnTo>
                <a:lnTo>
                  <a:pt x="911987" y="4999228"/>
                </a:lnTo>
                <a:close/>
                <a:moveTo>
                  <a:pt x="713740" y="5057394"/>
                </a:moveTo>
                <a:lnTo>
                  <a:pt x="770763" y="5359908"/>
                </a:lnTo>
                <a:lnTo>
                  <a:pt x="830453" y="5301742"/>
                </a:lnTo>
                <a:lnTo>
                  <a:pt x="773557" y="4999228"/>
                </a:lnTo>
                <a:close/>
              </a:path>
            </a:pathLst>
          </a:custGeom>
          <a:gradFill>
            <a:gsLst>
              <a:gs pos="38000">
                <a:schemeClr val="accent1">
                  <a:alpha val="84000"/>
                </a:schemeClr>
              </a:gs>
              <a:gs pos="8000">
                <a:schemeClr val="accent3">
                  <a:lumMod val="92000"/>
                  <a:lumOff val="8000"/>
                </a:schemeClr>
              </a:gs>
              <a:gs pos="100000">
                <a:schemeClr val="accent5"/>
              </a:gs>
            </a:gsLst>
            <a:lin ang="0" scaled="0"/>
          </a:gradFill>
          <a:ln w="9525"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955F8AC6-D01B-9746-8340-895949902B54}"/>
              </a:ext>
            </a:extLst>
          </p:cNvPr>
          <p:cNvGrpSpPr/>
          <p:nvPr/>
        </p:nvGrpSpPr>
        <p:grpSpPr>
          <a:xfrm>
            <a:off x="3047" y="6305605"/>
            <a:ext cx="1254409" cy="552395"/>
            <a:chOff x="3047" y="6305605"/>
            <a:chExt cx="1254409" cy="552395"/>
          </a:xfrm>
        </p:grpSpPr>
        <p:grpSp>
          <p:nvGrpSpPr>
            <p:cNvPr id="25" name="Group 24">
              <a:extLst>
                <a:ext uri="{FF2B5EF4-FFF2-40B4-BE49-F238E27FC236}">
                  <a16:creationId xmlns:a16="http://schemas.microsoft.com/office/drawing/2014/main" id="{EFD888BE-4ED0-F149-9038-71B37FA8258D}"/>
                </a:ext>
              </a:extLst>
            </p:cNvPr>
            <p:cNvGrpSpPr/>
            <p:nvPr/>
          </p:nvGrpSpPr>
          <p:grpSpPr>
            <a:xfrm>
              <a:off x="3047" y="6305605"/>
              <a:ext cx="551693" cy="552395"/>
              <a:chOff x="3047" y="6305605"/>
              <a:chExt cx="551693" cy="552395"/>
            </a:xfrm>
          </p:grpSpPr>
          <p:sp>
            <p:nvSpPr>
              <p:cNvPr id="28" name="Rectangle 27">
                <a:extLst>
                  <a:ext uri="{FF2B5EF4-FFF2-40B4-BE49-F238E27FC236}">
                    <a16:creationId xmlns:a16="http://schemas.microsoft.com/office/drawing/2014/main" id="{3C843C41-60A6-674C-8972-909D3C6E8BF8}"/>
                  </a:ext>
                </a:extLst>
              </p:cNvPr>
              <p:cNvSpPr/>
              <p:nvPr/>
            </p:nvSpPr>
            <p:spPr>
              <a:xfrm>
                <a:off x="3047" y="6305605"/>
                <a:ext cx="551693" cy="552395"/>
              </a:xfrm>
              <a:prstGeom prst="rect">
                <a:avLst/>
              </a:prstGeom>
              <a:solidFill>
                <a:srgbClr val="5369E4"/>
              </a:solidFill>
              <a:ln w="9525"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6E151FBC-A148-F54E-A016-66F63062C45E}"/>
                  </a:ext>
                </a:extLst>
              </p:cNvPr>
              <p:cNvSpPr/>
              <p:nvPr/>
            </p:nvSpPr>
            <p:spPr>
              <a:xfrm>
                <a:off x="173577" y="6501753"/>
                <a:ext cx="279408" cy="175345"/>
              </a:xfrm>
              <a:custGeom>
                <a:avLst/>
                <a:gdLst>
                  <a:gd name="connsiteX0" fmla="*/ 102941 w 279408"/>
                  <a:gd name="connsiteY0" fmla="*/ 59439 h 175345"/>
                  <a:gd name="connsiteX1" fmla="*/ 132352 w 279408"/>
                  <a:gd name="connsiteY1" fmla="*/ 88384 h 175345"/>
                  <a:gd name="connsiteX2" fmla="*/ 102941 w 279408"/>
                  <a:gd name="connsiteY2" fmla="*/ 117329 h 175345"/>
                  <a:gd name="connsiteX3" fmla="*/ 73528 w 279408"/>
                  <a:gd name="connsiteY3" fmla="*/ 88384 h 175345"/>
                  <a:gd name="connsiteX4" fmla="*/ 102941 w 279408"/>
                  <a:gd name="connsiteY4" fmla="*/ 59439 h 175345"/>
                  <a:gd name="connsiteX5" fmla="*/ 147056 w 279408"/>
                  <a:gd name="connsiteY5" fmla="*/ 1809 h 175345"/>
                  <a:gd name="connsiteX6" fmla="*/ 205880 w 279408"/>
                  <a:gd name="connsiteY6" fmla="*/ 1809 h 175345"/>
                  <a:gd name="connsiteX7" fmla="*/ 205880 w 279408"/>
                  <a:gd name="connsiteY7" fmla="*/ 59698 h 175345"/>
                  <a:gd name="connsiteX8" fmla="*/ 205880 w 279408"/>
                  <a:gd name="connsiteY8" fmla="*/ 117457 h 175345"/>
                  <a:gd name="connsiteX9" fmla="*/ 205880 w 279408"/>
                  <a:gd name="connsiteY9" fmla="*/ 175345 h 175345"/>
                  <a:gd name="connsiteX10" fmla="*/ 147056 w 279408"/>
                  <a:gd name="connsiteY10" fmla="*/ 175345 h 175345"/>
                  <a:gd name="connsiteX11" fmla="*/ 147056 w 279408"/>
                  <a:gd name="connsiteY11" fmla="*/ 117457 h 175345"/>
                  <a:gd name="connsiteX12" fmla="*/ 147056 w 279408"/>
                  <a:gd name="connsiteY12" fmla="*/ 59698 h 175345"/>
                  <a:gd name="connsiteX13" fmla="*/ 0 w 279408"/>
                  <a:gd name="connsiteY13" fmla="*/ 1809 h 175345"/>
                  <a:gd name="connsiteX14" fmla="*/ 58824 w 279408"/>
                  <a:gd name="connsiteY14" fmla="*/ 1809 h 175345"/>
                  <a:gd name="connsiteX15" fmla="*/ 58824 w 279408"/>
                  <a:gd name="connsiteY15" fmla="*/ 59698 h 175345"/>
                  <a:gd name="connsiteX16" fmla="*/ 58824 w 279408"/>
                  <a:gd name="connsiteY16" fmla="*/ 117457 h 175345"/>
                  <a:gd name="connsiteX17" fmla="*/ 58824 w 279408"/>
                  <a:gd name="connsiteY17" fmla="*/ 175345 h 175345"/>
                  <a:gd name="connsiteX18" fmla="*/ 0 w 279408"/>
                  <a:gd name="connsiteY18" fmla="*/ 175345 h 175345"/>
                  <a:gd name="connsiteX19" fmla="*/ 0 w 279408"/>
                  <a:gd name="connsiteY19" fmla="*/ 117457 h 175345"/>
                  <a:gd name="connsiteX20" fmla="*/ 0 w 279408"/>
                  <a:gd name="connsiteY20" fmla="*/ 59698 h 175345"/>
                  <a:gd name="connsiteX21" fmla="*/ 249997 w 279408"/>
                  <a:gd name="connsiteY21" fmla="*/ 0 h 175345"/>
                  <a:gd name="connsiteX22" fmla="*/ 279408 w 279408"/>
                  <a:gd name="connsiteY22" fmla="*/ 28945 h 175345"/>
                  <a:gd name="connsiteX23" fmla="*/ 249997 w 279408"/>
                  <a:gd name="connsiteY23" fmla="*/ 57890 h 175345"/>
                  <a:gd name="connsiteX24" fmla="*/ 220584 w 279408"/>
                  <a:gd name="connsiteY24" fmla="*/ 28945 h 175345"/>
                  <a:gd name="connsiteX25" fmla="*/ 249997 w 279408"/>
                  <a:gd name="connsiteY25" fmla="*/ 0 h 175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79408" h="175345">
                    <a:moveTo>
                      <a:pt x="102941" y="59439"/>
                    </a:moveTo>
                    <a:cubicBezTo>
                      <a:pt x="119184" y="59439"/>
                      <a:pt x="132352" y="72399"/>
                      <a:pt x="132352" y="88384"/>
                    </a:cubicBezTo>
                    <a:cubicBezTo>
                      <a:pt x="132352" y="104370"/>
                      <a:pt x="119184" y="117329"/>
                      <a:pt x="102941" y="117329"/>
                    </a:cubicBezTo>
                    <a:cubicBezTo>
                      <a:pt x="86696" y="117329"/>
                      <a:pt x="73528" y="104370"/>
                      <a:pt x="73528" y="88384"/>
                    </a:cubicBezTo>
                    <a:cubicBezTo>
                      <a:pt x="73528" y="72399"/>
                      <a:pt x="86696" y="59439"/>
                      <a:pt x="102941" y="59439"/>
                    </a:cubicBezTo>
                    <a:close/>
                    <a:moveTo>
                      <a:pt x="147056" y="1809"/>
                    </a:moveTo>
                    <a:lnTo>
                      <a:pt x="205880" y="1809"/>
                    </a:lnTo>
                    <a:lnTo>
                      <a:pt x="205880" y="59698"/>
                    </a:lnTo>
                    <a:lnTo>
                      <a:pt x="205880" y="117457"/>
                    </a:lnTo>
                    <a:lnTo>
                      <a:pt x="205880" y="175345"/>
                    </a:lnTo>
                    <a:lnTo>
                      <a:pt x="147056" y="175345"/>
                    </a:lnTo>
                    <a:lnTo>
                      <a:pt x="147056" y="117457"/>
                    </a:lnTo>
                    <a:lnTo>
                      <a:pt x="147056" y="59698"/>
                    </a:lnTo>
                    <a:close/>
                    <a:moveTo>
                      <a:pt x="0" y="1809"/>
                    </a:moveTo>
                    <a:lnTo>
                      <a:pt x="58824" y="1809"/>
                    </a:lnTo>
                    <a:lnTo>
                      <a:pt x="58824" y="59698"/>
                    </a:lnTo>
                    <a:lnTo>
                      <a:pt x="58824" y="117457"/>
                    </a:lnTo>
                    <a:lnTo>
                      <a:pt x="58824" y="175345"/>
                    </a:lnTo>
                    <a:lnTo>
                      <a:pt x="0" y="175345"/>
                    </a:lnTo>
                    <a:lnTo>
                      <a:pt x="0" y="117457"/>
                    </a:lnTo>
                    <a:lnTo>
                      <a:pt x="0" y="59698"/>
                    </a:lnTo>
                    <a:close/>
                    <a:moveTo>
                      <a:pt x="249997" y="0"/>
                    </a:moveTo>
                    <a:cubicBezTo>
                      <a:pt x="266240" y="0"/>
                      <a:pt x="279408" y="12960"/>
                      <a:pt x="279408" y="28945"/>
                    </a:cubicBezTo>
                    <a:cubicBezTo>
                      <a:pt x="279408" y="44931"/>
                      <a:pt x="266240" y="57890"/>
                      <a:pt x="249997" y="57890"/>
                    </a:cubicBezTo>
                    <a:cubicBezTo>
                      <a:pt x="233752" y="57890"/>
                      <a:pt x="220584" y="44931"/>
                      <a:pt x="220584" y="28945"/>
                    </a:cubicBezTo>
                    <a:cubicBezTo>
                      <a:pt x="220584" y="12960"/>
                      <a:pt x="233752" y="0"/>
                      <a:pt x="249997" y="0"/>
                    </a:cubicBezTo>
                    <a:close/>
                  </a:path>
                </a:pathLst>
              </a:custGeom>
              <a:solidFill>
                <a:srgbClr val="FFFFFF"/>
              </a:solidFill>
              <a:ln w="9525" cap="flat">
                <a:noFill/>
                <a:prstDash val="solid"/>
                <a:miter/>
              </a:ln>
            </p:spPr>
            <p:txBody>
              <a:bodyPr wrap="square" rtlCol="0" anchor="ctr">
                <a:noAutofit/>
              </a:bodyPr>
              <a:lstStyle/>
              <a:p>
                <a:endParaRPr lang="en-US"/>
              </a:p>
            </p:txBody>
          </p:sp>
        </p:grpSp>
        <p:sp>
          <p:nvSpPr>
            <p:cNvPr id="27" name="Freeform 26">
              <a:extLst>
                <a:ext uri="{FF2B5EF4-FFF2-40B4-BE49-F238E27FC236}">
                  <a16:creationId xmlns:a16="http://schemas.microsoft.com/office/drawing/2014/main" id="{CE6871FD-295D-8B4E-B1A9-1C96F31EEBC8}"/>
                </a:ext>
              </a:extLst>
            </p:cNvPr>
            <p:cNvSpPr/>
            <p:nvPr/>
          </p:nvSpPr>
          <p:spPr>
            <a:xfrm>
              <a:off x="701664" y="6524947"/>
              <a:ext cx="555792" cy="129021"/>
            </a:xfrm>
            <a:custGeom>
              <a:avLst/>
              <a:gdLst>
                <a:gd name="connsiteX0" fmla="*/ 364489 w 555792"/>
                <a:gd name="connsiteY0" fmla="*/ 61830 h 129021"/>
                <a:gd name="connsiteX1" fmla="*/ 343312 w 555792"/>
                <a:gd name="connsiteY1" fmla="*/ 82670 h 129021"/>
                <a:gd name="connsiteX2" fmla="*/ 364489 w 555792"/>
                <a:gd name="connsiteY2" fmla="*/ 106926 h 129021"/>
                <a:gd name="connsiteX3" fmla="*/ 367960 w 555792"/>
                <a:gd name="connsiteY3" fmla="*/ 106926 h 129021"/>
                <a:gd name="connsiteX4" fmla="*/ 389136 w 555792"/>
                <a:gd name="connsiteY4" fmla="*/ 82670 h 129021"/>
                <a:gd name="connsiteX5" fmla="*/ 364489 w 555792"/>
                <a:gd name="connsiteY5" fmla="*/ 61830 h 129021"/>
                <a:gd name="connsiteX6" fmla="*/ 255246 w 555792"/>
                <a:gd name="connsiteY6" fmla="*/ 41285 h 129021"/>
                <a:gd name="connsiteX7" fmla="*/ 280588 w 555792"/>
                <a:gd name="connsiteY7" fmla="*/ 41285 h 129021"/>
                <a:gd name="connsiteX8" fmla="*/ 280588 w 555792"/>
                <a:gd name="connsiteY8" fmla="*/ 126955 h 129021"/>
                <a:gd name="connsiteX9" fmla="*/ 255246 w 555792"/>
                <a:gd name="connsiteY9" fmla="*/ 126955 h 129021"/>
                <a:gd name="connsiteX10" fmla="*/ 121846 w 555792"/>
                <a:gd name="connsiteY10" fmla="*/ 40770 h 129021"/>
                <a:gd name="connsiteX11" fmla="*/ 147188 w 555792"/>
                <a:gd name="connsiteY11" fmla="*/ 40770 h 129021"/>
                <a:gd name="connsiteX12" fmla="*/ 147188 w 555792"/>
                <a:gd name="connsiteY12" fmla="*/ 126439 h 129021"/>
                <a:gd name="connsiteX13" fmla="*/ 121846 w 555792"/>
                <a:gd name="connsiteY13" fmla="*/ 126439 h 129021"/>
                <a:gd name="connsiteX14" fmla="*/ 301329 w 555792"/>
                <a:gd name="connsiteY14" fmla="*/ 40638 h 129021"/>
                <a:gd name="connsiteX15" fmla="*/ 301859 w 555792"/>
                <a:gd name="connsiteY15" fmla="*/ 40638 h 129021"/>
                <a:gd name="connsiteX16" fmla="*/ 316958 w 555792"/>
                <a:gd name="connsiteY16" fmla="*/ 55499 h 129021"/>
                <a:gd name="connsiteX17" fmla="*/ 301859 w 555792"/>
                <a:gd name="connsiteY17" fmla="*/ 70359 h 129021"/>
                <a:gd name="connsiteX18" fmla="*/ 286885 w 555792"/>
                <a:gd name="connsiteY18" fmla="*/ 55893 h 129021"/>
                <a:gd name="connsiteX19" fmla="*/ 286890 w 555792"/>
                <a:gd name="connsiteY19" fmla="*/ 55370 h 129021"/>
                <a:gd name="connsiteX20" fmla="*/ 301329 w 555792"/>
                <a:gd name="connsiteY20" fmla="*/ 40638 h 129021"/>
                <a:gd name="connsiteX21" fmla="*/ 468871 w 555792"/>
                <a:gd name="connsiteY21" fmla="*/ 39863 h 129021"/>
                <a:gd name="connsiteX22" fmla="*/ 495131 w 555792"/>
                <a:gd name="connsiteY22" fmla="*/ 55240 h 129021"/>
                <a:gd name="connsiteX23" fmla="*/ 524542 w 555792"/>
                <a:gd name="connsiteY23" fmla="*/ 39863 h 129021"/>
                <a:gd name="connsiteX24" fmla="*/ 555716 w 555792"/>
                <a:gd name="connsiteY24" fmla="*/ 66406 h 129021"/>
                <a:gd name="connsiteX25" fmla="*/ 555792 w 555792"/>
                <a:gd name="connsiteY25" fmla="*/ 68678 h 129021"/>
                <a:gd name="connsiteX26" fmla="*/ 555792 w 555792"/>
                <a:gd name="connsiteY26" fmla="*/ 126954 h 129021"/>
                <a:gd name="connsiteX27" fmla="*/ 530582 w 555792"/>
                <a:gd name="connsiteY27" fmla="*/ 126954 h 129021"/>
                <a:gd name="connsiteX28" fmla="*/ 530582 w 555792"/>
                <a:gd name="connsiteY28" fmla="*/ 75914 h 129021"/>
                <a:gd name="connsiteX29" fmla="*/ 519946 w 555792"/>
                <a:gd name="connsiteY29" fmla="*/ 60936 h 129021"/>
                <a:gd name="connsiteX30" fmla="*/ 516402 w 555792"/>
                <a:gd name="connsiteY30" fmla="*/ 60796 h 129021"/>
                <a:gd name="connsiteX31" fmla="*/ 499858 w 555792"/>
                <a:gd name="connsiteY31" fmla="*/ 83150 h 129021"/>
                <a:gd name="connsiteX32" fmla="*/ 499858 w 555792"/>
                <a:gd name="connsiteY32" fmla="*/ 126954 h 129021"/>
                <a:gd name="connsiteX33" fmla="*/ 474780 w 555792"/>
                <a:gd name="connsiteY33" fmla="*/ 126954 h 129021"/>
                <a:gd name="connsiteX34" fmla="*/ 474780 w 555792"/>
                <a:gd name="connsiteY34" fmla="*/ 75914 h 129021"/>
                <a:gd name="connsiteX35" fmla="*/ 464116 w 555792"/>
                <a:gd name="connsiteY35" fmla="*/ 60954 h 129021"/>
                <a:gd name="connsiteX36" fmla="*/ 460862 w 555792"/>
                <a:gd name="connsiteY36" fmla="*/ 60796 h 129021"/>
                <a:gd name="connsiteX37" fmla="*/ 444318 w 555792"/>
                <a:gd name="connsiteY37" fmla="*/ 83150 h 129021"/>
                <a:gd name="connsiteX38" fmla="*/ 444318 w 555792"/>
                <a:gd name="connsiteY38" fmla="*/ 126954 h 129021"/>
                <a:gd name="connsiteX39" fmla="*/ 418977 w 555792"/>
                <a:gd name="connsiteY39" fmla="*/ 126954 h 129021"/>
                <a:gd name="connsiteX40" fmla="*/ 418977 w 555792"/>
                <a:gd name="connsiteY40" fmla="*/ 41285 h 129021"/>
                <a:gd name="connsiteX41" fmla="*/ 444318 w 555792"/>
                <a:gd name="connsiteY41" fmla="*/ 41285 h 129021"/>
                <a:gd name="connsiteX42" fmla="*/ 444318 w 555792"/>
                <a:gd name="connsiteY42" fmla="*/ 52785 h 129021"/>
                <a:gd name="connsiteX43" fmla="*/ 468871 w 555792"/>
                <a:gd name="connsiteY43" fmla="*/ 39863 h 129021"/>
                <a:gd name="connsiteX44" fmla="*/ 364489 w 555792"/>
                <a:gd name="connsiteY44" fmla="*/ 39863 h 129021"/>
                <a:gd name="connsiteX45" fmla="*/ 409656 w 555792"/>
                <a:gd name="connsiteY45" fmla="*/ 84443 h 129021"/>
                <a:gd name="connsiteX46" fmla="*/ 409656 w 555792"/>
                <a:gd name="connsiteY46" fmla="*/ 84572 h 129021"/>
                <a:gd name="connsiteX47" fmla="*/ 364227 w 555792"/>
                <a:gd name="connsiteY47" fmla="*/ 129021 h 129021"/>
                <a:gd name="connsiteX48" fmla="*/ 319059 w 555792"/>
                <a:gd name="connsiteY48" fmla="*/ 84313 h 129021"/>
                <a:gd name="connsiteX49" fmla="*/ 364489 w 555792"/>
                <a:gd name="connsiteY49" fmla="*/ 39863 h 129021"/>
                <a:gd name="connsiteX50" fmla="*/ 0 w 555792"/>
                <a:gd name="connsiteY50" fmla="*/ 7947 h 129021"/>
                <a:gd name="connsiteX51" fmla="*/ 27179 w 555792"/>
                <a:gd name="connsiteY51" fmla="*/ 7947 h 129021"/>
                <a:gd name="connsiteX52" fmla="*/ 27179 w 555792"/>
                <a:gd name="connsiteY52" fmla="*/ 54206 h 129021"/>
                <a:gd name="connsiteX53" fmla="*/ 75236 w 555792"/>
                <a:gd name="connsiteY53" fmla="*/ 54206 h 129021"/>
                <a:gd name="connsiteX54" fmla="*/ 75236 w 555792"/>
                <a:gd name="connsiteY54" fmla="*/ 7947 h 129021"/>
                <a:gd name="connsiteX55" fmla="*/ 102678 w 555792"/>
                <a:gd name="connsiteY55" fmla="*/ 7947 h 129021"/>
                <a:gd name="connsiteX56" fmla="*/ 102678 w 555792"/>
                <a:gd name="connsiteY56" fmla="*/ 126954 h 129021"/>
                <a:gd name="connsiteX57" fmla="*/ 75236 w 555792"/>
                <a:gd name="connsiteY57" fmla="*/ 126954 h 129021"/>
                <a:gd name="connsiteX58" fmla="*/ 75236 w 555792"/>
                <a:gd name="connsiteY58" fmla="*/ 77207 h 129021"/>
                <a:gd name="connsiteX59" fmla="*/ 27179 w 555792"/>
                <a:gd name="connsiteY59" fmla="*/ 77207 h 129021"/>
                <a:gd name="connsiteX60" fmla="*/ 27179 w 555792"/>
                <a:gd name="connsiteY60" fmla="*/ 126954 h 129021"/>
                <a:gd name="connsiteX61" fmla="*/ 0 w 555792"/>
                <a:gd name="connsiteY61" fmla="*/ 126954 h 129021"/>
                <a:gd name="connsiteX62" fmla="*/ 210736 w 555792"/>
                <a:gd name="connsiteY62" fmla="*/ 6526 h 129021"/>
                <a:gd name="connsiteX63" fmla="*/ 236078 w 555792"/>
                <a:gd name="connsiteY63" fmla="*/ 6526 h 129021"/>
                <a:gd name="connsiteX64" fmla="*/ 236078 w 555792"/>
                <a:gd name="connsiteY64" fmla="*/ 126955 h 129021"/>
                <a:gd name="connsiteX65" fmla="*/ 210736 w 555792"/>
                <a:gd name="connsiteY65" fmla="*/ 126955 h 129021"/>
                <a:gd name="connsiteX66" fmla="*/ 166619 w 555792"/>
                <a:gd name="connsiteY66" fmla="*/ 6526 h 129021"/>
                <a:gd name="connsiteX67" fmla="*/ 192093 w 555792"/>
                <a:gd name="connsiteY67" fmla="*/ 6526 h 129021"/>
                <a:gd name="connsiteX68" fmla="*/ 192093 w 555792"/>
                <a:gd name="connsiteY68" fmla="*/ 126955 h 129021"/>
                <a:gd name="connsiteX69" fmla="*/ 166619 w 555792"/>
                <a:gd name="connsiteY69" fmla="*/ 126955 h 129021"/>
                <a:gd name="connsiteX70" fmla="*/ 134188 w 555792"/>
                <a:gd name="connsiteY70" fmla="*/ 66 h 129021"/>
                <a:gd name="connsiteX71" fmla="*/ 134452 w 555792"/>
                <a:gd name="connsiteY71" fmla="*/ 66 h 129021"/>
                <a:gd name="connsiteX72" fmla="*/ 151030 w 555792"/>
                <a:gd name="connsiteY72" fmla="*/ 13600 h 129021"/>
                <a:gd name="connsiteX73" fmla="*/ 137277 w 555792"/>
                <a:gd name="connsiteY73" fmla="*/ 29915 h 129021"/>
                <a:gd name="connsiteX74" fmla="*/ 134452 w 555792"/>
                <a:gd name="connsiteY74" fmla="*/ 29915 h 129021"/>
                <a:gd name="connsiteX75" fmla="*/ 119350 w 555792"/>
                <a:gd name="connsiteY75" fmla="*/ 15316 h 129021"/>
                <a:gd name="connsiteX76" fmla="*/ 119352 w 555792"/>
                <a:gd name="connsiteY76" fmla="*/ 14926 h 129021"/>
                <a:gd name="connsiteX77" fmla="*/ 134188 w 555792"/>
                <a:gd name="connsiteY77" fmla="*/ 66 h 129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555792" h="129021">
                  <a:moveTo>
                    <a:pt x="364489" y="61830"/>
                  </a:moveTo>
                  <a:cubicBezTo>
                    <a:pt x="353167" y="62674"/>
                    <a:pt x="344170" y="71529"/>
                    <a:pt x="343312" y="82670"/>
                  </a:cubicBezTo>
                  <a:cubicBezTo>
                    <a:pt x="342353" y="95123"/>
                    <a:pt x="351834" y="105983"/>
                    <a:pt x="364489" y="106926"/>
                  </a:cubicBezTo>
                  <a:cubicBezTo>
                    <a:pt x="365644" y="107012"/>
                    <a:pt x="366805" y="107012"/>
                    <a:pt x="367960" y="106926"/>
                  </a:cubicBezTo>
                  <a:cubicBezTo>
                    <a:pt x="380614" y="105983"/>
                    <a:pt x="390095" y="95123"/>
                    <a:pt x="389136" y="82670"/>
                  </a:cubicBezTo>
                  <a:cubicBezTo>
                    <a:pt x="388178" y="70217"/>
                    <a:pt x="377143" y="60887"/>
                    <a:pt x="364489" y="61830"/>
                  </a:cubicBezTo>
                  <a:close/>
                  <a:moveTo>
                    <a:pt x="255246" y="41285"/>
                  </a:moveTo>
                  <a:lnTo>
                    <a:pt x="280588" y="41285"/>
                  </a:lnTo>
                  <a:lnTo>
                    <a:pt x="280588" y="126955"/>
                  </a:lnTo>
                  <a:lnTo>
                    <a:pt x="255246" y="126955"/>
                  </a:lnTo>
                  <a:close/>
                  <a:moveTo>
                    <a:pt x="121846" y="40770"/>
                  </a:moveTo>
                  <a:lnTo>
                    <a:pt x="147188" y="40770"/>
                  </a:lnTo>
                  <a:lnTo>
                    <a:pt x="147188" y="126439"/>
                  </a:lnTo>
                  <a:lnTo>
                    <a:pt x="121846" y="126439"/>
                  </a:lnTo>
                  <a:close/>
                  <a:moveTo>
                    <a:pt x="301329" y="40638"/>
                  </a:moveTo>
                  <a:cubicBezTo>
                    <a:pt x="301505" y="40635"/>
                    <a:pt x="301682" y="40635"/>
                    <a:pt x="301859" y="40638"/>
                  </a:cubicBezTo>
                  <a:cubicBezTo>
                    <a:pt x="310198" y="40638"/>
                    <a:pt x="316958" y="47292"/>
                    <a:pt x="316958" y="55499"/>
                  </a:cubicBezTo>
                  <a:cubicBezTo>
                    <a:pt x="316958" y="63706"/>
                    <a:pt x="310198" y="70359"/>
                    <a:pt x="301859" y="70359"/>
                  </a:cubicBezTo>
                  <a:cubicBezTo>
                    <a:pt x="293664" y="70433"/>
                    <a:pt x="286961" y="63956"/>
                    <a:pt x="286885" y="55893"/>
                  </a:cubicBezTo>
                  <a:cubicBezTo>
                    <a:pt x="286883" y="55718"/>
                    <a:pt x="286885" y="55544"/>
                    <a:pt x="286890" y="55370"/>
                  </a:cubicBezTo>
                  <a:cubicBezTo>
                    <a:pt x="286743" y="47379"/>
                    <a:pt x="293207" y="40783"/>
                    <a:pt x="301329" y="40638"/>
                  </a:cubicBezTo>
                  <a:close/>
                  <a:moveTo>
                    <a:pt x="468871" y="39863"/>
                  </a:moveTo>
                  <a:cubicBezTo>
                    <a:pt x="480066" y="38933"/>
                    <a:pt x="490621" y="45114"/>
                    <a:pt x="495131" y="55240"/>
                  </a:cubicBezTo>
                  <a:cubicBezTo>
                    <a:pt x="501466" y="45339"/>
                    <a:pt x="512660" y="39487"/>
                    <a:pt x="524542" y="39863"/>
                  </a:cubicBezTo>
                  <a:cubicBezTo>
                    <a:pt x="540599" y="38721"/>
                    <a:pt x="554556" y="50605"/>
                    <a:pt x="555716" y="66406"/>
                  </a:cubicBezTo>
                  <a:cubicBezTo>
                    <a:pt x="555772" y="67162"/>
                    <a:pt x="555797" y="67920"/>
                    <a:pt x="555792" y="68678"/>
                  </a:cubicBezTo>
                  <a:lnTo>
                    <a:pt x="555792" y="126954"/>
                  </a:lnTo>
                  <a:lnTo>
                    <a:pt x="530582" y="126954"/>
                  </a:lnTo>
                  <a:lnTo>
                    <a:pt x="530582" y="75914"/>
                  </a:lnTo>
                  <a:cubicBezTo>
                    <a:pt x="531848" y="68888"/>
                    <a:pt x="527086" y="62181"/>
                    <a:pt x="519946" y="60936"/>
                  </a:cubicBezTo>
                  <a:cubicBezTo>
                    <a:pt x="518776" y="60732"/>
                    <a:pt x="517584" y="60685"/>
                    <a:pt x="516402" y="60796"/>
                  </a:cubicBezTo>
                  <a:cubicBezTo>
                    <a:pt x="505898" y="60796"/>
                    <a:pt x="499858" y="69324"/>
                    <a:pt x="499858" y="83150"/>
                  </a:cubicBezTo>
                  <a:lnTo>
                    <a:pt x="499858" y="126954"/>
                  </a:lnTo>
                  <a:lnTo>
                    <a:pt x="474780" y="126954"/>
                  </a:lnTo>
                  <a:lnTo>
                    <a:pt x="474780" y="75914"/>
                  </a:lnTo>
                  <a:cubicBezTo>
                    <a:pt x="476033" y="68885"/>
                    <a:pt x="471259" y="62187"/>
                    <a:pt x="464116" y="60954"/>
                  </a:cubicBezTo>
                  <a:cubicBezTo>
                    <a:pt x="463043" y="60769"/>
                    <a:pt x="461949" y="60716"/>
                    <a:pt x="460862" y="60796"/>
                  </a:cubicBezTo>
                  <a:cubicBezTo>
                    <a:pt x="450489" y="60796"/>
                    <a:pt x="444318" y="69454"/>
                    <a:pt x="444318" y="83150"/>
                  </a:cubicBezTo>
                  <a:lnTo>
                    <a:pt x="444318" y="126954"/>
                  </a:lnTo>
                  <a:lnTo>
                    <a:pt x="418977" y="126954"/>
                  </a:lnTo>
                  <a:lnTo>
                    <a:pt x="418977" y="41285"/>
                  </a:lnTo>
                  <a:lnTo>
                    <a:pt x="444318" y="41285"/>
                  </a:lnTo>
                  <a:lnTo>
                    <a:pt x="444318" y="52785"/>
                  </a:lnTo>
                  <a:cubicBezTo>
                    <a:pt x="449587" y="44489"/>
                    <a:pt x="458935" y="39570"/>
                    <a:pt x="468871" y="39863"/>
                  </a:cubicBezTo>
                  <a:close/>
                  <a:moveTo>
                    <a:pt x="364489" y="39863"/>
                  </a:moveTo>
                  <a:cubicBezTo>
                    <a:pt x="389455" y="39935"/>
                    <a:pt x="409656" y="59873"/>
                    <a:pt x="409656" y="84443"/>
                  </a:cubicBezTo>
                  <a:cubicBezTo>
                    <a:pt x="409656" y="84486"/>
                    <a:pt x="409656" y="84529"/>
                    <a:pt x="409656" y="84572"/>
                  </a:cubicBezTo>
                  <a:cubicBezTo>
                    <a:pt x="409583" y="109192"/>
                    <a:pt x="389244" y="129093"/>
                    <a:pt x="364227" y="129021"/>
                  </a:cubicBezTo>
                  <a:cubicBezTo>
                    <a:pt x="339208" y="128950"/>
                    <a:pt x="318986" y="108934"/>
                    <a:pt x="319059" y="84313"/>
                  </a:cubicBezTo>
                  <a:cubicBezTo>
                    <a:pt x="319131" y="59693"/>
                    <a:pt x="339471" y="39792"/>
                    <a:pt x="364489" y="39863"/>
                  </a:cubicBezTo>
                  <a:close/>
                  <a:moveTo>
                    <a:pt x="0" y="7947"/>
                  </a:moveTo>
                  <a:lnTo>
                    <a:pt x="27179" y="7947"/>
                  </a:lnTo>
                  <a:lnTo>
                    <a:pt x="27179" y="54206"/>
                  </a:lnTo>
                  <a:lnTo>
                    <a:pt x="75236" y="54206"/>
                  </a:lnTo>
                  <a:lnTo>
                    <a:pt x="75236" y="7947"/>
                  </a:lnTo>
                  <a:lnTo>
                    <a:pt x="102678" y="7947"/>
                  </a:lnTo>
                  <a:lnTo>
                    <a:pt x="102678" y="126954"/>
                  </a:lnTo>
                  <a:lnTo>
                    <a:pt x="75236" y="126954"/>
                  </a:lnTo>
                  <a:lnTo>
                    <a:pt x="75236" y="77207"/>
                  </a:lnTo>
                  <a:lnTo>
                    <a:pt x="27179" y="77207"/>
                  </a:lnTo>
                  <a:lnTo>
                    <a:pt x="27179" y="126954"/>
                  </a:lnTo>
                  <a:lnTo>
                    <a:pt x="0" y="126954"/>
                  </a:lnTo>
                  <a:close/>
                  <a:moveTo>
                    <a:pt x="210736" y="6526"/>
                  </a:moveTo>
                  <a:lnTo>
                    <a:pt x="236078" y="6526"/>
                  </a:lnTo>
                  <a:lnTo>
                    <a:pt x="236078" y="126955"/>
                  </a:lnTo>
                  <a:lnTo>
                    <a:pt x="210736" y="126955"/>
                  </a:lnTo>
                  <a:close/>
                  <a:moveTo>
                    <a:pt x="166619" y="6526"/>
                  </a:moveTo>
                  <a:lnTo>
                    <a:pt x="192093" y="6526"/>
                  </a:lnTo>
                  <a:lnTo>
                    <a:pt x="192093" y="126955"/>
                  </a:lnTo>
                  <a:lnTo>
                    <a:pt x="166619" y="126955"/>
                  </a:lnTo>
                  <a:close/>
                  <a:moveTo>
                    <a:pt x="134188" y="66"/>
                  </a:moveTo>
                  <a:cubicBezTo>
                    <a:pt x="134276" y="65"/>
                    <a:pt x="134364" y="65"/>
                    <a:pt x="134452" y="66"/>
                  </a:cubicBezTo>
                  <a:cubicBezTo>
                    <a:pt x="142828" y="-702"/>
                    <a:pt x="150250" y="5357"/>
                    <a:pt x="151030" y="13600"/>
                  </a:cubicBezTo>
                  <a:cubicBezTo>
                    <a:pt x="151810" y="21842"/>
                    <a:pt x="145653" y="29148"/>
                    <a:pt x="137277" y="29915"/>
                  </a:cubicBezTo>
                  <a:cubicBezTo>
                    <a:pt x="136338" y="30002"/>
                    <a:pt x="135392" y="30002"/>
                    <a:pt x="134452" y="29915"/>
                  </a:cubicBezTo>
                  <a:cubicBezTo>
                    <a:pt x="126185" y="29988"/>
                    <a:pt x="119424" y="23451"/>
                    <a:pt x="119350" y="15316"/>
                  </a:cubicBezTo>
                  <a:cubicBezTo>
                    <a:pt x="119349" y="15186"/>
                    <a:pt x="119349" y="15056"/>
                    <a:pt x="119352" y="14926"/>
                  </a:cubicBezTo>
                  <a:cubicBezTo>
                    <a:pt x="119279" y="6790"/>
                    <a:pt x="125921" y="137"/>
                    <a:pt x="134188" y="66"/>
                  </a:cubicBezTo>
                  <a:close/>
                </a:path>
              </a:pathLst>
            </a:custGeom>
            <a:solidFill>
              <a:schemeClr val="bg1"/>
            </a:solidFill>
            <a:ln w="9525" cap="flat">
              <a:noFill/>
              <a:prstDash val="solid"/>
              <a:miter/>
            </a:ln>
          </p:spPr>
          <p:txBody>
            <a:bodyPr wrap="square" rtlCol="0" anchor="ctr">
              <a:noAutofit/>
            </a:bodyPr>
            <a:lstStyle/>
            <a:p>
              <a:endParaRPr lang="en-US"/>
            </a:p>
          </p:txBody>
        </p:sp>
      </p:grpSp>
    </p:spTree>
    <p:extLst>
      <p:ext uri="{BB962C8B-B14F-4D97-AF65-F5344CB8AC3E}">
        <p14:creationId xmlns:p14="http://schemas.microsoft.com/office/powerpoint/2010/main" val="265217590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6018281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978891D-A1B2-4803-8CE5-704822140BC9}" type="datetimeFigureOut">
              <a:rPr lang="en-US" smtClean="0"/>
              <a:t>1/27/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B3C441C-A16D-4531-8F9E-BFE4D57FBC82}" type="slidenum">
              <a:rPr lang="en-US" smtClean="0"/>
              <a:t>‹N°›</a:t>
            </a:fld>
            <a:endParaRPr lang="en-US"/>
          </a:p>
        </p:txBody>
      </p:sp>
    </p:spTree>
    <p:extLst>
      <p:ext uri="{BB962C8B-B14F-4D97-AF65-F5344CB8AC3E}">
        <p14:creationId xmlns:p14="http://schemas.microsoft.com/office/powerpoint/2010/main" val="44326587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1 Column">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BD7DDE6B-A92F-2C4D-AE1A-BA24EAEF03A2}"/>
              </a:ext>
            </a:extLst>
          </p:cNvPr>
          <p:cNvGrpSpPr/>
          <p:nvPr userDrawn="1"/>
        </p:nvGrpSpPr>
        <p:grpSpPr>
          <a:xfrm>
            <a:off x="3047" y="6305605"/>
            <a:ext cx="1254409" cy="552395"/>
            <a:chOff x="3047" y="6305605"/>
            <a:chExt cx="1254409" cy="552395"/>
          </a:xfrm>
        </p:grpSpPr>
        <p:grpSp>
          <p:nvGrpSpPr>
            <p:cNvPr id="3" name="Group 2">
              <a:extLst>
                <a:ext uri="{FF2B5EF4-FFF2-40B4-BE49-F238E27FC236}">
                  <a16:creationId xmlns:a16="http://schemas.microsoft.com/office/drawing/2014/main" id="{C2C420B7-CD0D-B044-B4DD-3BDFA3BE9375}"/>
                </a:ext>
              </a:extLst>
            </p:cNvPr>
            <p:cNvGrpSpPr/>
            <p:nvPr userDrawn="1"/>
          </p:nvGrpSpPr>
          <p:grpSpPr>
            <a:xfrm>
              <a:off x="3047" y="6305605"/>
              <a:ext cx="551693" cy="552395"/>
              <a:chOff x="3047" y="6305605"/>
              <a:chExt cx="551693" cy="552395"/>
            </a:xfrm>
          </p:grpSpPr>
          <p:sp>
            <p:nvSpPr>
              <p:cNvPr id="36" name="Rectangle 35">
                <a:extLst>
                  <a:ext uri="{FF2B5EF4-FFF2-40B4-BE49-F238E27FC236}">
                    <a16:creationId xmlns:a16="http://schemas.microsoft.com/office/drawing/2014/main" id="{5970CBC5-595B-194B-8F19-7498A25049AC}"/>
                  </a:ext>
                </a:extLst>
              </p:cNvPr>
              <p:cNvSpPr/>
              <p:nvPr/>
            </p:nvSpPr>
            <p:spPr>
              <a:xfrm>
                <a:off x="3047" y="6305605"/>
                <a:ext cx="551693" cy="552395"/>
              </a:xfrm>
              <a:prstGeom prst="rect">
                <a:avLst/>
              </a:prstGeom>
              <a:solidFill>
                <a:srgbClr val="5369E4"/>
              </a:solidFill>
              <a:ln w="9525"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CB3E6D70-C07E-1142-9888-93D5891C7400}"/>
                  </a:ext>
                </a:extLst>
              </p:cNvPr>
              <p:cNvSpPr/>
              <p:nvPr/>
            </p:nvSpPr>
            <p:spPr>
              <a:xfrm>
                <a:off x="173577" y="6501753"/>
                <a:ext cx="279408" cy="175345"/>
              </a:xfrm>
              <a:custGeom>
                <a:avLst/>
                <a:gdLst>
                  <a:gd name="connsiteX0" fmla="*/ 102941 w 279408"/>
                  <a:gd name="connsiteY0" fmla="*/ 59439 h 175345"/>
                  <a:gd name="connsiteX1" fmla="*/ 132352 w 279408"/>
                  <a:gd name="connsiteY1" fmla="*/ 88384 h 175345"/>
                  <a:gd name="connsiteX2" fmla="*/ 102941 w 279408"/>
                  <a:gd name="connsiteY2" fmla="*/ 117329 h 175345"/>
                  <a:gd name="connsiteX3" fmla="*/ 73528 w 279408"/>
                  <a:gd name="connsiteY3" fmla="*/ 88384 h 175345"/>
                  <a:gd name="connsiteX4" fmla="*/ 102941 w 279408"/>
                  <a:gd name="connsiteY4" fmla="*/ 59439 h 175345"/>
                  <a:gd name="connsiteX5" fmla="*/ 147056 w 279408"/>
                  <a:gd name="connsiteY5" fmla="*/ 1809 h 175345"/>
                  <a:gd name="connsiteX6" fmla="*/ 205880 w 279408"/>
                  <a:gd name="connsiteY6" fmla="*/ 1809 h 175345"/>
                  <a:gd name="connsiteX7" fmla="*/ 205880 w 279408"/>
                  <a:gd name="connsiteY7" fmla="*/ 59698 h 175345"/>
                  <a:gd name="connsiteX8" fmla="*/ 205880 w 279408"/>
                  <a:gd name="connsiteY8" fmla="*/ 117457 h 175345"/>
                  <a:gd name="connsiteX9" fmla="*/ 205880 w 279408"/>
                  <a:gd name="connsiteY9" fmla="*/ 175345 h 175345"/>
                  <a:gd name="connsiteX10" fmla="*/ 147056 w 279408"/>
                  <a:gd name="connsiteY10" fmla="*/ 175345 h 175345"/>
                  <a:gd name="connsiteX11" fmla="*/ 147056 w 279408"/>
                  <a:gd name="connsiteY11" fmla="*/ 117457 h 175345"/>
                  <a:gd name="connsiteX12" fmla="*/ 147056 w 279408"/>
                  <a:gd name="connsiteY12" fmla="*/ 59698 h 175345"/>
                  <a:gd name="connsiteX13" fmla="*/ 0 w 279408"/>
                  <a:gd name="connsiteY13" fmla="*/ 1809 h 175345"/>
                  <a:gd name="connsiteX14" fmla="*/ 58824 w 279408"/>
                  <a:gd name="connsiteY14" fmla="*/ 1809 h 175345"/>
                  <a:gd name="connsiteX15" fmla="*/ 58824 w 279408"/>
                  <a:gd name="connsiteY15" fmla="*/ 59698 h 175345"/>
                  <a:gd name="connsiteX16" fmla="*/ 58824 w 279408"/>
                  <a:gd name="connsiteY16" fmla="*/ 117457 h 175345"/>
                  <a:gd name="connsiteX17" fmla="*/ 58824 w 279408"/>
                  <a:gd name="connsiteY17" fmla="*/ 175345 h 175345"/>
                  <a:gd name="connsiteX18" fmla="*/ 0 w 279408"/>
                  <a:gd name="connsiteY18" fmla="*/ 175345 h 175345"/>
                  <a:gd name="connsiteX19" fmla="*/ 0 w 279408"/>
                  <a:gd name="connsiteY19" fmla="*/ 117457 h 175345"/>
                  <a:gd name="connsiteX20" fmla="*/ 0 w 279408"/>
                  <a:gd name="connsiteY20" fmla="*/ 59698 h 175345"/>
                  <a:gd name="connsiteX21" fmla="*/ 249997 w 279408"/>
                  <a:gd name="connsiteY21" fmla="*/ 0 h 175345"/>
                  <a:gd name="connsiteX22" fmla="*/ 279408 w 279408"/>
                  <a:gd name="connsiteY22" fmla="*/ 28945 h 175345"/>
                  <a:gd name="connsiteX23" fmla="*/ 249997 w 279408"/>
                  <a:gd name="connsiteY23" fmla="*/ 57890 h 175345"/>
                  <a:gd name="connsiteX24" fmla="*/ 220584 w 279408"/>
                  <a:gd name="connsiteY24" fmla="*/ 28945 h 175345"/>
                  <a:gd name="connsiteX25" fmla="*/ 249997 w 279408"/>
                  <a:gd name="connsiteY25" fmla="*/ 0 h 175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79408" h="175345">
                    <a:moveTo>
                      <a:pt x="102941" y="59439"/>
                    </a:moveTo>
                    <a:cubicBezTo>
                      <a:pt x="119184" y="59439"/>
                      <a:pt x="132352" y="72399"/>
                      <a:pt x="132352" y="88384"/>
                    </a:cubicBezTo>
                    <a:cubicBezTo>
                      <a:pt x="132352" y="104370"/>
                      <a:pt x="119184" y="117329"/>
                      <a:pt x="102941" y="117329"/>
                    </a:cubicBezTo>
                    <a:cubicBezTo>
                      <a:pt x="86696" y="117329"/>
                      <a:pt x="73528" y="104370"/>
                      <a:pt x="73528" y="88384"/>
                    </a:cubicBezTo>
                    <a:cubicBezTo>
                      <a:pt x="73528" y="72399"/>
                      <a:pt x="86696" y="59439"/>
                      <a:pt x="102941" y="59439"/>
                    </a:cubicBezTo>
                    <a:close/>
                    <a:moveTo>
                      <a:pt x="147056" y="1809"/>
                    </a:moveTo>
                    <a:lnTo>
                      <a:pt x="205880" y="1809"/>
                    </a:lnTo>
                    <a:lnTo>
                      <a:pt x="205880" y="59698"/>
                    </a:lnTo>
                    <a:lnTo>
                      <a:pt x="205880" y="117457"/>
                    </a:lnTo>
                    <a:lnTo>
                      <a:pt x="205880" y="175345"/>
                    </a:lnTo>
                    <a:lnTo>
                      <a:pt x="147056" y="175345"/>
                    </a:lnTo>
                    <a:lnTo>
                      <a:pt x="147056" y="117457"/>
                    </a:lnTo>
                    <a:lnTo>
                      <a:pt x="147056" y="59698"/>
                    </a:lnTo>
                    <a:close/>
                    <a:moveTo>
                      <a:pt x="0" y="1809"/>
                    </a:moveTo>
                    <a:lnTo>
                      <a:pt x="58824" y="1809"/>
                    </a:lnTo>
                    <a:lnTo>
                      <a:pt x="58824" y="59698"/>
                    </a:lnTo>
                    <a:lnTo>
                      <a:pt x="58824" y="117457"/>
                    </a:lnTo>
                    <a:lnTo>
                      <a:pt x="58824" y="175345"/>
                    </a:lnTo>
                    <a:lnTo>
                      <a:pt x="0" y="175345"/>
                    </a:lnTo>
                    <a:lnTo>
                      <a:pt x="0" y="117457"/>
                    </a:lnTo>
                    <a:lnTo>
                      <a:pt x="0" y="59698"/>
                    </a:lnTo>
                    <a:close/>
                    <a:moveTo>
                      <a:pt x="249997" y="0"/>
                    </a:moveTo>
                    <a:cubicBezTo>
                      <a:pt x="266240" y="0"/>
                      <a:pt x="279408" y="12960"/>
                      <a:pt x="279408" y="28945"/>
                    </a:cubicBezTo>
                    <a:cubicBezTo>
                      <a:pt x="279408" y="44931"/>
                      <a:pt x="266240" y="57890"/>
                      <a:pt x="249997" y="57890"/>
                    </a:cubicBezTo>
                    <a:cubicBezTo>
                      <a:pt x="233752" y="57890"/>
                      <a:pt x="220584" y="44931"/>
                      <a:pt x="220584" y="28945"/>
                    </a:cubicBezTo>
                    <a:cubicBezTo>
                      <a:pt x="220584" y="12960"/>
                      <a:pt x="233752" y="0"/>
                      <a:pt x="249997" y="0"/>
                    </a:cubicBezTo>
                    <a:close/>
                  </a:path>
                </a:pathLst>
              </a:custGeom>
              <a:solidFill>
                <a:srgbClr val="FFFFFF"/>
              </a:solidFill>
              <a:ln w="9525" cap="flat">
                <a:noFill/>
                <a:prstDash val="solid"/>
                <a:miter/>
              </a:ln>
            </p:spPr>
            <p:txBody>
              <a:bodyPr wrap="square" rtlCol="0" anchor="ctr">
                <a:noAutofit/>
              </a:bodyPr>
              <a:lstStyle/>
              <a:p>
                <a:endParaRPr lang="en-US"/>
              </a:p>
            </p:txBody>
          </p:sp>
        </p:grpSp>
        <p:sp>
          <p:nvSpPr>
            <p:cNvPr id="32" name="Freeform 31">
              <a:extLst>
                <a:ext uri="{FF2B5EF4-FFF2-40B4-BE49-F238E27FC236}">
                  <a16:creationId xmlns:a16="http://schemas.microsoft.com/office/drawing/2014/main" id="{319ADA1A-86D5-8541-BCC7-6D86FFA4F7F1}"/>
                </a:ext>
              </a:extLst>
            </p:cNvPr>
            <p:cNvSpPr/>
            <p:nvPr/>
          </p:nvSpPr>
          <p:spPr>
            <a:xfrm>
              <a:off x="701664" y="6524947"/>
              <a:ext cx="555792" cy="129021"/>
            </a:xfrm>
            <a:custGeom>
              <a:avLst/>
              <a:gdLst>
                <a:gd name="connsiteX0" fmla="*/ 364489 w 555792"/>
                <a:gd name="connsiteY0" fmla="*/ 61830 h 129021"/>
                <a:gd name="connsiteX1" fmla="*/ 343312 w 555792"/>
                <a:gd name="connsiteY1" fmla="*/ 82670 h 129021"/>
                <a:gd name="connsiteX2" fmla="*/ 364489 w 555792"/>
                <a:gd name="connsiteY2" fmla="*/ 106926 h 129021"/>
                <a:gd name="connsiteX3" fmla="*/ 367960 w 555792"/>
                <a:gd name="connsiteY3" fmla="*/ 106926 h 129021"/>
                <a:gd name="connsiteX4" fmla="*/ 389136 w 555792"/>
                <a:gd name="connsiteY4" fmla="*/ 82670 h 129021"/>
                <a:gd name="connsiteX5" fmla="*/ 364489 w 555792"/>
                <a:gd name="connsiteY5" fmla="*/ 61830 h 129021"/>
                <a:gd name="connsiteX6" fmla="*/ 255246 w 555792"/>
                <a:gd name="connsiteY6" fmla="*/ 41285 h 129021"/>
                <a:gd name="connsiteX7" fmla="*/ 280588 w 555792"/>
                <a:gd name="connsiteY7" fmla="*/ 41285 h 129021"/>
                <a:gd name="connsiteX8" fmla="*/ 280588 w 555792"/>
                <a:gd name="connsiteY8" fmla="*/ 126955 h 129021"/>
                <a:gd name="connsiteX9" fmla="*/ 255246 w 555792"/>
                <a:gd name="connsiteY9" fmla="*/ 126955 h 129021"/>
                <a:gd name="connsiteX10" fmla="*/ 121846 w 555792"/>
                <a:gd name="connsiteY10" fmla="*/ 40770 h 129021"/>
                <a:gd name="connsiteX11" fmla="*/ 147188 w 555792"/>
                <a:gd name="connsiteY11" fmla="*/ 40770 h 129021"/>
                <a:gd name="connsiteX12" fmla="*/ 147188 w 555792"/>
                <a:gd name="connsiteY12" fmla="*/ 126439 h 129021"/>
                <a:gd name="connsiteX13" fmla="*/ 121846 w 555792"/>
                <a:gd name="connsiteY13" fmla="*/ 126439 h 129021"/>
                <a:gd name="connsiteX14" fmla="*/ 301329 w 555792"/>
                <a:gd name="connsiteY14" fmla="*/ 40638 h 129021"/>
                <a:gd name="connsiteX15" fmla="*/ 301859 w 555792"/>
                <a:gd name="connsiteY15" fmla="*/ 40638 h 129021"/>
                <a:gd name="connsiteX16" fmla="*/ 316958 w 555792"/>
                <a:gd name="connsiteY16" fmla="*/ 55499 h 129021"/>
                <a:gd name="connsiteX17" fmla="*/ 301859 w 555792"/>
                <a:gd name="connsiteY17" fmla="*/ 70359 h 129021"/>
                <a:gd name="connsiteX18" fmla="*/ 286885 w 555792"/>
                <a:gd name="connsiteY18" fmla="*/ 55893 h 129021"/>
                <a:gd name="connsiteX19" fmla="*/ 286890 w 555792"/>
                <a:gd name="connsiteY19" fmla="*/ 55370 h 129021"/>
                <a:gd name="connsiteX20" fmla="*/ 301329 w 555792"/>
                <a:gd name="connsiteY20" fmla="*/ 40638 h 129021"/>
                <a:gd name="connsiteX21" fmla="*/ 468871 w 555792"/>
                <a:gd name="connsiteY21" fmla="*/ 39863 h 129021"/>
                <a:gd name="connsiteX22" fmla="*/ 495131 w 555792"/>
                <a:gd name="connsiteY22" fmla="*/ 55240 h 129021"/>
                <a:gd name="connsiteX23" fmla="*/ 524542 w 555792"/>
                <a:gd name="connsiteY23" fmla="*/ 39863 h 129021"/>
                <a:gd name="connsiteX24" fmla="*/ 555716 w 555792"/>
                <a:gd name="connsiteY24" fmla="*/ 66406 h 129021"/>
                <a:gd name="connsiteX25" fmla="*/ 555792 w 555792"/>
                <a:gd name="connsiteY25" fmla="*/ 68678 h 129021"/>
                <a:gd name="connsiteX26" fmla="*/ 555792 w 555792"/>
                <a:gd name="connsiteY26" fmla="*/ 126954 h 129021"/>
                <a:gd name="connsiteX27" fmla="*/ 530582 w 555792"/>
                <a:gd name="connsiteY27" fmla="*/ 126954 h 129021"/>
                <a:gd name="connsiteX28" fmla="*/ 530582 w 555792"/>
                <a:gd name="connsiteY28" fmla="*/ 75914 h 129021"/>
                <a:gd name="connsiteX29" fmla="*/ 519946 w 555792"/>
                <a:gd name="connsiteY29" fmla="*/ 60936 h 129021"/>
                <a:gd name="connsiteX30" fmla="*/ 516402 w 555792"/>
                <a:gd name="connsiteY30" fmla="*/ 60796 h 129021"/>
                <a:gd name="connsiteX31" fmla="*/ 499858 w 555792"/>
                <a:gd name="connsiteY31" fmla="*/ 83150 h 129021"/>
                <a:gd name="connsiteX32" fmla="*/ 499858 w 555792"/>
                <a:gd name="connsiteY32" fmla="*/ 126954 h 129021"/>
                <a:gd name="connsiteX33" fmla="*/ 474780 w 555792"/>
                <a:gd name="connsiteY33" fmla="*/ 126954 h 129021"/>
                <a:gd name="connsiteX34" fmla="*/ 474780 w 555792"/>
                <a:gd name="connsiteY34" fmla="*/ 75914 h 129021"/>
                <a:gd name="connsiteX35" fmla="*/ 464116 w 555792"/>
                <a:gd name="connsiteY35" fmla="*/ 60954 h 129021"/>
                <a:gd name="connsiteX36" fmla="*/ 460862 w 555792"/>
                <a:gd name="connsiteY36" fmla="*/ 60796 h 129021"/>
                <a:gd name="connsiteX37" fmla="*/ 444318 w 555792"/>
                <a:gd name="connsiteY37" fmla="*/ 83150 h 129021"/>
                <a:gd name="connsiteX38" fmla="*/ 444318 w 555792"/>
                <a:gd name="connsiteY38" fmla="*/ 126954 h 129021"/>
                <a:gd name="connsiteX39" fmla="*/ 418977 w 555792"/>
                <a:gd name="connsiteY39" fmla="*/ 126954 h 129021"/>
                <a:gd name="connsiteX40" fmla="*/ 418977 w 555792"/>
                <a:gd name="connsiteY40" fmla="*/ 41285 h 129021"/>
                <a:gd name="connsiteX41" fmla="*/ 444318 w 555792"/>
                <a:gd name="connsiteY41" fmla="*/ 41285 h 129021"/>
                <a:gd name="connsiteX42" fmla="*/ 444318 w 555792"/>
                <a:gd name="connsiteY42" fmla="*/ 52785 h 129021"/>
                <a:gd name="connsiteX43" fmla="*/ 468871 w 555792"/>
                <a:gd name="connsiteY43" fmla="*/ 39863 h 129021"/>
                <a:gd name="connsiteX44" fmla="*/ 364489 w 555792"/>
                <a:gd name="connsiteY44" fmla="*/ 39863 h 129021"/>
                <a:gd name="connsiteX45" fmla="*/ 409656 w 555792"/>
                <a:gd name="connsiteY45" fmla="*/ 84443 h 129021"/>
                <a:gd name="connsiteX46" fmla="*/ 409656 w 555792"/>
                <a:gd name="connsiteY46" fmla="*/ 84572 h 129021"/>
                <a:gd name="connsiteX47" fmla="*/ 364227 w 555792"/>
                <a:gd name="connsiteY47" fmla="*/ 129021 h 129021"/>
                <a:gd name="connsiteX48" fmla="*/ 319059 w 555792"/>
                <a:gd name="connsiteY48" fmla="*/ 84313 h 129021"/>
                <a:gd name="connsiteX49" fmla="*/ 364489 w 555792"/>
                <a:gd name="connsiteY49" fmla="*/ 39863 h 129021"/>
                <a:gd name="connsiteX50" fmla="*/ 0 w 555792"/>
                <a:gd name="connsiteY50" fmla="*/ 7947 h 129021"/>
                <a:gd name="connsiteX51" fmla="*/ 27179 w 555792"/>
                <a:gd name="connsiteY51" fmla="*/ 7947 h 129021"/>
                <a:gd name="connsiteX52" fmla="*/ 27179 w 555792"/>
                <a:gd name="connsiteY52" fmla="*/ 54206 h 129021"/>
                <a:gd name="connsiteX53" fmla="*/ 75236 w 555792"/>
                <a:gd name="connsiteY53" fmla="*/ 54206 h 129021"/>
                <a:gd name="connsiteX54" fmla="*/ 75236 w 555792"/>
                <a:gd name="connsiteY54" fmla="*/ 7947 h 129021"/>
                <a:gd name="connsiteX55" fmla="*/ 102678 w 555792"/>
                <a:gd name="connsiteY55" fmla="*/ 7947 h 129021"/>
                <a:gd name="connsiteX56" fmla="*/ 102678 w 555792"/>
                <a:gd name="connsiteY56" fmla="*/ 126954 h 129021"/>
                <a:gd name="connsiteX57" fmla="*/ 75236 w 555792"/>
                <a:gd name="connsiteY57" fmla="*/ 126954 h 129021"/>
                <a:gd name="connsiteX58" fmla="*/ 75236 w 555792"/>
                <a:gd name="connsiteY58" fmla="*/ 77207 h 129021"/>
                <a:gd name="connsiteX59" fmla="*/ 27179 w 555792"/>
                <a:gd name="connsiteY59" fmla="*/ 77207 h 129021"/>
                <a:gd name="connsiteX60" fmla="*/ 27179 w 555792"/>
                <a:gd name="connsiteY60" fmla="*/ 126954 h 129021"/>
                <a:gd name="connsiteX61" fmla="*/ 0 w 555792"/>
                <a:gd name="connsiteY61" fmla="*/ 126954 h 129021"/>
                <a:gd name="connsiteX62" fmla="*/ 210736 w 555792"/>
                <a:gd name="connsiteY62" fmla="*/ 6526 h 129021"/>
                <a:gd name="connsiteX63" fmla="*/ 236078 w 555792"/>
                <a:gd name="connsiteY63" fmla="*/ 6526 h 129021"/>
                <a:gd name="connsiteX64" fmla="*/ 236078 w 555792"/>
                <a:gd name="connsiteY64" fmla="*/ 126955 h 129021"/>
                <a:gd name="connsiteX65" fmla="*/ 210736 w 555792"/>
                <a:gd name="connsiteY65" fmla="*/ 126955 h 129021"/>
                <a:gd name="connsiteX66" fmla="*/ 166619 w 555792"/>
                <a:gd name="connsiteY66" fmla="*/ 6526 h 129021"/>
                <a:gd name="connsiteX67" fmla="*/ 192093 w 555792"/>
                <a:gd name="connsiteY67" fmla="*/ 6526 h 129021"/>
                <a:gd name="connsiteX68" fmla="*/ 192093 w 555792"/>
                <a:gd name="connsiteY68" fmla="*/ 126955 h 129021"/>
                <a:gd name="connsiteX69" fmla="*/ 166619 w 555792"/>
                <a:gd name="connsiteY69" fmla="*/ 126955 h 129021"/>
                <a:gd name="connsiteX70" fmla="*/ 134188 w 555792"/>
                <a:gd name="connsiteY70" fmla="*/ 66 h 129021"/>
                <a:gd name="connsiteX71" fmla="*/ 134452 w 555792"/>
                <a:gd name="connsiteY71" fmla="*/ 66 h 129021"/>
                <a:gd name="connsiteX72" fmla="*/ 151030 w 555792"/>
                <a:gd name="connsiteY72" fmla="*/ 13600 h 129021"/>
                <a:gd name="connsiteX73" fmla="*/ 137277 w 555792"/>
                <a:gd name="connsiteY73" fmla="*/ 29915 h 129021"/>
                <a:gd name="connsiteX74" fmla="*/ 134452 w 555792"/>
                <a:gd name="connsiteY74" fmla="*/ 29915 h 129021"/>
                <a:gd name="connsiteX75" fmla="*/ 119350 w 555792"/>
                <a:gd name="connsiteY75" fmla="*/ 15316 h 129021"/>
                <a:gd name="connsiteX76" fmla="*/ 119352 w 555792"/>
                <a:gd name="connsiteY76" fmla="*/ 14926 h 129021"/>
                <a:gd name="connsiteX77" fmla="*/ 134188 w 555792"/>
                <a:gd name="connsiteY77" fmla="*/ 66 h 129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555792" h="129021">
                  <a:moveTo>
                    <a:pt x="364489" y="61830"/>
                  </a:moveTo>
                  <a:cubicBezTo>
                    <a:pt x="353167" y="62674"/>
                    <a:pt x="344170" y="71529"/>
                    <a:pt x="343312" y="82670"/>
                  </a:cubicBezTo>
                  <a:cubicBezTo>
                    <a:pt x="342353" y="95123"/>
                    <a:pt x="351834" y="105983"/>
                    <a:pt x="364489" y="106926"/>
                  </a:cubicBezTo>
                  <a:cubicBezTo>
                    <a:pt x="365644" y="107012"/>
                    <a:pt x="366805" y="107012"/>
                    <a:pt x="367960" y="106926"/>
                  </a:cubicBezTo>
                  <a:cubicBezTo>
                    <a:pt x="380614" y="105983"/>
                    <a:pt x="390095" y="95123"/>
                    <a:pt x="389136" y="82670"/>
                  </a:cubicBezTo>
                  <a:cubicBezTo>
                    <a:pt x="388178" y="70217"/>
                    <a:pt x="377143" y="60887"/>
                    <a:pt x="364489" y="61830"/>
                  </a:cubicBezTo>
                  <a:close/>
                  <a:moveTo>
                    <a:pt x="255246" y="41285"/>
                  </a:moveTo>
                  <a:lnTo>
                    <a:pt x="280588" y="41285"/>
                  </a:lnTo>
                  <a:lnTo>
                    <a:pt x="280588" y="126955"/>
                  </a:lnTo>
                  <a:lnTo>
                    <a:pt x="255246" y="126955"/>
                  </a:lnTo>
                  <a:close/>
                  <a:moveTo>
                    <a:pt x="121846" y="40770"/>
                  </a:moveTo>
                  <a:lnTo>
                    <a:pt x="147188" y="40770"/>
                  </a:lnTo>
                  <a:lnTo>
                    <a:pt x="147188" y="126439"/>
                  </a:lnTo>
                  <a:lnTo>
                    <a:pt x="121846" y="126439"/>
                  </a:lnTo>
                  <a:close/>
                  <a:moveTo>
                    <a:pt x="301329" y="40638"/>
                  </a:moveTo>
                  <a:cubicBezTo>
                    <a:pt x="301505" y="40635"/>
                    <a:pt x="301682" y="40635"/>
                    <a:pt x="301859" y="40638"/>
                  </a:cubicBezTo>
                  <a:cubicBezTo>
                    <a:pt x="310198" y="40638"/>
                    <a:pt x="316958" y="47292"/>
                    <a:pt x="316958" y="55499"/>
                  </a:cubicBezTo>
                  <a:cubicBezTo>
                    <a:pt x="316958" y="63706"/>
                    <a:pt x="310198" y="70359"/>
                    <a:pt x="301859" y="70359"/>
                  </a:cubicBezTo>
                  <a:cubicBezTo>
                    <a:pt x="293664" y="70433"/>
                    <a:pt x="286961" y="63956"/>
                    <a:pt x="286885" y="55893"/>
                  </a:cubicBezTo>
                  <a:cubicBezTo>
                    <a:pt x="286883" y="55718"/>
                    <a:pt x="286885" y="55544"/>
                    <a:pt x="286890" y="55370"/>
                  </a:cubicBezTo>
                  <a:cubicBezTo>
                    <a:pt x="286743" y="47379"/>
                    <a:pt x="293207" y="40783"/>
                    <a:pt x="301329" y="40638"/>
                  </a:cubicBezTo>
                  <a:close/>
                  <a:moveTo>
                    <a:pt x="468871" y="39863"/>
                  </a:moveTo>
                  <a:cubicBezTo>
                    <a:pt x="480066" y="38933"/>
                    <a:pt x="490621" y="45114"/>
                    <a:pt x="495131" y="55240"/>
                  </a:cubicBezTo>
                  <a:cubicBezTo>
                    <a:pt x="501466" y="45339"/>
                    <a:pt x="512660" y="39487"/>
                    <a:pt x="524542" y="39863"/>
                  </a:cubicBezTo>
                  <a:cubicBezTo>
                    <a:pt x="540599" y="38721"/>
                    <a:pt x="554556" y="50605"/>
                    <a:pt x="555716" y="66406"/>
                  </a:cubicBezTo>
                  <a:cubicBezTo>
                    <a:pt x="555772" y="67162"/>
                    <a:pt x="555797" y="67920"/>
                    <a:pt x="555792" y="68678"/>
                  </a:cubicBezTo>
                  <a:lnTo>
                    <a:pt x="555792" y="126954"/>
                  </a:lnTo>
                  <a:lnTo>
                    <a:pt x="530582" y="126954"/>
                  </a:lnTo>
                  <a:lnTo>
                    <a:pt x="530582" y="75914"/>
                  </a:lnTo>
                  <a:cubicBezTo>
                    <a:pt x="531848" y="68888"/>
                    <a:pt x="527086" y="62181"/>
                    <a:pt x="519946" y="60936"/>
                  </a:cubicBezTo>
                  <a:cubicBezTo>
                    <a:pt x="518776" y="60732"/>
                    <a:pt x="517584" y="60685"/>
                    <a:pt x="516402" y="60796"/>
                  </a:cubicBezTo>
                  <a:cubicBezTo>
                    <a:pt x="505898" y="60796"/>
                    <a:pt x="499858" y="69324"/>
                    <a:pt x="499858" y="83150"/>
                  </a:cubicBezTo>
                  <a:lnTo>
                    <a:pt x="499858" y="126954"/>
                  </a:lnTo>
                  <a:lnTo>
                    <a:pt x="474780" y="126954"/>
                  </a:lnTo>
                  <a:lnTo>
                    <a:pt x="474780" y="75914"/>
                  </a:lnTo>
                  <a:cubicBezTo>
                    <a:pt x="476033" y="68885"/>
                    <a:pt x="471259" y="62187"/>
                    <a:pt x="464116" y="60954"/>
                  </a:cubicBezTo>
                  <a:cubicBezTo>
                    <a:pt x="463043" y="60769"/>
                    <a:pt x="461949" y="60716"/>
                    <a:pt x="460862" y="60796"/>
                  </a:cubicBezTo>
                  <a:cubicBezTo>
                    <a:pt x="450489" y="60796"/>
                    <a:pt x="444318" y="69454"/>
                    <a:pt x="444318" y="83150"/>
                  </a:cubicBezTo>
                  <a:lnTo>
                    <a:pt x="444318" y="126954"/>
                  </a:lnTo>
                  <a:lnTo>
                    <a:pt x="418977" y="126954"/>
                  </a:lnTo>
                  <a:lnTo>
                    <a:pt x="418977" y="41285"/>
                  </a:lnTo>
                  <a:lnTo>
                    <a:pt x="444318" y="41285"/>
                  </a:lnTo>
                  <a:lnTo>
                    <a:pt x="444318" y="52785"/>
                  </a:lnTo>
                  <a:cubicBezTo>
                    <a:pt x="449587" y="44489"/>
                    <a:pt x="458935" y="39570"/>
                    <a:pt x="468871" y="39863"/>
                  </a:cubicBezTo>
                  <a:close/>
                  <a:moveTo>
                    <a:pt x="364489" y="39863"/>
                  </a:moveTo>
                  <a:cubicBezTo>
                    <a:pt x="389455" y="39935"/>
                    <a:pt x="409656" y="59873"/>
                    <a:pt x="409656" y="84443"/>
                  </a:cubicBezTo>
                  <a:cubicBezTo>
                    <a:pt x="409656" y="84486"/>
                    <a:pt x="409656" y="84529"/>
                    <a:pt x="409656" y="84572"/>
                  </a:cubicBezTo>
                  <a:cubicBezTo>
                    <a:pt x="409583" y="109192"/>
                    <a:pt x="389244" y="129093"/>
                    <a:pt x="364227" y="129021"/>
                  </a:cubicBezTo>
                  <a:cubicBezTo>
                    <a:pt x="339208" y="128950"/>
                    <a:pt x="318986" y="108934"/>
                    <a:pt x="319059" y="84313"/>
                  </a:cubicBezTo>
                  <a:cubicBezTo>
                    <a:pt x="319131" y="59693"/>
                    <a:pt x="339471" y="39792"/>
                    <a:pt x="364489" y="39863"/>
                  </a:cubicBezTo>
                  <a:close/>
                  <a:moveTo>
                    <a:pt x="0" y="7947"/>
                  </a:moveTo>
                  <a:lnTo>
                    <a:pt x="27179" y="7947"/>
                  </a:lnTo>
                  <a:lnTo>
                    <a:pt x="27179" y="54206"/>
                  </a:lnTo>
                  <a:lnTo>
                    <a:pt x="75236" y="54206"/>
                  </a:lnTo>
                  <a:lnTo>
                    <a:pt x="75236" y="7947"/>
                  </a:lnTo>
                  <a:lnTo>
                    <a:pt x="102678" y="7947"/>
                  </a:lnTo>
                  <a:lnTo>
                    <a:pt x="102678" y="126954"/>
                  </a:lnTo>
                  <a:lnTo>
                    <a:pt x="75236" y="126954"/>
                  </a:lnTo>
                  <a:lnTo>
                    <a:pt x="75236" y="77207"/>
                  </a:lnTo>
                  <a:lnTo>
                    <a:pt x="27179" y="77207"/>
                  </a:lnTo>
                  <a:lnTo>
                    <a:pt x="27179" y="126954"/>
                  </a:lnTo>
                  <a:lnTo>
                    <a:pt x="0" y="126954"/>
                  </a:lnTo>
                  <a:close/>
                  <a:moveTo>
                    <a:pt x="210736" y="6526"/>
                  </a:moveTo>
                  <a:lnTo>
                    <a:pt x="236078" y="6526"/>
                  </a:lnTo>
                  <a:lnTo>
                    <a:pt x="236078" y="126955"/>
                  </a:lnTo>
                  <a:lnTo>
                    <a:pt x="210736" y="126955"/>
                  </a:lnTo>
                  <a:close/>
                  <a:moveTo>
                    <a:pt x="166619" y="6526"/>
                  </a:moveTo>
                  <a:lnTo>
                    <a:pt x="192093" y="6526"/>
                  </a:lnTo>
                  <a:lnTo>
                    <a:pt x="192093" y="126955"/>
                  </a:lnTo>
                  <a:lnTo>
                    <a:pt x="166619" y="126955"/>
                  </a:lnTo>
                  <a:close/>
                  <a:moveTo>
                    <a:pt x="134188" y="66"/>
                  </a:moveTo>
                  <a:cubicBezTo>
                    <a:pt x="134276" y="65"/>
                    <a:pt x="134364" y="65"/>
                    <a:pt x="134452" y="66"/>
                  </a:cubicBezTo>
                  <a:cubicBezTo>
                    <a:pt x="142828" y="-702"/>
                    <a:pt x="150250" y="5357"/>
                    <a:pt x="151030" y="13600"/>
                  </a:cubicBezTo>
                  <a:cubicBezTo>
                    <a:pt x="151810" y="21842"/>
                    <a:pt x="145653" y="29148"/>
                    <a:pt x="137277" y="29915"/>
                  </a:cubicBezTo>
                  <a:cubicBezTo>
                    <a:pt x="136338" y="30002"/>
                    <a:pt x="135392" y="30002"/>
                    <a:pt x="134452" y="29915"/>
                  </a:cubicBezTo>
                  <a:cubicBezTo>
                    <a:pt x="126185" y="29988"/>
                    <a:pt x="119424" y="23451"/>
                    <a:pt x="119350" y="15316"/>
                  </a:cubicBezTo>
                  <a:cubicBezTo>
                    <a:pt x="119349" y="15186"/>
                    <a:pt x="119349" y="15056"/>
                    <a:pt x="119352" y="14926"/>
                  </a:cubicBezTo>
                  <a:cubicBezTo>
                    <a:pt x="119279" y="6790"/>
                    <a:pt x="125921" y="137"/>
                    <a:pt x="134188" y="66"/>
                  </a:cubicBezTo>
                  <a:close/>
                </a:path>
              </a:pathLst>
            </a:custGeom>
            <a:solidFill>
              <a:srgbClr val="000839"/>
            </a:solidFill>
            <a:ln w="9525" cap="flat">
              <a:noFill/>
              <a:prstDash val="solid"/>
              <a:miter/>
            </a:ln>
          </p:spPr>
          <p:txBody>
            <a:bodyPr wrap="square" rtlCol="0" anchor="ctr">
              <a:noAutofit/>
            </a:bodyPr>
            <a:lstStyle/>
            <a:p>
              <a:endParaRPr lang="en-US"/>
            </a:p>
          </p:txBody>
        </p:sp>
      </p:grpSp>
      <p:sp>
        <p:nvSpPr>
          <p:cNvPr id="25" name="Title 8">
            <a:extLst>
              <a:ext uri="{FF2B5EF4-FFF2-40B4-BE49-F238E27FC236}">
                <a16:creationId xmlns:a16="http://schemas.microsoft.com/office/drawing/2014/main" id="{BA15B838-6368-4E40-9C24-1FC5BBDB7E13}"/>
              </a:ext>
            </a:extLst>
          </p:cNvPr>
          <p:cNvSpPr>
            <a:spLocks noGrp="1"/>
          </p:cNvSpPr>
          <p:nvPr>
            <p:ph type="title"/>
          </p:nvPr>
        </p:nvSpPr>
        <p:spPr>
          <a:xfrm>
            <a:off x="594812" y="914504"/>
            <a:ext cx="11002376" cy="580004"/>
          </a:xfrm>
          <a:prstGeom prst="rect">
            <a:avLst/>
          </a:prstGeom>
        </p:spPr>
        <p:txBody>
          <a:bodyPr/>
          <a:lstStyle>
            <a:lvl1pPr>
              <a:lnSpc>
                <a:spcPct val="90000"/>
              </a:lnSpc>
              <a:defRPr b="1" i="0" cap="none" spc="0" baseline="0">
                <a:latin typeface="+mj-lt"/>
              </a:defRPr>
            </a:lvl1pPr>
          </a:lstStyle>
          <a:p>
            <a:r>
              <a:rPr lang="en-US"/>
              <a:t>Click to edit Master title style</a:t>
            </a:r>
          </a:p>
        </p:txBody>
      </p:sp>
      <p:sp>
        <p:nvSpPr>
          <p:cNvPr id="13" name="Freeform 12">
            <a:extLst>
              <a:ext uri="{FF2B5EF4-FFF2-40B4-BE49-F238E27FC236}">
                <a16:creationId xmlns:a16="http://schemas.microsoft.com/office/drawing/2014/main" id="{DC0A6907-0C9B-E840-9CF5-E9E42383B8F7}"/>
              </a:ext>
            </a:extLst>
          </p:cNvPr>
          <p:cNvSpPr>
            <a:spLocks noChangeAspect="1"/>
          </p:cNvSpPr>
          <p:nvPr userDrawn="1"/>
        </p:nvSpPr>
        <p:spPr>
          <a:xfrm>
            <a:off x="701664" y="517609"/>
            <a:ext cx="2743200" cy="201024"/>
          </a:xfrm>
          <a:custGeom>
            <a:avLst/>
            <a:gdLst>
              <a:gd name="connsiteX0" fmla="*/ 2479594 w 4156116"/>
              <a:gd name="connsiteY0" fmla="*/ 148704 h 304563"/>
              <a:gd name="connsiteX1" fmla="*/ 2560806 w 4156116"/>
              <a:gd name="connsiteY1" fmla="*/ 148959 h 304563"/>
              <a:gd name="connsiteX2" fmla="*/ 2560679 w 4156116"/>
              <a:gd name="connsiteY2" fmla="*/ 161097 h 304563"/>
              <a:gd name="connsiteX3" fmla="*/ 2479594 w 4156116"/>
              <a:gd name="connsiteY3" fmla="*/ 160713 h 304563"/>
              <a:gd name="connsiteX4" fmla="*/ 2395832 w 4156116"/>
              <a:gd name="connsiteY4" fmla="*/ 144105 h 304563"/>
              <a:gd name="connsiteX5" fmla="*/ 2468248 w 4156116"/>
              <a:gd name="connsiteY5" fmla="*/ 144488 h 304563"/>
              <a:gd name="connsiteX6" fmla="*/ 2468248 w 4156116"/>
              <a:gd name="connsiteY6" fmla="*/ 165823 h 304563"/>
              <a:gd name="connsiteX7" fmla="*/ 2395832 w 4156116"/>
              <a:gd name="connsiteY7" fmla="*/ 165567 h 304563"/>
              <a:gd name="connsiteX8" fmla="*/ 2312197 w 4156116"/>
              <a:gd name="connsiteY8" fmla="*/ 139506 h 304563"/>
              <a:gd name="connsiteX9" fmla="*/ 2375688 w 4156116"/>
              <a:gd name="connsiteY9" fmla="*/ 139889 h 304563"/>
              <a:gd name="connsiteX10" fmla="*/ 2375688 w 4156116"/>
              <a:gd name="connsiteY10" fmla="*/ 170677 h 304563"/>
              <a:gd name="connsiteX11" fmla="*/ 2312197 w 4156116"/>
              <a:gd name="connsiteY11" fmla="*/ 170294 h 304563"/>
              <a:gd name="connsiteX12" fmla="*/ 2228435 w 4156116"/>
              <a:gd name="connsiteY12" fmla="*/ 134907 h 304563"/>
              <a:gd name="connsiteX13" fmla="*/ 2283129 w 4156116"/>
              <a:gd name="connsiteY13" fmla="*/ 135290 h 304563"/>
              <a:gd name="connsiteX14" fmla="*/ 2283129 w 4156116"/>
              <a:gd name="connsiteY14" fmla="*/ 175404 h 304563"/>
              <a:gd name="connsiteX15" fmla="*/ 2228435 w 4156116"/>
              <a:gd name="connsiteY15" fmla="*/ 175021 h 304563"/>
              <a:gd name="connsiteX16" fmla="*/ 2144800 w 4156116"/>
              <a:gd name="connsiteY16" fmla="*/ 130308 h 304563"/>
              <a:gd name="connsiteX17" fmla="*/ 2190570 w 4156116"/>
              <a:gd name="connsiteY17" fmla="*/ 130691 h 304563"/>
              <a:gd name="connsiteX18" fmla="*/ 2190570 w 4156116"/>
              <a:gd name="connsiteY18" fmla="*/ 180132 h 304563"/>
              <a:gd name="connsiteX19" fmla="*/ 2144800 w 4156116"/>
              <a:gd name="connsiteY19" fmla="*/ 179749 h 304563"/>
              <a:gd name="connsiteX20" fmla="*/ 2061038 w 4156116"/>
              <a:gd name="connsiteY20" fmla="*/ 125709 h 304563"/>
              <a:gd name="connsiteX21" fmla="*/ 2098012 w 4156116"/>
              <a:gd name="connsiteY21" fmla="*/ 126092 h 304563"/>
              <a:gd name="connsiteX22" fmla="*/ 2098012 w 4156116"/>
              <a:gd name="connsiteY22" fmla="*/ 184858 h 304563"/>
              <a:gd name="connsiteX23" fmla="*/ 2061038 w 4156116"/>
              <a:gd name="connsiteY23" fmla="*/ 184603 h 304563"/>
              <a:gd name="connsiteX24" fmla="*/ 1977403 w 4156116"/>
              <a:gd name="connsiteY24" fmla="*/ 121110 h 304563"/>
              <a:gd name="connsiteX25" fmla="*/ 2005580 w 4156116"/>
              <a:gd name="connsiteY25" fmla="*/ 121493 h 304563"/>
              <a:gd name="connsiteX26" fmla="*/ 2005580 w 4156116"/>
              <a:gd name="connsiteY26" fmla="*/ 189585 h 304563"/>
              <a:gd name="connsiteX27" fmla="*/ 1977403 w 4156116"/>
              <a:gd name="connsiteY27" fmla="*/ 189330 h 304563"/>
              <a:gd name="connsiteX28" fmla="*/ 1893640 w 4156116"/>
              <a:gd name="connsiteY28" fmla="*/ 116511 h 304563"/>
              <a:gd name="connsiteX29" fmla="*/ 1913020 w 4156116"/>
              <a:gd name="connsiteY29" fmla="*/ 116894 h 304563"/>
              <a:gd name="connsiteX30" fmla="*/ 1913020 w 4156116"/>
              <a:gd name="connsiteY30" fmla="*/ 194440 h 304563"/>
              <a:gd name="connsiteX31" fmla="*/ 1893640 w 4156116"/>
              <a:gd name="connsiteY31" fmla="*/ 194057 h 304563"/>
              <a:gd name="connsiteX32" fmla="*/ 1810006 w 4156116"/>
              <a:gd name="connsiteY32" fmla="*/ 112039 h 304563"/>
              <a:gd name="connsiteX33" fmla="*/ 1820460 w 4156116"/>
              <a:gd name="connsiteY33" fmla="*/ 112294 h 304563"/>
              <a:gd name="connsiteX34" fmla="*/ 1820460 w 4156116"/>
              <a:gd name="connsiteY34" fmla="*/ 199167 h 304563"/>
              <a:gd name="connsiteX35" fmla="*/ 1810006 w 4156116"/>
              <a:gd name="connsiteY35" fmla="*/ 198784 h 304563"/>
              <a:gd name="connsiteX36" fmla="*/ 1726243 w 4156116"/>
              <a:gd name="connsiteY36" fmla="*/ 107440 h 304563"/>
              <a:gd name="connsiteX37" fmla="*/ 1727900 w 4156116"/>
              <a:gd name="connsiteY37" fmla="*/ 107695 h 304563"/>
              <a:gd name="connsiteX38" fmla="*/ 1727900 w 4156116"/>
              <a:gd name="connsiteY38" fmla="*/ 203893 h 304563"/>
              <a:gd name="connsiteX39" fmla="*/ 1726371 w 4156116"/>
              <a:gd name="connsiteY39" fmla="*/ 203638 h 304563"/>
              <a:gd name="connsiteX40" fmla="*/ 1642609 w 4156116"/>
              <a:gd name="connsiteY40" fmla="*/ 102841 h 304563"/>
              <a:gd name="connsiteX41" fmla="*/ 1642609 w 4156116"/>
              <a:gd name="connsiteY41" fmla="*/ 208365 h 304563"/>
              <a:gd name="connsiteX42" fmla="*/ 1635342 w 4156116"/>
              <a:gd name="connsiteY42" fmla="*/ 208620 h 304563"/>
              <a:gd name="connsiteX43" fmla="*/ 1635342 w 4156116"/>
              <a:gd name="connsiteY43" fmla="*/ 103096 h 304563"/>
              <a:gd name="connsiteX44" fmla="*/ 1558846 w 4156116"/>
              <a:gd name="connsiteY44" fmla="*/ 98242 h 304563"/>
              <a:gd name="connsiteX45" fmla="*/ 1558973 w 4156116"/>
              <a:gd name="connsiteY45" fmla="*/ 213092 h 304563"/>
              <a:gd name="connsiteX46" fmla="*/ 1542909 w 4156116"/>
              <a:gd name="connsiteY46" fmla="*/ 213347 h 304563"/>
              <a:gd name="connsiteX47" fmla="*/ 1542782 w 4156116"/>
              <a:gd name="connsiteY47" fmla="*/ 98497 h 304563"/>
              <a:gd name="connsiteX48" fmla="*/ 1475212 w 4156116"/>
              <a:gd name="connsiteY48" fmla="*/ 93643 h 304563"/>
              <a:gd name="connsiteX49" fmla="*/ 1475212 w 4156116"/>
              <a:gd name="connsiteY49" fmla="*/ 217820 h 304563"/>
              <a:gd name="connsiteX50" fmla="*/ 1450350 w 4156116"/>
              <a:gd name="connsiteY50" fmla="*/ 218075 h 304563"/>
              <a:gd name="connsiteX51" fmla="*/ 1450223 w 4156116"/>
              <a:gd name="connsiteY51" fmla="*/ 93898 h 304563"/>
              <a:gd name="connsiteX52" fmla="*/ 1391450 w 4156116"/>
              <a:gd name="connsiteY52" fmla="*/ 89044 h 304563"/>
              <a:gd name="connsiteX53" fmla="*/ 1391450 w 4156116"/>
              <a:gd name="connsiteY53" fmla="*/ 222675 h 304563"/>
              <a:gd name="connsiteX54" fmla="*/ 1357791 w 4156116"/>
              <a:gd name="connsiteY54" fmla="*/ 222930 h 304563"/>
              <a:gd name="connsiteX55" fmla="*/ 1357791 w 4156116"/>
              <a:gd name="connsiteY55" fmla="*/ 89299 h 304563"/>
              <a:gd name="connsiteX56" fmla="*/ 1307815 w 4156116"/>
              <a:gd name="connsiteY56" fmla="*/ 84444 h 304563"/>
              <a:gd name="connsiteX57" fmla="*/ 1307815 w 4156116"/>
              <a:gd name="connsiteY57" fmla="*/ 227399 h 304563"/>
              <a:gd name="connsiteX58" fmla="*/ 1265232 w 4156116"/>
              <a:gd name="connsiteY58" fmla="*/ 227655 h 304563"/>
              <a:gd name="connsiteX59" fmla="*/ 1265232 w 4156116"/>
              <a:gd name="connsiteY59" fmla="*/ 84699 h 304563"/>
              <a:gd name="connsiteX60" fmla="*/ 1224052 w 4156116"/>
              <a:gd name="connsiteY60" fmla="*/ 79845 h 304563"/>
              <a:gd name="connsiteX61" fmla="*/ 1224180 w 4156116"/>
              <a:gd name="connsiteY61" fmla="*/ 232126 h 304563"/>
              <a:gd name="connsiteX62" fmla="*/ 1172673 w 4156116"/>
              <a:gd name="connsiteY62" fmla="*/ 232382 h 304563"/>
              <a:gd name="connsiteX63" fmla="*/ 1172673 w 4156116"/>
              <a:gd name="connsiteY63" fmla="*/ 80100 h 304563"/>
              <a:gd name="connsiteX64" fmla="*/ 1140417 w 4156116"/>
              <a:gd name="connsiteY64" fmla="*/ 75246 h 304563"/>
              <a:gd name="connsiteX65" fmla="*/ 1140417 w 4156116"/>
              <a:gd name="connsiteY65" fmla="*/ 236854 h 304563"/>
              <a:gd name="connsiteX66" fmla="*/ 1080113 w 4156116"/>
              <a:gd name="connsiteY66" fmla="*/ 237110 h 304563"/>
              <a:gd name="connsiteX67" fmla="*/ 1080113 w 4156116"/>
              <a:gd name="connsiteY67" fmla="*/ 75501 h 304563"/>
              <a:gd name="connsiteX68" fmla="*/ 1056655 w 4156116"/>
              <a:gd name="connsiteY68" fmla="*/ 70647 h 304563"/>
              <a:gd name="connsiteX69" fmla="*/ 1056782 w 4156116"/>
              <a:gd name="connsiteY69" fmla="*/ 241581 h 304563"/>
              <a:gd name="connsiteX70" fmla="*/ 987681 w 4156116"/>
              <a:gd name="connsiteY70" fmla="*/ 241837 h 304563"/>
              <a:gd name="connsiteX71" fmla="*/ 987554 w 4156116"/>
              <a:gd name="connsiteY71" fmla="*/ 70902 h 304563"/>
              <a:gd name="connsiteX72" fmla="*/ 973020 w 4156116"/>
              <a:gd name="connsiteY72" fmla="*/ 66048 h 304563"/>
              <a:gd name="connsiteX73" fmla="*/ 973020 w 4156116"/>
              <a:gd name="connsiteY73" fmla="*/ 246435 h 304563"/>
              <a:gd name="connsiteX74" fmla="*/ 895122 w 4156116"/>
              <a:gd name="connsiteY74" fmla="*/ 246691 h 304563"/>
              <a:gd name="connsiteX75" fmla="*/ 894995 w 4156116"/>
              <a:gd name="connsiteY75" fmla="*/ 66303 h 304563"/>
              <a:gd name="connsiteX76" fmla="*/ 52272 w 4156116"/>
              <a:gd name="connsiteY76" fmla="*/ 15713 h 304563"/>
              <a:gd name="connsiteX77" fmla="*/ 52272 w 4156116"/>
              <a:gd name="connsiteY77" fmla="*/ 20312 h 304563"/>
              <a:gd name="connsiteX78" fmla="*/ 135907 w 4156116"/>
              <a:gd name="connsiteY78" fmla="*/ 20312 h 304563"/>
              <a:gd name="connsiteX79" fmla="*/ 135907 w 4156116"/>
              <a:gd name="connsiteY79" fmla="*/ 24911 h 304563"/>
              <a:gd name="connsiteX80" fmla="*/ 219669 w 4156116"/>
              <a:gd name="connsiteY80" fmla="*/ 24911 h 304563"/>
              <a:gd name="connsiteX81" fmla="*/ 219669 w 4156116"/>
              <a:gd name="connsiteY81" fmla="*/ 29510 h 304563"/>
              <a:gd name="connsiteX82" fmla="*/ 303431 w 4156116"/>
              <a:gd name="connsiteY82" fmla="*/ 29382 h 304563"/>
              <a:gd name="connsiteX83" fmla="*/ 303431 w 4156116"/>
              <a:gd name="connsiteY83" fmla="*/ 34109 h 304563"/>
              <a:gd name="connsiteX84" fmla="*/ 387066 w 4156116"/>
              <a:gd name="connsiteY84" fmla="*/ 33981 h 304563"/>
              <a:gd name="connsiteX85" fmla="*/ 387066 w 4156116"/>
              <a:gd name="connsiteY85" fmla="*/ 38708 h 304563"/>
              <a:gd name="connsiteX86" fmla="*/ 470828 w 4156116"/>
              <a:gd name="connsiteY86" fmla="*/ 38580 h 304563"/>
              <a:gd name="connsiteX87" fmla="*/ 470828 w 4156116"/>
              <a:gd name="connsiteY87" fmla="*/ 43307 h 304563"/>
              <a:gd name="connsiteX88" fmla="*/ 554463 w 4156116"/>
              <a:gd name="connsiteY88" fmla="*/ 43179 h 304563"/>
              <a:gd name="connsiteX89" fmla="*/ 554463 w 4156116"/>
              <a:gd name="connsiteY89" fmla="*/ 47906 h 304563"/>
              <a:gd name="connsiteX90" fmla="*/ 638225 w 4156116"/>
              <a:gd name="connsiteY90" fmla="*/ 47779 h 304563"/>
              <a:gd name="connsiteX91" fmla="*/ 638225 w 4156116"/>
              <a:gd name="connsiteY91" fmla="*/ 52505 h 304563"/>
              <a:gd name="connsiteX92" fmla="*/ 721860 w 4156116"/>
              <a:gd name="connsiteY92" fmla="*/ 52378 h 304563"/>
              <a:gd name="connsiteX93" fmla="*/ 721860 w 4156116"/>
              <a:gd name="connsiteY93" fmla="*/ 57105 h 304563"/>
              <a:gd name="connsiteX94" fmla="*/ 805623 w 4156116"/>
              <a:gd name="connsiteY94" fmla="*/ 56977 h 304563"/>
              <a:gd name="connsiteX95" fmla="*/ 805623 w 4156116"/>
              <a:gd name="connsiteY95" fmla="*/ 61704 h 304563"/>
              <a:gd name="connsiteX96" fmla="*/ 889257 w 4156116"/>
              <a:gd name="connsiteY96" fmla="*/ 61576 h 304563"/>
              <a:gd name="connsiteX97" fmla="*/ 889385 w 4156116"/>
              <a:gd name="connsiteY97" fmla="*/ 251163 h 304563"/>
              <a:gd name="connsiteX98" fmla="*/ 805623 w 4156116"/>
              <a:gd name="connsiteY98" fmla="*/ 251418 h 304563"/>
              <a:gd name="connsiteX99" fmla="*/ 805623 w 4156116"/>
              <a:gd name="connsiteY99" fmla="*/ 255890 h 304563"/>
              <a:gd name="connsiteX100" fmla="*/ 721988 w 4156116"/>
              <a:gd name="connsiteY100" fmla="*/ 256145 h 304563"/>
              <a:gd name="connsiteX101" fmla="*/ 721988 w 4156116"/>
              <a:gd name="connsiteY101" fmla="*/ 260744 h 304563"/>
              <a:gd name="connsiteX102" fmla="*/ 638225 w 4156116"/>
              <a:gd name="connsiteY102" fmla="*/ 260872 h 304563"/>
              <a:gd name="connsiteX103" fmla="*/ 638225 w 4156116"/>
              <a:gd name="connsiteY103" fmla="*/ 265471 h 304563"/>
              <a:gd name="connsiteX104" fmla="*/ 554591 w 4156116"/>
              <a:gd name="connsiteY104" fmla="*/ 265599 h 304563"/>
              <a:gd name="connsiteX105" fmla="*/ 554591 w 4156116"/>
              <a:gd name="connsiteY105" fmla="*/ 270198 h 304563"/>
              <a:gd name="connsiteX106" fmla="*/ 470828 w 4156116"/>
              <a:gd name="connsiteY106" fmla="*/ 270326 h 304563"/>
              <a:gd name="connsiteX107" fmla="*/ 470828 w 4156116"/>
              <a:gd name="connsiteY107" fmla="*/ 274925 h 304563"/>
              <a:gd name="connsiteX108" fmla="*/ 387193 w 4156116"/>
              <a:gd name="connsiteY108" fmla="*/ 275053 h 304563"/>
              <a:gd name="connsiteX109" fmla="*/ 387193 w 4156116"/>
              <a:gd name="connsiteY109" fmla="*/ 279652 h 304563"/>
              <a:gd name="connsiteX110" fmla="*/ 303431 w 4156116"/>
              <a:gd name="connsiteY110" fmla="*/ 279780 h 304563"/>
              <a:gd name="connsiteX111" fmla="*/ 303431 w 4156116"/>
              <a:gd name="connsiteY111" fmla="*/ 284507 h 304563"/>
              <a:gd name="connsiteX112" fmla="*/ 219796 w 4156116"/>
              <a:gd name="connsiteY112" fmla="*/ 284507 h 304563"/>
              <a:gd name="connsiteX113" fmla="*/ 219796 w 4156116"/>
              <a:gd name="connsiteY113" fmla="*/ 289233 h 304563"/>
              <a:gd name="connsiteX114" fmla="*/ 136034 w 4156116"/>
              <a:gd name="connsiteY114" fmla="*/ 289361 h 304563"/>
              <a:gd name="connsiteX115" fmla="*/ 136034 w 4156116"/>
              <a:gd name="connsiteY115" fmla="*/ 293960 h 304563"/>
              <a:gd name="connsiteX116" fmla="*/ 52399 w 4156116"/>
              <a:gd name="connsiteY116" fmla="*/ 294088 h 304563"/>
              <a:gd name="connsiteX117" fmla="*/ 52399 w 4156116"/>
              <a:gd name="connsiteY117" fmla="*/ 298687 h 304563"/>
              <a:gd name="connsiteX118" fmla="*/ 127 w 4156116"/>
              <a:gd name="connsiteY118" fmla="*/ 298943 h 304563"/>
              <a:gd name="connsiteX119" fmla="*/ 0 w 4156116"/>
              <a:gd name="connsiteY119" fmla="*/ 15840 h 304563"/>
              <a:gd name="connsiteX120" fmla="*/ 4153567 w 4156116"/>
              <a:gd name="connsiteY120" fmla="*/ 0 h 304563"/>
              <a:gd name="connsiteX121" fmla="*/ 4156116 w 4156116"/>
              <a:gd name="connsiteY121" fmla="*/ 894 h 304563"/>
              <a:gd name="connsiteX122" fmla="*/ 4156116 w 4156116"/>
              <a:gd name="connsiteY122" fmla="*/ 304563 h 304563"/>
              <a:gd name="connsiteX123" fmla="*/ 4153567 w 4156116"/>
              <a:gd name="connsiteY123" fmla="*/ 303669 h 304563"/>
              <a:gd name="connsiteX124" fmla="*/ 4153567 w 4156116"/>
              <a:gd name="connsiteY124" fmla="*/ 295876 h 304563"/>
              <a:gd name="connsiteX125" fmla="*/ 4069932 w 4156116"/>
              <a:gd name="connsiteY125" fmla="*/ 295621 h 304563"/>
              <a:gd name="connsiteX126" fmla="*/ 4069932 w 4156116"/>
              <a:gd name="connsiteY126" fmla="*/ 287956 h 304563"/>
              <a:gd name="connsiteX127" fmla="*/ 3986169 w 4156116"/>
              <a:gd name="connsiteY127" fmla="*/ 287700 h 304563"/>
              <a:gd name="connsiteX128" fmla="*/ 3986169 w 4156116"/>
              <a:gd name="connsiteY128" fmla="*/ 280035 h 304563"/>
              <a:gd name="connsiteX129" fmla="*/ 3902535 w 4156116"/>
              <a:gd name="connsiteY129" fmla="*/ 279652 h 304563"/>
              <a:gd name="connsiteX130" fmla="*/ 3902535 w 4156116"/>
              <a:gd name="connsiteY130" fmla="*/ 272114 h 304563"/>
              <a:gd name="connsiteX131" fmla="*/ 3818772 w 4156116"/>
              <a:gd name="connsiteY131" fmla="*/ 271731 h 304563"/>
              <a:gd name="connsiteX132" fmla="*/ 3818772 w 4156116"/>
              <a:gd name="connsiteY132" fmla="*/ 264066 h 304563"/>
              <a:gd name="connsiteX133" fmla="*/ 3735137 w 4156116"/>
              <a:gd name="connsiteY133" fmla="*/ 263810 h 304563"/>
              <a:gd name="connsiteX134" fmla="*/ 3735137 w 4156116"/>
              <a:gd name="connsiteY134" fmla="*/ 256145 h 304563"/>
              <a:gd name="connsiteX135" fmla="*/ 3651375 w 4156116"/>
              <a:gd name="connsiteY135" fmla="*/ 255762 h 304563"/>
              <a:gd name="connsiteX136" fmla="*/ 3651375 w 4156116"/>
              <a:gd name="connsiteY136" fmla="*/ 248224 h 304563"/>
              <a:gd name="connsiteX137" fmla="*/ 3567740 w 4156116"/>
              <a:gd name="connsiteY137" fmla="*/ 247841 h 304563"/>
              <a:gd name="connsiteX138" fmla="*/ 3567740 w 4156116"/>
              <a:gd name="connsiteY138" fmla="*/ 240176 h 304563"/>
              <a:gd name="connsiteX139" fmla="*/ 3483978 w 4156116"/>
              <a:gd name="connsiteY139" fmla="*/ 239920 h 304563"/>
              <a:gd name="connsiteX140" fmla="*/ 3483978 w 4156116"/>
              <a:gd name="connsiteY140" fmla="*/ 232255 h 304563"/>
              <a:gd name="connsiteX141" fmla="*/ 3400343 w 4156116"/>
              <a:gd name="connsiteY141" fmla="*/ 231872 h 304563"/>
              <a:gd name="connsiteX142" fmla="*/ 3400343 w 4156116"/>
              <a:gd name="connsiteY142" fmla="*/ 224334 h 304563"/>
              <a:gd name="connsiteX143" fmla="*/ 3316581 w 4156116"/>
              <a:gd name="connsiteY143" fmla="*/ 223951 h 304563"/>
              <a:gd name="connsiteX144" fmla="*/ 3316581 w 4156116"/>
              <a:gd name="connsiteY144" fmla="*/ 216414 h 304563"/>
              <a:gd name="connsiteX145" fmla="*/ 3232946 w 4156116"/>
              <a:gd name="connsiteY145" fmla="*/ 216030 h 304563"/>
              <a:gd name="connsiteX146" fmla="*/ 3232946 w 4156116"/>
              <a:gd name="connsiteY146" fmla="*/ 208493 h 304563"/>
              <a:gd name="connsiteX147" fmla="*/ 3149184 w 4156116"/>
              <a:gd name="connsiteY147" fmla="*/ 207982 h 304563"/>
              <a:gd name="connsiteX148" fmla="*/ 3149184 w 4156116"/>
              <a:gd name="connsiteY148" fmla="*/ 200444 h 304563"/>
              <a:gd name="connsiteX149" fmla="*/ 3065420 w 4156116"/>
              <a:gd name="connsiteY149" fmla="*/ 200061 h 304563"/>
              <a:gd name="connsiteX150" fmla="*/ 3065420 w 4156116"/>
              <a:gd name="connsiteY150" fmla="*/ 192524 h 304563"/>
              <a:gd name="connsiteX151" fmla="*/ 2981786 w 4156116"/>
              <a:gd name="connsiteY151" fmla="*/ 192141 h 304563"/>
              <a:gd name="connsiteX152" fmla="*/ 2981786 w 4156116"/>
              <a:gd name="connsiteY152" fmla="*/ 184603 h 304563"/>
              <a:gd name="connsiteX153" fmla="*/ 2898023 w 4156116"/>
              <a:gd name="connsiteY153" fmla="*/ 184092 h 304563"/>
              <a:gd name="connsiteX154" fmla="*/ 2898023 w 4156116"/>
              <a:gd name="connsiteY154" fmla="*/ 176682 h 304563"/>
              <a:gd name="connsiteX155" fmla="*/ 2814388 w 4156116"/>
              <a:gd name="connsiteY155" fmla="*/ 176171 h 304563"/>
              <a:gd name="connsiteX156" fmla="*/ 2814388 w 4156116"/>
              <a:gd name="connsiteY156" fmla="*/ 168762 h 304563"/>
              <a:gd name="connsiteX157" fmla="*/ 2730754 w 4156116"/>
              <a:gd name="connsiteY157" fmla="*/ 168251 h 304563"/>
              <a:gd name="connsiteX158" fmla="*/ 2730626 w 4156116"/>
              <a:gd name="connsiteY158" fmla="*/ 160841 h 304563"/>
              <a:gd name="connsiteX159" fmla="*/ 2646991 w 4156116"/>
              <a:gd name="connsiteY159" fmla="*/ 160202 h 304563"/>
              <a:gd name="connsiteX160" fmla="*/ 2646991 w 4156116"/>
              <a:gd name="connsiteY160" fmla="*/ 157647 h 304563"/>
              <a:gd name="connsiteX161" fmla="*/ 2563229 w 4156116"/>
              <a:gd name="connsiteY161" fmla="*/ 157008 h 304563"/>
              <a:gd name="connsiteX162" fmla="*/ 2563229 w 4156116"/>
              <a:gd name="connsiteY162" fmla="*/ 152281 h 304563"/>
              <a:gd name="connsiteX163" fmla="*/ 2646991 w 4156116"/>
              <a:gd name="connsiteY163" fmla="*/ 152920 h 304563"/>
              <a:gd name="connsiteX164" fmla="*/ 2646991 w 4156116"/>
              <a:gd name="connsiteY164" fmla="*/ 148832 h 304563"/>
              <a:gd name="connsiteX165" fmla="*/ 2730626 w 4156116"/>
              <a:gd name="connsiteY165" fmla="*/ 149343 h 304563"/>
              <a:gd name="connsiteX166" fmla="*/ 2730626 w 4156116"/>
              <a:gd name="connsiteY166" fmla="*/ 140528 h 304563"/>
              <a:gd name="connsiteX167" fmla="*/ 2814388 w 4156116"/>
              <a:gd name="connsiteY167" fmla="*/ 141039 h 304563"/>
              <a:gd name="connsiteX168" fmla="*/ 2814388 w 4156116"/>
              <a:gd name="connsiteY168" fmla="*/ 132224 h 304563"/>
              <a:gd name="connsiteX169" fmla="*/ 2898023 w 4156116"/>
              <a:gd name="connsiteY169" fmla="*/ 132735 h 304563"/>
              <a:gd name="connsiteX170" fmla="*/ 2898023 w 4156116"/>
              <a:gd name="connsiteY170" fmla="*/ 124048 h 304563"/>
              <a:gd name="connsiteX171" fmla="*/ 2981786 w 4156116"/>
              <a:gd name="connsiteY171" fmla="*/ 124431 h 304563"/>
              <a:gd name="connsiteX172" fmla="*/ 2981786 w 4156116"/>
              <a:gd name="connsiteY172" fmla="*/ 115744 h 304563"/>
              <a:gd name="connsiteX173" fmla="*/ 3065420 w 4156116"/>
              <a:gd name="connsiteY173" fmla="*/ 116127 h 304563"/>
              <a:gd name="connsiteX174" fmla="*/ 3065420 w 4156116"/>
              <a:gd name="connsiteY174" fmla="*/ 107440 h 304563"/>
              <a:gd name="connsiteX175" fmla="*/ 3149184 w 4156116"/>
              <a:gd name="connsiteY175" fmla="*/ 107951 h 304563"/>
              <a:gd name="connsiteX176" fmla="*/ 3149184 w 4156116"/>
              <a:gd name="connsiteY176" fmla="*/ 99136 h 304563"/>
              <a:gd name="connsiteX177" fmla="*/ 3232819 w 4156116"/>
              <a:gd name="connsiteY177" fmla="*/ 99647 h 304563"/>
              <a:gd name="connsiteX178" fmla="*/ 3232819 w 4156116"/>
              <a:gd name="connsiteY178" fmla="*/ 90960 h 304563"/>
              <a:gd name="connsiteX179" fmla="*/ 3316581 w 4156116"/>
              <a:gd name="connsiteY179" fmla="*/ 91343 h 304563"/>
              <a:gd name="connsiteX180" fmla="*/ 3316581 w 4156116"/>
              <a:gd name="connsiteY180" fmla="*/ 82656 h 304563"/>
              <a:gd name="connsiteX181" fmla="*/ 3400216 w 4156116"/>
              <a:gd name="connsiteY181" fmla="*/ 83039 h 304563"/>
              <a:gd name="connsiteX182" fmla="*/ 3400216 w 4156116"/>
              <a:gd name="connsiteY182" fmla="*/ 74352 h 304563"/>
              <a:gd name="connsiteX183" fmla="*/ 3483978 w 4156116"/>
              <a:gd name="connsiteY183" fmla="*/ 74735 h 304563"/>
              <a:gd name="connsiteX184" fmla="*/ 3483978 w 4156116"/>
              <a:gd name="connsiteY184" fmla="*/ 66176 h 304563"/>
              <a:gd name="connsiteX185" fmla="*/ 3567613 w 4156116"/>
              <a:gd name="connsiteY185" fmla="*/ 66431 h 304563"/>
              <a:gd name="connsiteX186" fmla="*/ 3567613 w 4156116"/>
              <a:gd name="connsiteY186" fmla="*/ 57872 h 304563"/>
              <a:gd name="connsiteX187" fmla="*/ 3651375 w 4156116"/>
              <a:gd name="connsiteY187" fmla="*/ 58255 h 304563"/>
              <a:gd name="connsiteX188" fmla="*/ 3651375 w 4156116"/>
              <a:gd name="connsiteY188" fmla="*/ 49568 h 304563"/>
              <a:gd name="connsiteX189" fmla="*/ 3735010 w 4156116"/>
              <a:gd name="connsiteY189" fmla="*/ 49951 h 304563"/>
              <a:gd name="connsiteX190" fmla="*/ 3735010 w 4156116"/>
              <a:gd name="connsiteY190" fmla="*/ 41264 h 304563"/>
              <a:gd name="connsiteX191" fmla="*/ 3818645 w 4156116"/>
              <a:gd name="connsiteY191" fmla="*/ 41647 h 304563"/>
              <a:gd name="connsiteX192" fmla="*/ 3818645 w 4156116"/>
              <a:gd name="connsiteY192" fmla="*/ 33088 h 304563"/>
              <a:gd name="connsiteX193" fmla="*/ 3902407 w 4156116"/>
              <a:gd name="connsiteY193" fmla="*/ 33343 h 304563"/>
              <a:gd name="connsiteX194" fmla="*/ 3902407 w 4156116"/>
              <a:gd name="connsiteY194" fmla="*/ 24784 h 304563"/>
              <a:gd name="connsiteX195" fmla="*/ 3986042 w 4156116"/>
              <a:gd name="connsiteY195" fmla="*/ 25167 h 304563"/>
              <a:gd name="connsiteX196" fmla="*/ 3986042 w 4156116"/>
              <a:gd name="connsiteY196" fmla="*/ 16480 h 304563"/>
              <a:gd name="connsiteX197" fmla="*/ 4069804 w 4156116"/>
              <a:gd name="connsiteY197" fmla="*/ 16863 h 304563"/>
              <a:gd name="connsiteX198" fmla="*/ 4069804 w 4156116"/>
              <a:gd name="connsiteY198" fmla="*/ 8303 h 304563"/>
              <a:gd name="connsiteX199" fmla="*/ 4153567 w 4156116"/>
              <a:gd name="connsiteY199" fmla="*/ 8559 h 304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4156116" h="304563">
                <a:moveTo>
                  <a:pt x="2479594" y="148704"/>
                </a:moveTo>
                <a:lnTo>
                  <a:pt x="2560806" y="148959"/>
                </a:lnTo>
                <a:lnTo>
                  <a:pt x="2560679" y="161097"/>
                </a:lnTo>
                <a:lnTo>
                  <a:pt x="2479594" y="160713"/>
                </a:lnTo>
                <a:close/>
                <a:moveTo>
                  <a:pt x="2395832" y="144105"/>
                </a:moveTo>
                <a:lnTo>
                  <a:pt x="2468248" y="144488"/>
                </a:lnTo>
                <a:lnTo>
                  <a:pt x="2468248" y="165823"/>
                </a:lnTo>
                <a:lnTo>
                  <a:pt x="2395832" y="165567"/>
                </a:lnTo>
                <a:close/>
                <a:moveTo>
                  <a:pt x="2312197" y="139506"/>
                </a:moveTo>
                <a:lnTo>
                  <a:pt x="2375688" y="139889"/>
                </a:lnTo>
                <a:lnTo>
                  <a:pt x="2375688" y="170677"/>
                </a:lnTo>
                <a:lnTo>
                  <a:pt x="2312197" y="170294"/>
                </a:lnTo>
                <a:close/>
                <a:moveTo>
                  <a:pt x="2228435" y="134907"/>
                </a:moveTo>
                <a:lnTo>
                  <a:pt x="2283129" y="135290"/>
                </a:lnTo>
                <a:lnTo>
                  <a:pt x="2283129" y="175404"/>
                </a:lnTo>
                <a:lnTo>
                  <a:pt x="2228435" y="175021"/>
                </a:lnTo>
                <a:close/>
                <a:moveTo>
                  <a:pt x="2144800" y="130308"/>
                </a:moveTo>
                <a:lnTo>
                  <a:pt x="2190570" y="130691"/>
                </a:lnTo>
                <a:lnTo>
                  <a:pt x="2190570" y="180132"/>
                </a:lnTo>
                <a:lnTo>
                  <a:pt x="2144800" y="179749"/>
                </a:lnTo>
                <a:close/>
                <a:moveTo>
                  <a:pt x="2061038" y="125709"/>
                </a:moveTo>
                <a:lnTo>
                  <a:pt x="2098012" y="126092"/>
                </a:lnTo>
                <a:lnTo>
                  <a:pt x="2098012" y="184858"/>
                </a:lnTo>
                <a:lnTo>
                  <a:pt x="2061038" y="184603"/>
                </a:lnTo>
                <a:close/>
                <a:moveTo>
                  <a:pt x="1977403" y="121110"/>
                </a:moveTo>
                <a:lnTo>
                  <a:pt x="2005580" y="121493"/>
                </a:lnTo>
                <a:lnTo>
                  <a:pt x="2005580" y="189585"/>
                </a:lnTo>
                <a:lnTo>
                  <a:pt x="1977403" y="189330"/>
                </a:lnTo>
                <a:close/>
                <a:moveTo>
                  <a:pt x="1893640" y="116511"/>
                </a:moveTo>
                <a:lnTo>
                  <a:pt x="1913020" y="116894"/>
                </a:lnTo>
                <a:lnTo>
                  <a:pt x="1913020" y="194440"/>
                </a:lnTo>
                <a:lnTo>
                  <a:pt x="1893640" y="194057"/>
                </a:lnTo>
                <a:close/>
                <a:moveTo>
                  <a:pt x="1810006" y="112039"/>
                </a:moveTo>
                <a:lnTo>
                  <a:pt x="1820460" y="112294"/>
                </a:lnTo>
                <a:lnTo>
                  <a:pt x="1820460" y="199167"/>
                </a:lnTo>
                <a:lnTo>
                  <a:pt x="1810006" y="198784"/>
                </a:lnTo>
                <a:close/>
                <a:moveTo>
                  <a:pt x="1726243" y="107440"/>
                </a:moveTo>
                <a:lnTo>
                  <a:pt x="1727900" y="107695"/>
                </a:lnTo>
                <a:lnTo>
                  <a:pt x="1727900" y="203893"/>
                </a:lnTo>
                <a:lnTo>
                  <a:pt x="1726371" y="203638"/>
                </a:lnTo>
                <a:close/>
                <a:moveTo>
                  <a:pt x="1642609" y="102841"/>
                </a:moveTo>
                <a:lnTo>
                  <a:pt x="1642609" y="208365"/>
                </a:lnTo>
                <a:lnTo>
                  <a:pt x="1635342" y="208620"/>
                </a:lnTo>
                <a:lnTo>
                  <a:pt x="1635342" y="103096"/>
                </a:lnTo>
                <a:close/>
                <a:moveTo>
                  <a:pt x="1558846" y="98242"/>
                </a:moveTo>
                <a:lnTo>
                  <a:pt x="1558973" y="213092"/>
                </a:lnTo>
                <a:lnTo>
                  <a:pt x="1542909" y="213347"/>
                </a:lnTo>
                <a:lnTo>
                  <a:pt x="1542782" y="98497"/>
                </a:lnTo>
                <a:close/>
                <a:moveTo>
                  <a:pt x="1475212" y="93643"/>
                </a:moveTo>
                <a:lnTo>
                  <a:pt x="1475212" y="217820"/>
                </a:lnTo>
                <a:lnTo>
                  <a:pt x="1450350" y="218075"/>
                </a:lnTo>
                <a:lnTo>
                  <a:pt x="1450223" y="93898"/>
                </a:lnTo>
                <a:close/>
                <a:moveTo>
                  <a:pt x="1391450" y="89044"/>
                </a:moveTo>
                <a:lnTo>
                  <a:pt x="1391450" y="222675"/>
                </a:lnTo>
                <a:lnTo>
                  <a:pt x="1357791" y="222930"/>
                </a:lnTo>
                <a:lnTo>
                  <a:pt x="1357791" y="89299"/>
                </a:lnTo>
                <a:close/>
                <a:moveTo>
                  <a:pt x="1307815" y="84444"/>
                </a:moveTo>
                <a:lnTo>
                  <a:pt x="1307815" y="227399"/>
                </a:lnTo>
                <a:lnTo>
                  <a:pt x="1265232" y="227655"/>
                </a:lnTo>
                <a:lnTo>
                  <a:pt x="1265232" y="84699"/>
                </a:lnTo>
                <a:close/>
                <a:moveTo>
                  <a:pt x="1224052" y="79845"/>
                </a:moveTo>
                <a:lnTo>
                  <a:pt x="1224180" y="232126"/>
                </a:lnTo>
                <a:lnTo>
                  <a:pt x="1172673" y="232382"/>
                </a:lnTo>
                <a:lnTo>
                  <a:pt x="1172673" y="80100"/>
                </a:lnTo>
                <a:close/>
                <a:moveTo>
                  <a:pt x="1140417" y="75246"/>
                </a:moveTo>
                <a:lnTo>
                  <a:pt x="1140417" y="236854"/>
                </a:lnTo>
                <a:lnTo>
                  <a:pt x="1080113" y="237110"/>
                </a:lnTo>
                <a:lnTo>
                  <a:pt x="1080113" y="75501"/>
                </a:lnTo>
                <a:close/>
                <a:moveTo>
                  <a:pt x="1056655" y="70647"/>
                </a:moveTo>
                <a:lnTo>
                  <a:pt x="1056782" y="241581"/>
                </a:lnTo>
                <a:lnTo>
                  <a:pt x="987681" y="241837"/>
                </a:lnTo>
                <a:lnTo>
                  <a:pt x="987554" y="70902"/>
                </a:lnTo>
                <a:close/>
                <a:moveTo>
                  <a:pt x="973020" y="66048"/>
                </a:moveTo>
                <a:lnTo>
                  <a:pt x="973020" y="246435"/>
                </a:lnTo>
                <a:lnTo>
                  <a:pt x="895122" y="246691"/>
                </a:lnTo>
                <a:lnTo>
                  <a:pt x="894995" y="66303"/>
                </a:lnTo>
                <a:close/>
                <a:moveTo>
                  <a:pt x="52272" y="15713"/>
                </a:moveTo>
                <a:lnTo>
                  <a:pt x="52272" y="20312"/>
                </a:lnTo>
                <a:lnTo>
                  <a:pt x="135907" y="20312"/>
                </a:lnTo>
                <a:lnTo>
                  <a:pt x="135907" y="24911"/>
                </a:lnTo>
                <a:lnTo>
                  <a:pt x="219669" y="24911"/>
                </a:lnTo>
                <a:lnTo>
                  <a:pt x="219669" y="29510"/>
                </a:lnTo>
                <a:lnTo>
                  <a:pt x="303431" y="29382"/>
                </a:lnTo>
                <a:lnTo>
                  <a:pt x="303431" y="34109"/>
                </a:lnTo>
                <a:lnTo>
                  <a:pt x="387066" y="33981"/>
                </a:lnTo>
                <a:lnTo>
                  <a:pt x="387066" y="38708"/>
                </a:lnTo>
                <a:lnTo>
                  <a:pt x="470828" y="38580"/>
                </a:lnTo>
                <a:lnTo>
                  <a:pt x="470828" y="43307"/>
                </a:lnTo>
                <a:lnTo>
                  <a:pt x="554463" y="43179"/>
                </a:lnTo>
                <a:lnTo>
                  <a:pt x="554463" y="47906"/>
                </a:lnTo>
                <a:lnTo>
                  <a:pt x="638225" y="47779"/>
                </a:lnTo>
                <a:lnTo>
                  <a:pt x="638225" y="52505"/>
                </a:lnTo>
                <a:lnTo>
                  <a:pt x="721860" y="52378"/>
                </a:lnTo>
                <a:lnTo>
                  <a:pt x="721860" y="57105"/>
                </a:lnTo>
                <a:lnTo>
                  <a:pt x="805623" y="56977"/>
                </a:lnTo>
                <a:lnTo>
                  <a:pt x="805623" y="61704"/>
                </a:lnTo>
                <a:lnTo>
                  <a:pt x="889257" y="61576"/>
                </a:lnTo>
                <a:lnTo>
                  <a:pt x="889385" y="251163"/>
                </a:lnTo>
                <a:lnTo>
                  <a:pt x="805623" y="251418"/>
                </a:lnTo>
                <a:lnTo>
                  <a:pt x="805623" y="255890"/>
                </a:lnTo>
                <a:lnTo>
                  <a:pt x="721988" y="256145"/>
                </a:lnTo>
                <a:lnTo>
                  <a:pt x="721988" y="260744"/>
                </a:lnTo>
                <a:lnTo>
                  <a:pt x="638225" y="260872"/>
                </a:lnTo>
                <a:lnTo>
                  <a:pt x="638225" y="265471"/>
                </a:lnTo>
                <a:lnTo>
                  <a:pt x="554591" y="265599"/>
                </a:lnTo>
                <a:lnTo>
                  <a:pt x="554591" y="270198"/>
                </a:lnTo>
                <a:lnTo>
                  <a:pt x="470828" y="270326"/>
                </a:lnTo>
                <a:lnTo>
                  <a:pt x="470828" y="274925"/>
                </a:lnTo>
                <a:lnTo>
                  <a:pt x="387193" y="275053"/>
                </a:lnTo>
                <a:lnTo>
                  <a:pt x="387193" y="279652"/>
                </a:lnTo>
                <a:lnTo>
                  <a:pt x="303431" y="279780"/>
                </a:lnTo>
                <a:lnTo>
                  <a:pt x="303431" y="284507"/>
                </a:lnTo>
                <a:lnTo>
                  <a:pt x="219796" y="284507"/>
                </a:lnTo>
                <a:lnTo>
                  <a:pt x="219796" y="289233"/>
                </a:lnTo>
                <a:lnTo>
                  <a:pt x="136034" y="289361"/>
                </a:lnTo>
                <a:lnTo>
                  <a:pt x="136034" y="293960"/>
                </a:lnTo>
                <a:lnTo>
                  <a:pt x="52399" y="294088"/>
                </a:lnTo>
                <a:lnTo>
                  <a:pt x="52399" y="298687"/>
                </a:lnTo>
                <a:lnTo>
                  <a:pt x="127" y="298943"/>
                </a:lnTo>
                <a:lnTo>
                  <a:pt x="0" y="15840"/>
                </a:lnTo>
                <a:close/>
                <a:moveTo>
                  <a:pt x="4153567" y="0"/>
                </a:moveTo>
                <a:lnTo>
                  <a:pt x="4156116" y="894"/>
                </a:lnTo>
                <a:lnTo>
                  <a:pt x="4156116" y="304563"/>
                </a:lnTo>
                <a:lnTo>
                  <a:pt x="4153567" y="303669"/>
                </a:lnTo>
                <a:lnTo>
                  <a:pt x="4153567" y="295876"/>
                </a:lnTo>
                <a:lnTo>
                  <a:pt x="4069932" y="295621"/>
                </a:lnTo>
                <a:lnTo>
                  <a:pt x="4069932" y="287956"/>
                </a:lnTo>
                <a:lnTo>
                  <a:pt x="3986169" y="287700"/>
                </a:lnTo>
                <a:lnTo>
                  <a:pt x="3986169" y="280035"/>
                </a:lnTo>
                <a:lnTo>
                  <a:pt x="3902535" y="279652"/>
                </a:lnTo>
                <a:lnTo>
                  <a:pt x="3902535" y="272114"/>
                </a:lnTo>
                <a:lnTo>
                  <a:pt x="3818772" y="271731"/>
                </a:lnTo>
                <a:lnTo>
                  <a:pt x="3818772" y="264066"/>
                </a:lnTo>
                <a:lnTo>
                  <a:pt x="3735137" y="263810"/>
                </a:lnTo>
                <a:lnTo>
                  <a:pt x="3735137" y="256145"/>
                </a:lnTo>
                <a:lnTo>
                  <a:pt x="3651375" y="255762"/>
                </a:lnTo>
                <a:lnTo>
                  <a:pt x="3651375" y="248224"/>
                </a:lnTo>
                <a:lnTo>
                  <a:pt x="3567740" y="247841"/>
                </a:lnTo>
                <a:lnTo>
                  <a:pt x="3567740" y="240176"/>
                </a:lnTo>
                <a:lnTo>
                  <a:pt x="3483978" y="239920"/>
                </a:lnTo>
                <a:lnTo>
                  <a:pt x="3483978" y="232255"/>
                </a:lnTo>
                <a:lnTo>
                  <a:pt x="3400343" y="231872"/>
                </a:lnTo>
                <a:lnTo>
                  <a:pt x="3400343" y="224334"/>
                </a:lnTo>
                <a:lnTo>
                  <a:pt x="3316581" y="223951"/>
                </a:lnTo>
                <a:lnTo>
                  <a:pt x="3316581" y="216414"/>
                </a:lnTo>
                <a:lnTo>
                  <a:pt x="3232946" y="216030"/>
                </a:lnTo>
                <a:lnTo>
                  <a:pt x="3232946" y="208493"/>
                </a:lnTo>
                <a:lnTo>
                  <a:pt x="3149184" y="207982"/>
                </a:lnTo>
                <a:lnTo>
                  <a:pt x="3149184" y="200444"/>
                </a:lnTo>
                <a:lnTo>
                  <a:pt x="3065420" y="200061"/>
                </a:lnTo>
                <a:lnTo>
                  <a:pt x="3065420" y="192524"/>
                </a:lnTo>
                <a:lnTo>
                  <a:pt x="2981786" y="192141"/>
                </a:lnTo>
                <a:lnTo>
                  <a:pt x="2981786" y="184603"/>
                </a:lnTo>
                <a:lnTo>
                  <a:pt x="2898023" y="184092"/>
                </a:lnTo>
                <a:lnTo>
                  <a:pt x="2898023" y="176682"/>
                </a:lnTo>
                <a:lnTo>
                  <a:pt x="2814388" y="176171"/>
                </a:lnTo>
                <a:lnTo>
                  <a:pt x="2814388" y="168762"/>
                </a:lnTo>
                <a:lnTo>
                  <a:pt x="2730754" y="168251"/>
                </a:lnTo>
                <a:lnTo>
                  <a:pt x="2730626" y="160841"/>
                </a:lnTo>
                <a:lnTo>
                  <a:pt x="2646991" y="160202"/>
                </a:lnTo>
                <a:lnTo>
                  <a:pt x="2646991" y="157647"/>
                </a:lnTo>
                <a:lnTo>
                  <a:pt x="2563229" y="157008"/>
                </a:lnTo>
                <a:lnTo>
                  <a:pt x="2563229" y="152281"/>
                </a:lnTo>
                <a:lnTo>
                  <a:pt x="2646991" y="152920"/>
                </a:lnTo>
                <a:lnTo>
                  <a:pt x="2646991" y="148832"/>
                </a:lnTo>
                <a:lnTo>
                  <a:pt x="2730626" y="149343"/>
                </a:lnTo>
                <a:lnTo>
                  <a:pt x="2730626" y="140528"/>
                </a:lnTo>
                <a:lnTo>
                  <a:pt x="2814388" y="141039"/>
                </a:lnTo>
                <a:lnTo>
                  <a:pt x="2814388" y="132224"/>
                </a:lnTo>
                <a:lnTo>
                  <a:pt x="2898023" y="132735"/>
                </a:lnTo>
                <a:lnTo>
                  <a:pt x="2898023" y="124048"/>
                </a:lnTo>
                <a:lnTo>
                  <a:pt x="2981786" y="124431"/>
                </a:lnTo>
                <a:lnTo>
                  <a:pt x="2981786" y="115744"/>
                </a:lnTo>
                <a:lnTo>
                  <a:pt x="3065420" y="116127"/>
                </a:lnTo>
                <a:lnTo>
                  <a:pt x="3065420" y="107440"/>
                </a:lnTo>
                <a:lnTo>
                  <a:pt x="3149184" y="107951"/>
                </a:lnTo>
                <a:lnTo>
                  <a:pt x="3149184" y="99136"/>
                </a:lnTo>
                <a:lnTo>
                  <a:pt x="3232819" y="99647"/>
                </a:lnTo>
                <a:lnTo>
                  <a:pt x="3232819" y="90960"/>
                </a:lnTo>
                <a:lnTo>
                  <a:pt x="3316581" y="91343"/>
                </a:lnTo>
                <a:lnTo>
                  <a:pt x="3316581" y="82656"/>
                </a:lnTo>
                <a:lnTo>
                  <a:pt x="3400216" y="83039"/>
                </a:lnTo>
                <a:lnTo>
                  <a:pt x="3400216" y="74352"/>
                </a:lnTo>
                <a:lnTo>
                  <a:pt x="3483978" y="74735"/>
                </a:lnTo>
                <a:lnTo>
                  <a:pt x="3483978" y="66176"/>
                </a:lnTo>
                <a:lnTo>
                  <a:pt x="3567613" y="66431"/>
                </a:lnTo>
                <a:lnTo>
                  <a:pt x="3567613" y="57872"/>
                </a:lnTo>
                <a:lnTo>
                  <a:pt x="3651375" y="58255"/>
                </a:lnTo>
                <a:lnTo>
                  <a:pt x="3651375" y="49568"/>
                </a:lnTo>
                <a:lnTo>
                  <a:pt x="3735010" y="49951"/>
                </a:lnTo>
                <a:lnTo>
                  <a:pt x="3735010" y="41264"/>
                </a:lnTo>
                <a:lnTo>
                  <a:pt x="3818645" y="41647"/>
                </a:lnTo>
                <a:lnTo>
                  <a:pt x="3818645" y="33088"/>
                </a:lnTo>
                <a:lnTo>
                  <a:pt x="3902407" y="33343"/>
                </a:lnTo>
                <a:lnTo>
                  <a:pt x="3902407" y="24784"/>
                </a:lnTo>
                <a:lnTo>
                  <a:pt x="3986042" y="25167"/>
                </a:lnTo>
                <a:lnTo>
                  <a:pt x="3986042" y="16480"/>
                </a:lnTo>
                <a:lnTo>
                  <a:pt x="4069804" y="16863"/>
                </a:lnTo>
                <a:lnTo>
                  <a:pt x="4069804" y="8303"/>
                </a:lnTo>
                <a:lnTo>
                  <a:pt x="4153567" y="8559"/>
                </a:lnTo>
                <a:close/>
              </a:path>
            </a:pathLst>
          </a:custGeom>
          <a:gradFill>
            <a:gsLst>
              <a:gs pos="38000">
                <a:schemeClr val="accent1"/>
              </a:gs>
              <a:gs pos="88000">
                <a:schemeClr val="accent3"/>
              </a:gs>
            </a:gsLst>
            <a:lin ang="0" scaled="0"/>
          </a:gradFill>
          <a:ln w="9525" cap="flat">
            <a:noFill/>
            <a:prstDash val="solid"/>
            <a:miter/>
          </a:ln>
        </p:spPr>
        <p:txBody>
          <a:bodyPr wrap="square" rtlCol="0" anchor="ctr">
            <a:noAutofit/>
          </a:bodyPr>
          <a:lstStyle/>
          <a:p>
            <a:endParaRPr lang="en-US"/>
          </a:p>
        </p:txBody>
      </p:sp>
      <p:sp>
        <p:nvSpPr>
          <p:cNvPr id="14" name="Content Placeholder 49">
            <a:extLst>
              <a:ext uri="{FF2B5EF4-FFF2-40B4-BE49-F238E27FC236}">
                <a16:creationId xmlns:a16="http://schemas.microsoft.com/office/drawing/2014/main" id="{85A9FED8-D375-8E43-9F2D-76D1F1CCA513}"/>
              </a:ext>
            </a:extLst>
          </p:cNvPr>
          <p:cNvSpPr>
            <a:spLocks noGrp="1"/>
          </p:cNvSpPr>
          <p:nvPr>
            <p:ph sz="quarter" idx="11" hasCustomPrompt="1"/>
          </p:nvPr>
        </p:nvSpPr>
        <p:spPr>
          <a:xfrm>
            <a:off x="594812" y="1666109"/>
            <a:ext cx="11002376" cy="4082963"/>
          </a:xfrm>
          <a:prstGeom prst="rect">
            <a:avLst/>
          </a:prstGeom>
        </p:spPr>
        <p:txBody>
          <a:bodyPr/>
          <a:lstStyle>
            <a:lvl1pPr marL="234950" indent="-234950">
              <a:lnSpc>
                <a:spcPct val="120000"/>
              </a:lnSpc>
              <a:spcBef>
                <a:spcPts val="0"/>
              </a:spcBef>
              <a:buFont typeface="System Font Regular"/>
              <a:buChar char="–"/>
              <a:tabLst/>
              <a:defRPr sz="2000"/>
            </a:lvl1pPr>
            <a:lvl2pPr marL="460375" indent="-174625">
              <a:lnSpc>
                <a:spcPct val="120000"/>
              </a:lnSpc>
              <a:spcBef>
                <a:spcPts val="0"/>
              </a:spcBef>
              <a:buFont typeface="System Font Regular"/>
              <a:buChar char="–"/>
              <a:tabLst/>
              <a:defRPr sz="1800"/>
            </a:lvl2pPr>
            <a:lvl3pPr marL="858838" indent="-223838">
              <a:lnSpc>
                <a:spcPct val="120000"/>
              </a:lnSpc>
              <a:spcBef>
                <a:spcPts val="0"/>
              </a:spcBef>
              <a:spcAft>
                <a:spcPts val="0"/>
              </a:spcAft>
              <a:buFont typeface="System Font Regular"/>
              <a:buChar char="–"/>
              <a:tabLst/>
              <a:defRPr sz="1600"/>
            </a:lvl3pPr>
            <a:lvl4pPr marL="1208088" indent="-174625">
              <a:lnSpc>
                <a:spcPct val="120000"/>
              </a:lnSpc>
              <a:spcBef>
                <a:spcPts val="0"/>
              </a:spcBef>
              <a:buFont typeface="System Font Regular"/>
              <a:buChar char="+"/>
              <a:tabLst/>
              <a:defRPr sz="1400"/>
            </a:lvl4pPr>
            <a:lvl5pPr marL="1493838" indent="-173038">
              <a:lnSpc>
                <a:spcPct val="120000"/>
              </a:lnSpc>
              <a:spcBef>
                <a:spcPts val="0"/>
              </a:spcBef>
              <a:buFont typeface="System Font Regular"/>
              <a:buChar char="–"/>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lide Number Placeholder 5">
            <a:extLst>
              <a:ext uri="{FF2B5EF4-FFF2-40B4-BE49-F238E27FC236}">
                <a16:creationId xmlns:a16="http://schemas.microsoft.com/office/drawing/2014/main" id="{51032C9D-35B1-3348-8E21-C0162BE1FD9D}"/>
              </a:ext>
            </a:extLst>
          </p:cNvPr>
          <p:cNvSpPr>
            <a:spLocks noGrp="1"/>
          </p:cNvSpPr>
          <p:nvPr>
            <p:ph type="sldNum" sz="quarter" idx="4"/>
          </p:nvPr>
        </p:nvSpPr>
        <p:spPr>
          <a:xfrm>
            <a:off x="11647697" y="6325527"/>
            <a:ext cx="370726" cy="365125"/>
          </a:xfrm>
          <a:prstGeom prst="rect">
            <a:avLst/>
          </a:prstGeom>
        </p:spPr>
        <p:txBody>
          <a:bodyPr vert="horz" lIns="0" tIns="0" rIns="0" bIns="45720" rtlCol="0" anchor="b"/>
          <a:lstStyle>
            <a:lvl1pPr algn="r">
              <a:defRPr sz="800" b="1" i="0">
                <a:solidFill>
                  <a:schemeClr val="tx1">
                    <a:tint val="75000"/>
                  </a:schemeClr>
                </a:solidFill>
                <a:latin typeface="+mj-lt"/>
              </a:defRPr>
            </a:lvl1pPr>
          </a:lstStyle>
          <a:p>
            <a:fld id="{982D468C-8F71-314C-A979-931A6F21B3BB}" type="slidenum">
              <a:rPr lang="en-US" smtClean="0"/>
              <a:pPr/>
              <a:t>‹N°›</a:t>
            </a:fld>
            <a:endParaRPr lang="en-US"/>
          </a:p>
        </p:txBody>
      </p:sp>
      <p:sp>
        <p:nvSpPr>
          <p:cNvPr id="16" name="Footer Placeholder 54">
            <a:extLst>
              <a:ext uri="{FF2B5EF4-FFF2-40B4-BE49-F238E27FC236}">
                <a16:creationId xmlns:a16="http://schemas.microsoft.com/office/drawing/2014/main" id="{D149E7B2-DFEA-1D44-99F0-2DC280A49632}"/>
              </a:ext>
            </a:extLst>
          </p:cNvPr>
          <p:cNvSpPr>
            <a:spLocks noGrp="1"/>
          </p:cNvSpPr>
          <p:nvPr>
            <p:ph type="ftr" sz="quarter" idx="15"/>
          </p:nvPr>
        </p:nvSpPr>
        <p:spPr>
          <a:xfrm>
            <a:off x="1819550" y="5869096"/>
            <a:ext cx="9777637" cy="365125"/>
          </a:xfrm>
          <a:prstGeom prst="rect">
            <a:avLst/>
          </a:prstGeom>
        </p:spPr>
        <p:txBody>
          <a:bodyPr anchor="b" anchorCtr="0"/>
          <a:lstStyle>
            <a:lvl1pPr>
              <a:defRPr lang="en-US" sz="800" i="1" smtClean="0">
                <a:solidFill>
                  <a:schemeClr val="accent2"/>
                </a:solidFill>
                <a:cs typeface="Arial"/>
              </a:defRPr>
            </a:lvl1pPr>
          </a:lstStyle>
          <a:p>
            <a:endParaRPr lang="en-US"/>
          </a:p>
        </p:txBody>
      </p:sp>
      <p:sp>
        <p:nvSpPr>
          <p:cNvPr id="12" name="Footer Placeholder 54">
            <a:extLst>
              <a:ext uri="{FF2B5EF4-FFF2-40B4-BE49-F238E27FC236}">
                <a16:creationId xmlns:a16="http://schemas.microsoft.com/office/drawing/2014/main" id="{94A68D1B-1EA6-EB45-8BF4-BA50356C5DE1}"/>
              </a:ext>
            </a:extLst>
          </p:cNvPr>
          <p:cNvSpPr txBox="1">
            <a:spLocks/>
          </p:cNvSpPr>
          <p:nvPr userDrawn="1"/>
        </p:nvSpPr>
        <p:spPr>
          <a:xfrm>
            <a:off x="1819551" y="6340392"/>
            <a:ext cx="4539046" cy="365125"/>
          </a:xfrm>
          <a:prstGeom prst="rect">
            <a:avLst/>
          </a:prstGeom>
        </p:spPr>
        <p:txBody>
          <a:bodyPr anchor="b" anchorCtr="0"/>
          <a:lstStyle>
            <a:defPPr>
              <a:defRPr lang="en-US"/>
            </a:defPPr>
            <a:lvl1pPr marL="0" algn="l" defTabSz="914400" rtl="0" eaLnBrk="1" latinLnBrk="0" hangingPunct="1">
              <a:defRPr lang="en-US" sz="700" kern="1200" smtClean="0">
                <a:solidFill>
                  <a:schemeClr val="accent2"/>
                </a:solidFill>
                <a:latin typeface="+mn-lt"/>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 2019 Hill-Rom Services, Inc. ALL RIGHTS RESERVED.      CONFIDENTIAL</a:t>
            </a:r>
          </a:p>
        </p:txBody>
      </p:sp>
    </p:spTree>
    <p:extLst>
      <p:ext uri="{BB962C8B-B14F-4D97-AF65-F5344CB8AC3E}">
        <p14:creationId xmlns:p14="http://schemas.microsoft.com/office/powerpoint/2010/main" val="387236455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_Body - 1 Column">
    <p:spTree>
      <p:nvGrpSpPr>
        <p:cNvPr id="1" name=""/>
        <p:cNvGrpSpPr/>
        <p:nvPr/>
      </p:nvGrpSpPr>
      <p:grpSpPr>
        <a:xfrm>
          <a:off x="0" y="0"/>
          <a:ext cx="0" cy="0"/>
          <a:chOff x="0" y="0"/>
          <a:chExt cx="0" cy="0"/>
        </a:xfrm>
      </p:grpSpPr>
      <p:sp>
        <p:nvSpPr>
          <p:cNvPr id="25" name="Title 8">
            <a:extLst>
              <a:ext uri="{FF2B5EF4-FFF2-40B4-BE49-F238E27FC236}">
                <a16:creationId xmlns:a16="http://schemas.microsoft.com/office/drawing/2014/main" id="{BA15B838-6368-4E40-9C24-1FC5BBDB7E13}"/>
              </a:ext>
            </a:extLst>
          </p:cNvPr>
          <p:cNvSpPr>
            <a:spLocks noGrp="1"/>
          </p:cNvSpPr>
          <p:nvPr>
            <p:ph type="title" hasCustomPrompt="1"/>
          </p:nvPr>
        </p:nvSpPr>
        <p:spPr>
          <a:xfrm>
            <a:off x="743711" y="539496"/>
            <a:ext cx="10857364" cy="1099898"/>
          </a:xfrm>
          <a:prstGeom prst="rect">
            <a:avLst/>
          </a:prstGeom>
        </p:spPr>
        <p:txBody>
          <a:bodyPr/>
          <a:lstStyle>
            <a:lvl1pPr>
              <a:lnSpc>
                <a:spcPct val="90000"/>
              </a:lnSpc>
              <a:defRPr sz="2800" b="1" i="0" cap="none" spc="0" baseline="0">
                <a:latin typeface="+mj-lt"/>
              </a:defRPr>
            </a:lvl1pPr>
          </a:lstStyle>
          <a:p>
            <a:r>
              <a:rPr lang="en-US"/>
              <a:t>Body copy slide template— 1 column</a:t>
            </a:r>
          </a:p>
        </p:txBody>
      </p:sp>
      <p:sp>
        <p:nvSpPr>
          <p:cNvPr id="23" name="Content Placeholder 49">
            <a:extLst>
              <a:ext uri="{FF2B5EF4-FFF2-40B4-BE49-F238E27FC236}">
                <a16:creationId xmlns:a16="http://schemas.microsoft.com/office/drawing/2014/main" id="{8D3D7191-2A98-0342-8540-2C2B1EDCBA26}"/>
              </a:ext>
            </a:extLst>
          </p:cNvPr>
          <p:cNvSpPr>
            <a:spLocks noGrp="1"/>
          </p:cNvSpPr>
          <p:nvPr>
            <p:ph sz="quarter" idx="16"/>
          </p:nvPr>
        </p:nvSpPr>
        <p:spPr>
          <a:xfrm>
            <a:off x="743712" y="1721756"/>
            <a:ext cx="10857365" cy="3757495"/>
          </a:xfrm>
          <a:prstGeom prst="rect">
            <a:avLst/>
          </a:prstGeom>
        </p:spPr>
        <p:txBody>
          <a:bodyPr/>
          <a:lstStyle>
            <a:lvl1pPr marL="0" indent="0">
              <a:lnSpc>
                <a:spcPct val="110000"/>
              </a:lnSpc>
              <a:spcBef>
                <a:spcPts val="800"/>
              </a:spcBef>
              <a:buNone/>
              <a:defRPr sz="1300"/>
            </a:lvl1pPr>
            <a:lvl2pPr marL="8335" indent="0">
              <a:lnSpc>
                <a:spcPct val="110000"/>
              </a:lnSpc>
              <a:spcBef>
                <a:spcPts val="800"/>
              </a:spcBef>
              <a:buNone/>
              <a:tabLst/>
              <a:defRPr sz="1300"/>
            </a:lvl2pPr>
            <a:lvl3pPr marL="172641" indent="-164306">
              <a:lnSpc>
                <a:spcPct val="110000"/>
              </a:lnSpc>
              <a:spcBef>
                <a:spcPts val="800"/>
              </a:spcBef>
              <a:spcAft>
                <a:spcPts val="0"/>
              </a:spcAft>
              <a:buFont typeface="System Font Regular"/>
              <a:buChar char="–"/>
              <a:tabLst/>
              <a:defRPr sz="1300"/>
            </a:lvl3pPr>
            <a:lvl4pPr marL="257175" indent="-132160">
              <a:lnSpc>
                <a:spcPct val="110000"/>
              </a:lnSpc>
              <a:spcBef>
                <a:spcPts val="800"/>
              </a:spcBef>
              <a:buFont typeface="System Font Regular"/>
              <a:buChar char="+"/>
              <a:tabLst/>
              <a:defRPr sz="1300"/>
            </a:lvl4pPr>
            <a:lvl5pPr marL="431006" indent="-132160">
              <a:lnSpc>
                <a:spcPct val="110000"/>
              </a:lnSpc>
              <a:spcBef>
                <a:spcPts val="800"/>
              </a:spcBef>
              <a:buFont typeface="System Font Regular"/>
              <a:buChar char="–"/>
              <a:tabLst/>
              <a:defRPr sz="13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5">
            <a:extLst>
              <a:ext uri="{FF2B5EF4-FFF2-40B4-BE49-F238E27FC236}">
                <a16:creationId xmlns:a16="http://schemas.microsoft.com/office/drawing/2014/main" id="{A66241A0-8171-8B46-B759-14CDF0D2CCF6}"/>
              </a:ext>
            </a:extLst>
          </p:cNvPr>
          <p:cNvSpPr>
            <a:spLocks noGrp="1"/>
          </p:cNvSpPr>
          <p:nvPr>
            <p:ph type="sldNum" sz="quarter" idx="4"/>
          </p:nvPr>
        </p:nvSpPr>
        <p:spPr>
          <a:xfrm>
            <a:off x="11452178" y="6375537"/>
            <a:ext cx="456429" cy="225291"/>
          </a:xfrm>
          <a:prstGeom prst="rect">
            <a:avLst/>
          </a:prstGeom>
        </p:spPr>
        <p:txBody>
          <a:bodyPr vert="horz" lIns="91440" tIns="45720" rIns="91440" bIns="45720" rtlCol="0" anchor="t"/>
          <a:lstStyle>
            <a:lvl1pPr algn="r">
              <a:defRPr sz="750" b="1" i="0">
                <a:solidFill>
                  <a:schemeClr val="tx1">
                    <a:tint val="75000"/>
                  </a:schemeClr>
                </a:solidFill>
                <a:latin typeface="+mj-lt"/>
              </a:defRPr>
            </a:lvl1pPr>
          </a:lstStyle>
          <a:p>
            <a:fld id="{982D468C-8F71-314C-A979-931A6F21B3BB}" type="slidenum">
              <a:rPr lang="en-US" smtClean="0"/>
              <a:pPr/>
              <a:t>‹N°›</a:t>
            </a:fld>
            <a:endParaRPr lang="en-US"/>
          </a:p>
        </p:txBody>
      </p:sp>
      <p:sp>
        <p:nvSpPr>
          <p:cNvPr id="21" name="Text Placeholder 3">
            <a:extLst>
              <a:ext uri="{FF2B5EF4-FFF2-40B4-BE49-F238E27FC236}">
                <a16:creationId xmlns:a16="http://schemas.microsoft.com/office/drawing/2014/main" id="{E9E487E1-5B0F-6B47-908D-0392CC6C4305}"/>
              </a:ext>
            </a:extLst>
          </p:cNvPr>
          <p:cNvSpPr>
            <a:spLocks noGrp="1"/>
          </p:cNvSpPr>
          <p:nvPr>
            <p:ph type="body" sz="quarter" idx="13"/>
          </p:nvPr>
        </p:nvSpPr>
        <p:spPr>
          <a:xfrm>
            <a:off x="887351" y="4468"/>
            <a:ext cx="1853264" cy="237757"/>
          </a:xfrm>
          <a:prstGeom prst="rect">
            <a:avLst/>
          </a:prstGeom>
          <a:solidFill>
            <a:schemeClr val="tx2"/>
          </a:solidFill>
          <a:ln>
            <a:noFill/>
          </a:ln>
        </p:spPr>
        <p:txBody>
          <a:bodyPr wrap="none" anchor="ctr">
            <a:spAutoFit/>
          </a:bodyPr>
          <a:lstStyle>
            <a:lvl1pPr marL="0" indent="0">
              <a:buNone/>
              <a:defRPr sz="1050" b="1" cap="all" spc="38" baseline="0">
                <a:solidFill>
                  <a:schemeClr val="bg1"/>
                </a:solidFill>
                <a:latin typeface="+mj-lt"/>
              </a:defRPr>
            </a:lvl1pPr>
          </a:lstStyle>
          <a:p>
            <a:pPr lvl="0"/>
            <a:r>
              <a:rPr lang="en-US"/>
              <a:t>Edit Master text styles</a:t>
            </a:r>
          </a:p>
        </p:txBody>
      </p:sp>
      <p:pic>
        <p:nvPicPr>
          <p:cNvPr id="22" name="Picture 21">
            <a:extLst>
              <a:ext uri="{FF2B5EF4-FFF2-40B4-BE49-F238E27FC236}">
                <a16:creationId xmlns:a16="http://schemas.microsoft.com/office/drawing/2014/main" id="{01DD4244-CF30-E54C-9616-E947B621463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315936"/>
            <a:ext cx="2099733" cy="546100"/>
          </a:xfrm>
          <a:prstGeom prst="rect">
            <a:avLst/>
          </a:prstGeom>
        </p:spPr>
      </p:pic>
      <p:sp>
        <p:nvSpPr>
          <p:cNvPr id="8" name="Text Placeholder 2">
            <a:extLst>
              <a:ext uri="{FF2B5EF4-FFF2-40B4-BE49-F238E27FC236}">
                <a16:creationId xmlns:a16="http://schemas.microsoft.com/office/drawing/2014/main" id="{2248CA77-C1B1-CF4B-8D42-98F2FCC48863}"/>
              </a:ext>
            </a:extLst>
          </p:cNvPr>
          <p:cNvSpPr>
            <a:spLocks noGrp="1"/>
          </p:cNvSpPr>
          <p:nvPr>
            <p:ph type="body" sz="quarter" idx="17" hasCustomPrompt="1"/>
          </p:nvPr>
        </p:nvSpPr>
        <p:spPr>
          <a:xfrm>
            <a:off x="743713" y="5900726"/>
            <a:ext cx="7412567" cy="250825"/>
          </a:xfrm>
          <a:prstGeom prst="rect">
            <a:avLst/>
          </a:prstGeom>
        </p:spPr>
        <p:txBody>
          <a:bodyPr/>
          <a:lstStyle>
            <a:lvl1pPr marL="0" indent="0">
              <a:buFontTx/>
              <a:buNone/>
              <a:defRPr sz="700" i="1"/>
            </a:lvl1pPr>
            <a:lvl2pPr marL="342900" indent="0">
              <a:buFontTx/>
              <a:buNone/>
              <a:defRPr sz="700"/>
            </a:lvl2pPr>
            <a:lvl3pPr marL="685800" indent="0">
              <a:buFontTx/>
              <a:buNone/>
              <a:defRPr sz="700"/>
            </a:lvl3pPr>
            <a:lvl4pPr marL="1028700" indent="0">
              <a:buFontTx/>
              <a:buNone/>
              <a:defRPr sz="700"/>
            </a:lvl4pPr>
            <a:lvl5pPr marL="1371600" indent="0">
              <a:buFontTx/>
              <a:buNone/>
              <a:defRPr sz="700"/>
            </a:lvl5pPr>
          </a:lstStyle>
          <a:p>
            <a:pPr lvl="0"/>
            <a:r>
              <a:rPr lang="en-US"/>
              <a:t>This style is used for a footnote or asterisk notated in text. Copy and paste on slides as necessary.</a:t>
            </a:r>
          </a:p>
        </p:txBody>
      </p:sp>
      <p:sp>
        <p:nvSpPr>
          <p:cNvPr id="11" name="Footer Placeholder 54">
            <a:extLst>
              <a:ext uri="{FF2B5EF4-FFF2-40B4-BE49-F238E27FC236}">
                <a16:creationId xmlns:a16="http://schemas.microsoft.com/office/drawing/2014/main" id="{1640443E-E1EC-E04F-88A8-89236BFB78EC}"/>
              </a:ext>
            </a:extLst>
          </p:cNvPr>
          <p:cNvSpPr>
            <a:spLocks noGrp="1"/>
          </p:cNvSpPr>
          <p:nvPr>
            <p:ph type="ftr" sz="quarter" idx="15"/>
          </p:nvPr>
        </p:nvSpPr>
        <p:spPr>
          <a:xfrm>
            <a:off x="7192162" y="6667939"/>
            <a:ext cx="4716445" cy="129246"/>
          </a:xfrm>
          <a:prstGeom prst="rect">
            <a:avLst/>
          </a:prstGeom>
        </p:spPr>
        <p:txBody>
          <a:bodyPr anchor="b" anchorCtr="0"/>
          <a:lstStyle>
            <a:lvl1pPr algn="r">
              <a:defRPr sz="600">
                <a:solidFill>
                  <a:schemeClr val="accent6">
                    <a:lumMod val="60000"/>
                    <a:lumOff val="40000"/>
                  </a:schemeClr>
                </a:solidFill>
              </a:defRPr>
            </a:lvl1pPr>
          </a:lstStyle>
          <a:p>
            <a:r>
              <a:rPr lang="en-US"/>
              <a:t>xxxxxx rev 1  DD-MM-YYYY   © 20XX Hill-Rom Services, Inc. ALL RIGHTS RESERVED.</a:t>
            </a:r>
          </a:p>
        </p:txBody>
      </p:sp>
    </p:spTree>
    <p:extLst>
      <p:ext uri="{BB962C8B-B14F-4D97-AF65-F5344CB8AC3E}">
        <p14:creationId xmlns:p14="http://schemas.microsoft.com/office/powerpoint/2010/main" val="176927575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1_Body - 1 Column / Subhead / Intro">
    <p:spTree>
      <p:nvGrpSpPr>
        <p:cNvPr id="1" name=""/>
        <p:cNvGrpSpPr/>
        <p:nvPr/>
      </p:nvGrpSpPr>
      <p:grpSpPr>
        <a:xfrm>
          <a:off x="0" y="0"/>
          <a:ext cx="0" cy="0"/>
          <a:chOff x="0" y="0"/>
          <a:chExt cx="0" cy="0"/>
        </a:xfrm>
      </p:grpSpPr>
      <p:sp>
        <p:nvSpPr>
          <p:cNvPr id="24" name="Subtitle 2">
            <a:extLst>
              <a:ext uri="{FF2B5EF4-FFF2-40B4-BE49-F238E27FC236}">
                <a16:creationId xmlns:a16="http://schemas.microsoft.com/office/drawing/2014/main" id="{81B25779-19DE-7D4E-A656-0639C7369897}"/>
              </a:ext>
            </a:extLst>
          </p:cNvPr>
          <p:cNvSpPr>
            <a:spLocks noGrp="1"/>
          </p:cNvSpPr>
          <p:nvPr>
            <p:ph type="subTitle" idx="1"/>
          </p:nvPr>
        </p:nvSpPr>
        <p:spPr>
          <a:xfrm>
            <a:off x="743712" y="1703296"/>
            <a:ext cx="10543419" cy="380487"/>
          </a:xfrm>
          <a:prstGeom prst="rect">
            <a:avLst/>
          </a:prstGeom>
        </p:spPr>
        <p:txBody>
          <a:bodyPr/>
          <a:lstStyle>
            <a:lvl1pPr marL="0" indent="0" algn="l">
              <a:buNone/>
              <a:defRPr sz="1600" b="1" i="0" cap="all" spc="38" baseline="0">
                <a:solidFill>
                  <a:schemeClr val="accent1"/>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25" name="Title 8">
            <a:extLst>
              <a:ext uri="{FF2B5EF4-FFF2-40B4-BE49-F238E27FC236}">
                <a16:creationId xmlns:a16="http://schemas.microsoft.com/office/drawing/2014/main" id="{BA15B838-6368-4E40-9C24-1FC5BBDB7E13}"/>
              </a:ext>
            </a:extLst>
          </p:cNvPr>
          <p:cNvSpPr>
            <a:spLocks noGrp="1"/>
          </p:cNvSpPr>
          <p:nvPr>
            <p:ph type="title" hasCustomPrompt="1"/>
          </p:nvPr>
        </p:nvSpPr>
        <p:spPr>
          <a:xfrm>
            <a:off x="743713" y="541839"/>
            <a:ext cx="10543420" cy="1099898"/>
          </a:xfrm>
          <a:prstGeom prst="rect">
            <a:avLst/>
          </a:prstGeom>
        </p:spPr>
        <p:txBody>
          <a:bodyPr/>
          <a:lstStyle>
            <a:lvl1pPr>
              <a:lnSpc>
                <a:spcPct val="90000"/>
              </a:lnSpc>
              <a:defRPr sz="2800" b="1" i="0" cap="none" spc="0" baseline="0">
                <a:latin typeface="+mj-lt"/>
              </a:defRPr>
            </a:lvl1pPr>
          </a:lstStyle>
          <a:p>
            <a:r>
              <a:rPr lang="en-US"/>
              <a:t>Body copy slide template—1 column/subhead/intro</a:t>
            </a:r>
          </a:p>
        </p:txBody>
      </p:sp>
      <p:sp>
        <p:nvSpPr>
          <p:cNvPr id="26" name="Slide Number Placeholder 5">
            <a:extLst>
              <a:ext uri="{FF2B5EF4-FFF2-40B4-BE49-F238E27FC236}">
                <a16:creationId xmlns:a16="http://schemas.microsoft.com/office/drawing/2014/main" id="{6AA0B4D3-F1D5-E840-816A-8B71734B0CEE}"/>
              </a:ext>
            </a:extLst>
          </p:cNvPr>
          <p:cNvSpPr>
            <a:spLocks noGrp="1"/>
          </p:cNvSpPr>
          <p:nvPr>
            <p:ph type="sldNum" sz="quarter" idx="4"/>
          </p:nvPr>
        </p:nvSpPr>
        <p:spPr>
          <a:xfrm>
            <a:off x="11452178" y="6375537"/>
            <a:ext cx="456429" cy="225291"/>
          </a:xfrm>
          <a:prstGeom prst="rect">
            <a:avLst/>
          </a:prstGeom>
        </p:spPr>
        <p:txBody>
          <a:bodyPr vert="horz" lIns="91440" tIns="45720" rIns="91440" bIns="45720" rtlCol="0" anchor="t"/>
          <a:lstStyle>
            <a:lvl1pPr algn="r">
              <a:defRPr sz="750" b="1" i="0">
                <a:solidFill>
                  <a:schemeClr val="tx1">
                    <a:tint val="75000"/>
                  </a:schemeClr>
                </a:solidFill>
                <a:latin typeface="+mj-lt"/>
              </a:defRPr>
            </a:lvl1pPr>
          </a:lstStyle>
          <a:p>
            <a:fld id="{982D468C-8F71-314C-A979-931A6F21B3BB}" type="slidenum">
              <a:rPr lang="en-US" smtClean="0"/>
              <a:pPr/>
              <a:t>‹N°›</a:t>
            </a:fld>
            <a:endParaRPr lang="en-US"/>
          </a:p>
        </p:txBody>
      </p:sp>
      <p:sp>
        <p:nvSpPr>
          <p:cNvPr id="28" name="Content Placeholder 49">
            <a:extLst>
              <a:ext uri="{FF2B5EF4-FFF2-40B4-BE49-F238E27FC236}">
                <a16:creationId xmlns:a16="http://schemas.microsoft.com/office/drawing/2014/main" id="{05837D7A-AD1A-C94C-B320-C98614E0C816}"/>
              </a:ext>
            </a:extLst>
          </p:cNvPr>
          <p:cNvSpPr>
            <a:spLocks noGrp="1"/>
          </p:cNvSpPr>
          <p:nvPr>
            <p:ph sz="quarter" idx="11"/>
          </p:nvPr>
        </p:nvSpPr>
        <p:spPr>
          <a:xfrm>
            <a:off x="743712" y="3124846"/>
            <a:ext cx="10543421" cy="2123361"/>
          </a:xfrm>
          <a:prstGeom prst="rect">
            <a:avLst/>
          </a:prstGeom>
        </p:spPr>
        <p:txBody>
          <a:bodyPr/>
          <a:lstStyle>
            <a:lvl1pPr marL="0" indent="0">
              <a:lnSpc>
                <a:spcPct val="110000"/>
              </a:lnSpc>
              <a:spcBef>
                <a:spcPts val="800"/>
              </a:spcBef>
              <a:buNone/>
              <a:defRPr sz="1300"/>
            </a:lvl1pPr>
            <a:lvl2pPr marL="8335" indent="0">
              <a:lnSpc>
                <a:spcPct val="110000"/>
              </a:lnSpc>
              <a:spcBef>
                <a:spcPts val="800"/>
              </a:spcBef>
              <a:buNone/>
              <a:tabLst/>
              <a:defRPr sz="1300"/>
            </a:lvl2pPr>
            <a:lvl3pPr marL="172641" indent="-164306">
              <a:lnSpc>
                <a:spcPct val="110000"/>
              </a:lnSpc>
              <a:spcBef>
                <a:spcPts val="800"/>
              </a:spcBef>
              <a:spcAft>
                <a:spcPts val="0"/>
              </a:spcAft>
              <a:buFont typeface="System Font Regular"/>
              <a:buChar char="–"/>
              <a:tabLst/>
              <a:defRPr sz="1300"/>
            </a:lvl3pPr>
            <a:lvl4pPr marL="257175" indent="-132160">
              <a:lnSpc>
                <a:spcPct val="110000"/>
              </a:lnSpc>
              <a:spcBef>
                <a:spcPts val="800"/>
              </a:spcBef>
              <a:buFont typeface="System Font Regular"/>
              <a:buChar char="+"/>
              <a:tabLst/>
              <a:defRPr sz="1300"/>
            </a:lvl4pPr>
            <a:lvl5pPr marL="431006" indent="-132160">
              <a:lnSpc>
                <a:spcPct val="110000"/>
              </a:lnSpc>
              <a:spcBef>
                <a:spcPts val="800"/>
              </a:spcBef>
              <a:buFont typeface="System Font Regular"/>
              <a:buChar char="–"/>
              <a:tabLst/>
              <a:defRPr sz="13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51">
            <a:extLst>
              <a:ext uri="{FF2B5EF4-FFF2-40B4-BE49-F238E27FC236}">
                <a16:creationId xmlns:a16="http://schemas.microsoft.com/office/drawing/2014/main" id="{0207D31D-BC9A-4240-AD71-3BE1FF850079}"/>
              </a:ext>
            </a:extLst>
          </p:cNvPr>
          <p:cNvSpPr>
            <a:spLocks noGrp="1"/>
          </p:cNvSpPr>
          <p:nvPr>
            <p:ph type="body" sz="quarter" idx="12"/>
          </p:nvPr>
        </p:nvSpPr>
        <p:spPr>
          <a:xfrm>
            <a:off x="743712" y="2349936"/>
            <a:ext cx="10543421" cy="762000"/>
          </a:xfrm>
          <a:prstGeom prst="rect">
            <a:avLst/>
          </a:prstGeom>
        </p:spPr>
        <p:txBody>
          <a:bodyPr>
            <a:noAutofit/>
          </a:bodyPr>
          <a:lstStyle>
            <a:lvl1pPr marL="0" indent="0">
              <a:lnSpc>
                <a:spcPct val="110000"/>
              </a:lnSpc>
              <a:spcBef>
                <a:spcPts val="0"/>
              </a:spcBef>
              <a:buNone/>
              <a:defRPr sz="2200"/>
            </a:lvl1pPr>
            <a:lvl2pPr marL="0" indent="0">
              <a:buNone/>
              <a:defRPr/>
            </a:lvl2pPr>
          </a:lstStyle>
          <a:p>
            <a:pPr lvl="0"/>
            <a:r>
              <a:rPr lang="en-US"/>
              <a:t>Edit Master text styles</a:t>
            </a:r>
          </a:p>
        </p:txBody>
      </p:sp>
      <p:sp>
        <p:nvSpPr>
          <p:cNvPr id="31" name="Text Placeholder 3">
            <a:extLst>
              <a:ext uri="{FF2B5EF4-FFF2-40B4-BE49-F238E27FC236}">
                <a16:creationId xmlns:a16="http://schemas.microsoft.com/office/drawing/2014/main" id="{B34AECDF-FC3D-2E4E-910C-170B151F2064}"/>
              </a:ext>
            </a:extLst>
          </p:cNvPr>
          <p:cNvSpPr>
            <a:spLocks noGrp="1"/>
          </p:cNvSpPr>
          <p:nvPr>
            <p:ph type="body" sz="quarter" idx="13"/>
          </p:nvPr>
        </p:nvSpPr>
        <p:spPr>
          <a:xfrm>
            <a:off x="887351" y="4468"/>
            <a:ext cx="1853264" cy="237757"/>
          </a:xfrm>
          <a:prstGeom prst="rect">
            <a:avLst/>
          </a:prstGeom>
          <a:solidFill>
            <a:schemeClr val="tx2"/>
          </a:solidFill>
          <a:ln>
            <a:noFill/>
          </a:ln>
        </p:spPr>
        <p:txBody>
          <a:bodyPr wrap="none" anchor="ctr">
            <a:spAutoFit/>
          </a:bodyPr>
          <a:lstStyle>
            <a:lvl1pPr marL="0" indent="0">
              <a:buNone/>
              <a:defRPr sz="1050" b="1" cap="all" spc="38" baseline="0">
                <a:solidFill>
                  <a:schemeClr val="bg1"/>
                </a:solidFill>
                <a:latin typeface="+mj-lt"/>
              </a:defRPr>
            </a:lvl1pPr>
          </a:lstStyle>
          <a:p>
            <a:pPr lvl="0"/>
            <a:r>
              <a:rPr lang="en-US"/>
              <a:t>Edit Master text styles</a:t>
            </a:r>
          </a:p>
        </p:txBody>
      </p:sp>
      <p:pic>
        <p:nvPicPr>
          <p:cNvPr id="3" name="Picture 2">
            <a:extLst>
              <a:ext uri="{FF2B5EF4-FFF2-40B4-BE49-F238E27FC236}">
                <a16:creationId xmlns:a16="http://schemas.microsoft.com/office/drawing/2014/main" id="{195275F6-E258-134E-906C-4DFD9EB9C5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315936"/>
            <a:ext cx="2099733" cy="546100"/>
          </a:xfrm>
          <a:prstGeom prst="rect">
            <a:avLst/>
          </a:prstGeom>
        </p:spPr>
      </p:pic>
      <p:sp>
        <p:nvSpPr>
          <p:cNvPr id="10" name="Text Placeholder 2">
            <a:extLst>
              <a:ext uri="{FF2B5EF4-FFF2-40B4-BE49-F238E27FC236}">
                <a16:creationId xmlns:a16="http://schemas.microsoft.com/office/drawing/2014/main" id="{ABA04560-02A1-8F42-9285-78269E0F7FEB}"/>
              </a:ext>
            </a:extLst>
          </p:cNvPr>
          <p:cNvSpPr>
            <a:spLocks noGrp="1"/>
          </p:cNvSpPr>
          <p:nvPr>
            <p:ph type="body" sz="quarter" idx="17" hasCustomPrompt="1"/>
          </p:nvPr>
        </p:nvSpPr>
        <p:spPr>
          <a:xfrm>
            <a:off x="743713" y="5900726"/>
            <a:ext cx="7412567" cy="250825"/>
          </a:xfrm>
          <a:prstGeom prst="rect">
            <a:avLst/>
          </a:prstGeom>
        </p:spPr>
        <p:txBody>
          <a:bodyPr/>
          <a:lstStyle>
            <a:lvl1pPr marL="0" indent="0">
              <a:buFontTx/>
              <a:buNone/>
              <a:defRPr sz="700" i="1"/>
            </a:lvl1pPr>
            <a:lvl2pPr marL="342900" indent="0">
              <a:buFontTx/>
              <a:buNone/>
              <a:defRPr sz="700"/>
            </a:lvl2pPr>
            <a:lvl3pPr marL="685800" indent="0">
              <a:buFontTx/>
              <a:buNone/>
              <a:defRPr sz="700"/>
            </a:lvl3pPr>
            <a:lvl4pPr marL="1028700" indent="0">
              <a:buFontTx/>
              <a:buNone/>
              <a:defRPr sz="700"/>
            </a:lvl4pPr>
            <a:lvl5pPr marL="1371600" indent="0">
              <a:buFontTx/>
              <a:buNone/>
              <a:defRPr sz="700"/>
            </a:lvl5pPr>
          </a:lstStyle>
          <a:p>
            <a:pPr lvl="0"/>
            <a:r>
              <a:rPr lang="en-US"/>
              <a:t>This style is used for a footnote or asterisk notated in text. Copy and paste on slides as necessary.</a:t>
            </a:r>
          </a:p>
        </p:txBody>
      </p:sp>
      <p:sp>
        <p:nvSpPr>
          <p:cNvPr id="12" name="Footer Placeholder 54">
            <a:extLst>
              <a:ext uri="{FF2B5EF4-FFF2-40B4-BE49-F238E27FC236}">
                <a16:creationId xmlns:a16="http://schemas.microsoft.com/office/drawing/2014/main" id="{A7562350-8D5E-C548-B9AB-DF0C32E6587E}"/>
              </a:ext>
            </a:extLst>
          </p:cNvPr>
          <p:cNvSpPr>
            <a:spLocks noGrp="1"/>
          </p:cNvSpPr>
          <p:nvPr>
            <p:ph type="ftr" sz="quarter" idx="15"/>
          </p:nvPr>
        </p:nvSpPr>
        <p:spPr>
          <a:xfrm>
            <a:off x="7192162" y="6667939"/>
            <a:ext cx="4716445" cy="129246"/>
          </a:xfrm>
          <a:prstGeom prst="rect">
            <a:avLst/>
          </a:prstGeom>
        </p:spPr>
        <p:txBody>
          <a:bodyPr anchor="b" anchorCtr="0"/>
          <a:lstStyle>
            <a:lvl1pPr algn="r">
              <a:defRPr sz="600">
                <a:solidFill>
                  <a:schemeClr val="accent6">
                    <a:lumMod val="60000"/>
                    <a:lumOff val="40000"/>
                  </a:schemeClr>
                </a:solidFill>
              </a:defRPr>
            </a:lvl1pPr>
          </a:lstStyle>
          <a:p>
            <a:r>
              <a:rPr lang="en-US"/>
              <a:t>xxxxxx rev 1  DD-MM-YYYY   © 20XX Hill-Rom Services, Inc. ALL RIGHTS RESERVED.</a:t>
            </a:r>
          </a:p>
        </p:txBody>
      </p:sp>
    </p:spTree>
    <p:extLst>
      <p:ext uri="{BB962C8B-B14F-4D97-AF65-F5344CB8AC3E}">
        <p14:creationId xmlns:p14="http://schemas.microsoft.com/office/powerpoint/2010/main" val="5232798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Cover - Pattern Dark">
    <p:bg>
      <p:bgPr>
        <a:solidFill>
          <a:schemeClr val="bg1"/>
        </a:solidFill>
        <a:effectLst/>
      </p:bgPr>
    </p:bg>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5C3BE970-939D-7D40-843D-44D56124BD31}"/>
              </a:ext>
            </a:extLst>
          </p:cNvPr>
          <p:cNvSpPr/>
          <p:nvPr/>
        </p:nvSpPr>
        <p:spPr>
          <a:xfrm>
            <a:off x="0" y="0"/>
            <a:ext cx="12188952"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FA962ADF-87F2-5D45-A694-3342BD87F55F}"/>
              </a:ext>
            </a:extLst>
          </p:cNvPr>
          <p:cNvSpPr/>
          <p:nvPr/>
        </p:nvSpPr>
        <p:spPr>
          <a:xfrm>
            <a:off x="0" y="0"/>
            <a:ext cx="12188952" cy="6857999"/>
          </a:xfrm>
          <a:prstGeom prst="rect">
            <a:avLst/>
          </a:prstGeom>
          <a:gradFill>
            <a:gsLst>
              <a:gs pos="0">
                <a:schemeClr val="accent3"/>
              </a:gs>
              <a:gs pos="86000">
                <a:schemeClr val="accent1">
                  <a:alpha val="45000"/>
                </a:schemeClr>
              </a:gs>
              <a:gs pos="52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6457E89D-281C-0E4C-B758-E56A871695C6}"/>
              </a:ext>
            </a:extLst>
          </p:cNvPr>
          <p:cNvSpPr/>
          <p:nvPr/>
        </p:nvSpPr>
        <p:spPr>
          <a:xfrm>
            <a:off x="6780786" y="1635370"/>
            <a:ext cx="4572000" cy="45368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a:extLst>
              <a:ext uri="{FF2B5EF4-FFF2-40B4-BE49-F238E27FC236}">
                <a16:creationId xmlns:a16="http://schemas.microsoft.com/office/drawing/2014/main" id="{99C2B2A5-C177-4445-AF46-3ED43A1CC4CB}"/>
              </a:ext>
            </a:extLst>
          </p:cNvPr>
          <p:cNvSpPr>
            <a:spLocks noGrp="1"/>
          </p:cNvSpPr>
          <p:nvPr>
            <p:ph type="subTitle" idx="1"/>
          </p:nvPr>
        </p:nvSpPr>
        <p:spPr>
          <a:xfrm>
            <a:off x="7063992" y="4180114"/>
            <a:ext cx="3868615" cy="502418"/>
          </a:xfrm>
          <a:prstGeom prst="rect">
            <a:avLst/>
          </a:prstGeom>
        </p:spPr>
        <p:txBody>
          <a:bodyPr/>
          <a:lstStyle>
            <a:lvl1pPr marL="0" indent="0" algn="l">
              <a:buNone/>
              <a:defRPr sz="1700" b="1" i="0">
                <a:solidFill>
                  <a:schemeClr val="accent1"/>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8">
            <a:extLst>
              <a:ext uri="{FF2B5EF4-FFF2-40B4-BE49-F238E27FC236}">
                <a16:creationId xmlns:a16="http://schemas.microsoft.com/office/drawing/2014/main" id="{FD3B8154-5856-0144-90B5-3564DC77E658}"/>
              </a:ext>
            </a:extLst>
          </p:cNvPr>
          <p:cNvSpPr>
            <a:spLocks noGrp="1"/>
          </p:cNvSpPr>
          <p:nvPr>
            <p:ph type="title"/>
          </p:nvPr>
        </p:nvSpPr>
        <p:spPr>
          <a:xfrm>
            <a:off x="7063992" y="2690834"/>
            <a:ext cx="3868615" cy="1489280"/>
          </a:xfrm>
          <a:prstGeom prst="rect">
            <a:avLst/>
          </a:prstGeom>
        </p:spPr>
        <p:txBody>
          <a:bodyPr/>
          <a:lstStyle>
            <a:lvl1pPr>
              <a:lnSpc>
                <a:spcPct val="84000"/>
              </a:lnSpc>
              <a:defRPr/>
            </a:lvl1pPr>
          </a:lstStyle>
          <a:p>
            <a:r>
              <a:rPr lang="en-US"/>
              <a:t>Click to edit Master title style</a:t>
            </a:r>
          </a:p>
        </p:txBody>
      </p:sp>
      <p:sp>
        <p:nvSpPr>
          <p:cNvPr id="29" name="Date Placeholder 28">
            <a:extLst>
              <a:ext uri="{FF2B5EF4-FFF2-40B4-BE49-F238E27FC236}">
                <a16:creationId xmlns:a16="http://schemas.microsoft.com/office/drawing/2014/main" id="{3773F558-72F9-3249-B110-C7FCBFFFD680}"/>
              </a:ext>
            </a:extLst>
          </p:cNvPr>
          <p:cNvSpPr>
            <a:spLocks noGrp="1"/>
          </p:cNvSpPr>
          <p:nvPr>
            <p:ph type="dt" sz="half" idx="10"/>
          </p:nvPr>
        </p:nvSpPr>
        <p:spPr>
          <a:xfrm>
            <a:off x="7063992" y="2216659"/>
            <a:ext cx="2743200" cy="365125"/>
          </a:xfrm>
          <a:prstGeom prst="rect">
            <a:avLst/>
          </a:prstGeom>
        </p:spPr>
        <p:txBody>
          <a:bodyPr anchor="b"/>
          <a:lstStyle>
            <a:lvl1pPr>
              <a:defRPr sz="1100" b="0" cap="all" spc="20" baseline="0">
                <a:solidFill>
                  <a:schemeClr val="accent1"/>
                </a:solidFill>
                <a:latin typeface="+mn-lt"/>
              </a:defRPr>
            </a:lvl1pPr>
          </a:lstStyle>
          <a:p>
            <a:fld id="{F978891D-A1B2-4803-8CE5-704822140BC9}" type="datetimeFigureOut">
              <a:rPr lang="en-US" smtClean="0"/>
              <a:t>1/27/2021</a:t>
            </a:fld>
            <a:endParaRPr lang="en-US"/>
          </a:p>
        </p:txBody>
      </p:sp>
      <p:sp>
        <p:nvSpPr>
          <p:cNvPr id="26" name="Rectangle 25">
            <a:extLst>
              <a:ext uri="{FF2B5EF4-FFF2-40B4-BE49-F238E27FC236}">
                <a16:creationId xmlns:a16="http://schemas.microsoft.com/office/drawing/2014/main" id="{EF3AA683-5AE9-CA4F-B319-F94DBFC8B7C2}"/>
              </a:ext>
            </a:extLst>
          </p:cNvPr>
          <p:cNvSpPr/>
          <p:nvPr/>
        </p:nvSpPr>
        <p:spPr>
          <a:xfrm>
            <a:off x="6780786" y="1585321"/>
            <a:ext cx="4572000" cy="919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Freeform 30">
            <a:extLst>
              <a:ext uri="{FF2B5EF4-FFF2-40B4-BE49-F238E27FC236}">
                <a16:creationId xmlns:a16="http://schemas.microsoft.com/office/drawing/2014/main" id="{2B36009B-6391-894E-A463-537257A737D7}"/>
              </a:ext>
            </a:extLst>
          </p:cNvPr>
          <p:cNvSpPr/>
          <p:nvPr/>
        </p:nvSpPr>
        <p:spPr>
          <a:xfrm>
            <a:off x="3095" y="0"/>
            <a:ext cx="5794893" cy="6858000"/>
          </a:xfrm>
          <a:custGeom>
            <a:avLst/>
            <a:gdLst>
              <a:gd name="connsiteX0" fmla="*/ 60222 w 5794893"/>
              <a:gd name="connsiteY0" fmla="*/ 0 h 6858000"/>
              <a:gd name="connsiteX1" fmla="*/ 123428 w 5794893"/>
              <a:gd name="connsiteY1" fmla="*/ 0 h 6858000"/>
              <a:gd name="connsiteX2" fmla="*/ 129048 w 5794893"/>
              <a:gd name="connsiteY2" fmla="*/ 97144 h 6858000"/>
              <a:gd name="connsiteX3" fmla="*/ 188042 w 5794893"/>
              <a:gd name="connsiteY3" fmla="*/ 92228 h 6858000"/>
              <a:gd name="connsiteX4" fmla="*/ 181944 w 5794893"/>
              <a:gd name="connsiteY4" fmla="*/ 0 h 6858000"/>
              <a:gd name="connsiteX5" fmla="*/ 246440 w 5794893"/>
              <a:gd name="connsiteY5" fmla="*/ 0 h 6858000"/>
              <a:gd name="connsiteX6" fmla="*/ 260555 w 5794893"/>
              <a:gd name="connsiteY6" fmla="*/ 97144 h 6858000"/>
              <a:gd name="connsiteX7" fmla="*/ 317091 w 5794893"/>
              <a:gd name="connsiteY7" fmla="*/ 87311 h 6858000"/>
              <a:gd name="connsiteX8" fmla="*/ 305151 w 5794893"/>
              <a:gd name="connsiteY8" fmla="*/ 0 h 6858000"/>
              <a:gd name="connsiteX9" fmla="*/ 368602 w 5794893"/>
              <a:gd name="connsiteY9" fmla="*/ 0 h 6858000"/>
              <a:gd name="connsiteX10" fmla="*/ 388375 w 5794893"/>
              <a:gd name="connsiteY10" fmla="*/ 97144 h 6858000"/>
              <a:gd name="connsiteX11" fmla="*/ 443681 w 5794893"/>
              <a:gd name="connsiteY11" fmla="*/ 82395 h 6858000"/>
              <a:gd name="connsiteX12" fmla="*/ 426181 w 5794893"/>
              <a:gd name="connsiteY12" fmla="*/ 0 h 6858000"/>
              <a:gd name="connsiteX13" fmla="*/ 490133 w 5794893"/>
              <a:gd name="connsiteY13" fmla="*/ 0 h 6858000"/>
              <a:gd name="connsiteX14" fmla="*/ 518652 w 5794893"/>
              <a:gd name="connsiteY14" fmla="*/ 97144 h 6858000"/>
              <a:gd name="connsiteX15" fmla="*/ 571500 w 5794893"/>
              <a:gd name="connsiteY15" fmla="*/ 77479 h 6858000"/>
              <a:gd name="connsiteX16" fmla="*/ 548754 w 5794893"/>
              <a:gd name="connsiteY16" fmla="*/ 0 h 6858000"/>
              <a:gd name="connsiteX17" fmla="*/ 611923 w 5794893"/>
              <a:gd name="connsiteY17" fmla="*/ 0 h 6858000"/>
              <a:gd name="connsiteX18" fmla="*/ 648930 w 5794893"/>
              <a:gd name="connsiteY18" fmla="*/ 97144 h 6858000"/>
              <a:gd name="connsiteX19" fmla="*/ 699320 w 5794893"/>
              <a:gd name="connsiteY19" fmla="*/ 72563 h 6858000"/>
              <a:gd name="connsiteX20" fmla="*/ 672368 w 5794893"/>
              <a:gd name="connsiteY20" fmla="*/ 0 h 6858000"/>
              <a:gd name="connsiteX21" fmla="*/ 733040 w 5794893"/>
              <a:gd name="connsiteY21" fmla="*/ 0 h 6858000"/>
              <a:gd name="connsiteX22" fmla="*/ 779207 w 5794893"/>
              <a:gd name="connsiteY22" fmla="*/ 97144 h 6858000"/>
              <a:gd name="connsiteX23" fmla="*/ 828369 w 5794893"/>
              <a:gd name="connsiteY23" fmla="*/ 67647 h 6858000"/>
              <a:gd name="connsiteX24" fmla="*/ 796220 w 5794893"/>
              <a:gd name="connsiteY24" fmla="*/ 0 h 6858000"/>
              <a:gd name="connsiteX25" fmla="*/ 852601 w 5794893"/>
              <a:gd name="connsiteY25" fmla="*/ 0 h 6858000"/>
              <a:gd name="connsiteX26" fmla="*/ 908255 w 5794893"/>
              <a:gd name="connsiteY26" fmla="*/ 97144 h 6858000"/>
              <a:gd name="connsiteX27" fmla="*/ 954959 w 5794893"/>
              <a:gd name="connsiteY27" fmla="*/ 62731 h 6858000"/>
              <a:gd name="connsiteX28" fmla="*/ 919390 w 5794893"/>
              <a:gd name="connsiteY28" fmla="*/ 0 h 6858000"/>
              <a:gd name="connsiteX29" fmla="*/ 971623 w 5794893"/>
              <a:gd name="connsiteY29" fmla="*/ 0 h 6858000"/>
              <a:gd name="connsiteX30" fmla="*/ 1037304 w 5794893"/>
              <a:gd name="connsiteY30" fmla="*/ 95915 h 6858000"/>
              <a:gd name="connsiteX31" fmla="*/ 1082778 w 5794893"/>
              <a:gd name="connsiteY31" fmla="*/ 56586 h 6858000"/>
              <a:gd name="connsiteX32" fmla="*/ 1044029 w 5794893"/>
              <a:gd name="connsiteY32" fmla="*/ 0 h 6858000"/>
              <a:gd name="connsiteX33" fmla="*/ 1089204 w 5794893"/>
              <a:gd name="connsiteY33" fmla="*/ 0 h 6858000"/>
              <a:gd name="connsiteX34" fmla="*/ 1167582 w 5794893"/>
              <a:gd name="connsiteY34" fmla="*/ 97144 h 6858000"/>
              <a:gd name="connsiteX35" fmla="*/ 1210598 w 5794893"/>
              <a:gd name="connsiteY35" fmla="*/ 51670 h 6858000"/>
              <a:gd name="connsiteX36" fmla="*/ 1168910 w 5794893"/>
              <a:gd name="connsiteY36" fmla="*/ 0 h 6858000"/>
              <a:gd name="connsiteX37" fmla="*/ 1206350 w 5794893"/>
              <a:gd name="connsiteY37" fmla="*/ 0 h 6858000"/>
              <a:gd name="connsiteX38" fmla="*/ 1297860 w 5794893"/>
              <a:gd name="connsiteY38" fmla="*/ 98373 h 6858000"/>
              <a:gd name="connsiteX39" fmla="*/ 1338417 w 5794893"/>
              <a:gd name="connsiteY39" fmla="*/ 49212 h 6858000"/>
              <a:gd name="connsiteX40" fmla="*/ 1292680 w 5794893"/>
              <a:gd name="connsiteY40" fmla="*/ 0 h 6858000"/>
              <a:gd name="connsiteX41" fmla="*/ 1321248 w 5794893"/>
              <a:gd name="connsiteY41" fmla="*/ 0 h 6858000"/>
              <a:gd name="connsiteX42" fmla="*/ 1426908 w 5794893"/>
              <a:gd name="connsiteY42" fmla="*/ 98373 h 6858000"/>
              <a:gd name="connsiteX43" fmla="*/ 1466237 w 5794893"/>
              <a:gd name="connsiteY43" fmla="*/ 43066 h 6858000"/>
              <a:gd name="connsiteX44" fmla="*/ 1419403 w 5794893"/>
              <a:gd name="connsiteY44" fmla="*/ 0 h 6858000"/>
              <a:gd name="connsiteX45" fmla="*/ 1441534 w 5794893"/>
              <a:gd name="connsiteY45" fmla="*/ 0 h 6858000"/>
              <a:gd name="connsiteX46" fmla="*/ 1439198 w 5794893"/>
              <a:gd name="connsiteY46" fmla="*/ 3737 h 6858000"/>
              <a:gd name="connsiteX47" fmla="*/ 1555957 w 5794893"/>
              <a:gd name="connsiteY47" fmla="*/ 97144 h 6858000"/>
              <a:gd name="connsiteX48" fmla="*/ 1592828 w 5794893"/>
              <a:gd name="connsiteY48" fmla="*/ 38150 h 6858000"/>
              <a:gd name="connsiteX49" fmla="*/ 1545140 w 5794893"/>
              <a:gd name="connsiteY49" fmla="*/ 0 h 6858000"/>
              <a:gd name="connsiteX50" fmla="*/ 1563241 w 5794893"/>
              <a:gd name="connsiteY50" fmla="*/ 0 h 6858000"/>
              <a:gd name="connsiteX51" fmla="*/ 1558415 w 5794893"/>
              <a:gd name="connsiteY51" fmla="*/ 8653 h 6858000"/>
              <a:gd name="connsiteX52" fmla="*/ 1685005 w 5794893"/>
              <a:gd name="connsiteY52" fmla="*/ 97144 h 6858000"/>
              <a:gd name="connsiteX53" fmla="*/ 1718189 w 5794893"/>
              <a:gd name="connsiteY53" fmla="*/ 36922 h 6858000"/>
              <a:gd name="connsiteX54" fmla="*/ 1815282 w 5794893"/>
              <a:gd name="connsiteY54" fmla="*/ 97144 h 6858000"/>
              <a:gd name="connsiteX55" fmla="*/ 1842321 w 5794893"/>
              <a:gd name="connsiteY55" fmla="*/ 41838 h 6858000"/>
              <a:gd name="connsiteX56" fmla="*/ 1945560 w 5794893"/>
              <a:gd name="connsiteY56" fmla="*/ 97144 h 6858000"/>
              <a:gd name="connsiteX57" fmla="*/ 1967682 w 5794893"/>
              <a:gd name="connsiteY57" fmla="*/ 45524 h 6858000"/>
              <a:gd name="connsiteX58" fmla="*/ 2075837 w 5794893"/>
              <a:gd name="connsiteY58" fmla="*/ 97144 h 6858000"/>
              <a:gd name="connsiteX59" fmla="*/ 2093044 w 5794893"/>
              <a:gd name="connsiteY59" fmla="*/ 50440 h 6858000"/>
              <a:gd name="connsiteX60" fmla="*/ 2204887 w 5794893"/>
              <a:gd name="connsiteY60" fmla="*/ 97144 h 6858000"/>
              <a:gd name="connsiteX61" fmla="*/ 2218405 w 5794893"/>
              <a:gd name="connsiteY61" fmla="*/ 54128 h 6858000"/>
              <a:gd name="connsiteX62" fmla="*/ 2336392 w 5794893"/>
              <a:gd name="connsiteY62" fmla="*/ 98373 h 6858000"/>
              <a:gd name="connsiteX63" fmla="*/ 2347454 w 5794893"/>
              <a:gd name="connsiteY63" fmla="*/ 60273 h 6858000"/>
              <a:gd name="connsiteX64" fmla="*/ 2466670 w 5794893"/>
              <a:gd name="connsiteY64" fmla="*/ 98373 h 6858000"/>
              <a:gd name="connsiteX65" fmla="*/ 2475274 w 5794893"/>
              <a:gd name="connsiteY65" fmla="*/ 63960 h 6858000"/>
              <a:gd name="connsiteX66" fmla="*/ 2595719 w 5794893"/>
              <a:gd name="connsiteY66" fmla="*/ 98373 h 6858000"/>
              <a:gd name="connsiteX67" fmla="*/ 2601864 w 5794893"/>
              <a:gd name="connsiteY67" fmla="*/ 68877 h 6858000"/>
              <a:gd name="connsiteX68" fmla="*/ 2724767 w 5794893"/>
              <a:gd name="connsiteY68" fmla="*/ 98373 h 6858000"/>
              <a:gd name="connsiteX69" fmla="*/ 2729683 w 5794893"/>
              <a:gd name="connsiteY69" fmla="*/ 72563 h 6858000"/>
              <a:gd name="connsiteX70" fmla="*/ 2855045 w 5794893"/>
              <a:gd name="connsiteY70" fmla="*/ 98373 h 6858000"/>
              <a:gd name="connsiteX71" fmla="*/ 2858732 w 5794893"/>
              <a:gd name="connsiteY71" fmla="*/ 76251 h 6858000"/>
              <a:gd name="connsiteX72" fmla="*/ 2985322 w 5794893"/>
              <a:gd name="connsiteY72" fmla="*/ 98373 h 6858000"/>
              <a:gd name="connsiteX73" fmla="*/ 2987780 w 5794893"/>
              <a:gd name="connsiteY73" fmla="*/ 79937 h 6858000"/>
              <a:gd name="connsiteX74" fmla="*/ 3114371 w 5794893"/>
              <a:gd name="connsiteY74" fmla="*/ 98373 h 6858000"/>
              <a:gd name="connsiteX75" fmla="*/ 3115600 w 5794893"/>
              <a:gd name="connsiteY75" fmla="*/ 82395 h 6858000"/>
              <a:gd name="connsiteX76" fmla="*/ 3243419 w 5794893"/>
              <a:gd name="connsiteY76" fmla="*/ 98373 h 6858000"/>
              <a:gd name="connsiteX77" fmla="*/ 3244649 w 5794893"/>
              <a:gd name="connsiteY77" fmla="*/ 86083 h 6858000"/>
              <a:gd name="connsiteX78" fmla="*/ 3373697 w 5794893"/>
              <a:gd name="connsiteY78" fmla="*/ 98373 h 6858000"/>
              <a:gd name="connsiteX79" fmla="*/ 3374927 w 5794893"/>
              <a:gd name="connsiteY79" fmla="*/ 88541 h 6858000"/>
              <a:gd name="connsiteX80" fmla="*/ 3503974 w 5794893"/>
              <a:gd name="connsiteY80" fmla="*/ 98373 h 6858000"/>
              <a:gd name="connsiteX81" fmla="*/ 3503974 w 5794893"/>
              <a:gd name="connsiteY81" fmla="*/ 90999 h 6858000"/>
              <a:gd name="connsiteX82" fmla="*/ 3633024 w 5794893"/>
              <a:gd name="connsiteY82" fmla="*/ 98373 h 6858000"/>
              <a:gd name="connsiteX83" fmla="*/ 3633024 w 5794893"/>
              <a:gd name="connsiteY83" fmla="*/ 93457 h 6858000"/>
              <a:gd name="connsiteX84" fmla="*/ 3641626 w 5794893"/>
              <a:gd name="connsiteY84" fmla="*/ 93457 h 6858000"/>
              <a:gd name="connsiteX85" fmla="*/ 3721514 w 5794893"/>
              <a:gd name="connsiteY85" fmla="*/ 95915 h 6858000"/>
              <a:gd name="connsiteX86" fmla="*/ 3721514 w 5794893"/>
              <a:gd name="connsiteY86" fmla="*/ 97144 h 6858000"/>
              <a:gd name="connsiteX87" fmla="*/ 5715007 w 5794893"/>
              <a:gd name="connsiteY87" fmla="*/ 142619 h 6858000"/>
              <a:gd name="connsiteX88" fmla="*/ 3721514 w 5794893"/>
              <a:gd name="connsiteY88" fmla="*/ 137702 h 6858000"/>
              <a:gd name="connsiteX89" fmla="*/ 3721514 w 5794893"/>
              <a:gd name="connsiteY89" fmla="*/ 140160 h 6858000"/>
              <a:gd name="connsiteX90" fmla="*/ 3603527 w 5794893"/>
              <a:gd name="connsiteY90" fmla="*/ 137702 h 6858000"/>
              <a:gd name="connsiteX91" fmla="*/ 3603527 w 5794893"/>
              <a:gd name="connsiteY91" fmla="*/ 141389 h 6858000"/>
              <a:gd name="connsiteX92" fmla="*/ 3485540 w 5794893"/>
              <a:gd name="connsiteY92" fmla="*/ 137702 h 6858000"/>
              <a:gd name="connsiteX93" fmla="*/ 3485540 w 5794893"/>
              <a:gd name="connsiteY93" fmla="*/ 143847 h 6858000"/>
              <a:gd name="connsiteX94" fmla="*/ 3367552 w 5794893"/>
              <a:gd name="connsiteY94" fmla="*/ 137702 h 6858000"/>
              <a:gd name="connsiteX95" fmla="*/ 3367552 w 5794893"/>
              <a:gd name="connsiteY95" fmla="*/ 146305 h 6858000"/>
              <a:gd name="connsiteX96" fmla="*/ 3249565 w 5794893"/>
              <a:gd name="connsiteY96" fmla="*/ 137702 h 6858000"/>
              <a:gd name="connsiteX97" fmla="*/ 3249565 w 5794893"/>
              <a:gd name="connsiteY97" fmla="*/ 148763 h 6858000"/>
              <a:gd name="connsiteX98" fmla="*/ 3131578 w 5794893"/>
              <a:gd name="connsiteY98" fmla="*/ 137702 h 6858000"/>
              <a:gd name="connsiteX99" fmla="*/ 3129120 w 5794893"/>
              <a:gd name="connsiteY99" fmla="*/ 152451 h 6858000"/>
              <a:gd name="connsiteX100" fmla="*/ 3012361 w 5794893"/>
              <a:gd name="connsiteY100" fmla="*/ 137702 h 6858000"/>
              <a:gd name="connsiteX101" fmla="*/ 3011133 w 5794893"/>
              <a:gd name="connsiteY101" fmla="*/ 154909 h 6858000"/>
              <a:gd name="connsiteX102" fmla="*/ 2894374 w 5794893"/>
              <a:gd name="connsiteY102" fmla="*/ 137702 h 6858000"/>
              <a:gd name="connsiteX103" fmla="*/ 2891916 w 5794893"/>
              <a:gd name="connsiteY103" fmla="*/ 158595 h 6858000"/>
              <a:gd name="connsiteX104" fmla="*/ 2776386 w 5794893"/>
              <a:gd name="connsiteY104" fmla="*/ 137702 h 6858000"/>
              <a:gd name="connsiteX105" fmla="*/ 2772700 w 5794893"/>
              <a:gd name="connsiteY105" fmla="*/ 162283 h 6858000"/>
              <a:gd name="connsiteX106" fmla="*/ 2658399 w 5794893"/>
              <a:gd name="connsiteY106" fmla="*/ 137702 h 6858000"/>
              <a:gd name="connsiteX107" fmla="*/ 2653483 w 5794893"/>
              <a:gd name="connsiteY107" fmla="*/ 164741 h 6858000"/>
              <a:gd name="connsiteX108" fmla="*/ 2540412 w 5794893"/>
              <a:gd name="connsiteY108" fmla="*/ 137702 h 6858000"/>
              <a:gd name="connsiteX109" fmla="*/ 2534268 w 5794893"/>
              <a:gd name="connsiteY109" fmla="*/ 169657 h 6858000"/>
              <a:gd name="connsiteX110" fmla="*/ 2422425 w 5794893"/>
              <a:gd name="connsiteY110" fmla="*/ 137702 h 6858000"/>
              <a:gd name="connsiteX111" fmla="*/ 2415051 w 5794893"/>
              <a:gd name="connsiteY111" fmla="*/ 173344 h 6858000"/>
              <a:gd name="connsiteX112" fmla="*/ 2304438 w 5794893"/>
              <a:gd name="connsiteY112" fmla="*/ 137702 h 6858000"/>
              <a:gd name="connsiteX113" fmla="*/ 2294605 w 5794893"/>
              <a:gd name="connsiteY113" fmla="*/ 177031 h 6858000"/>
              <a:gd name="connsiteX114" fmla="*/ 2186450 w 5794893"/>
              <a:gd name="connsiteY114" fmla="*/ 137702 h 6858000"/>
              <a:gd name="connsiteX115" fmla="*/ 2174160 w 5794893"/>
              <a:gd name="connsiteY115" fmla="*/ 181948 h 6858000"/>
              <a:gd name="connsiteX116" fmla="*/ 2068463 w 5794893"/>
              <a:gd name="connsiteY116" fmla="*/ 137702 h 6858000"/>
              <a:gd name="connsiteX117" fmla="*/ 2052486 w 5794893"/>
              <a:gd name="connsiteY117" fmla="*/ 186864 h 6858000"/>
              <a:gd name="connsiteX118" fmla="*/ 1950476 w 5794893"/>
              <a:gd name="connsiteY118" fmla="*/ 137702 h 6858000"/>
              <a:gd name="connsiteX119" fmla="*/ 1930811 w 5794893"/>
              <a:gd name="connsiteY119" fmla="*/ 190550 h 6858000"/>
              <a:gd name="connsiteX120" fmla="*/ 1832489 w 5794893"/>
              <a:gd name="connsiteY120" fmla="*/ 137702 h 6858000"/>
              <a:gd name="connsiteX121" fmla="*/ 1807908 w 5794893"/>
              <a:gd name="connsiteY121" fmla="*/ 195466 h 6858000"/>
              <a:gd name="connsiteX122" fmla="*/ 1714501 w 5794893"/>
              <a:gd name="connsiteY122" fmla="*/ 137702 h 6858000"/>
              <a:gd name="connsiteX123" fmla="*/ 1685005 w 5794893"/>
              <a:gd name="connsiteY123" fmla="*/ 200382 h 6858000"/>
              <a:gd name="connsiteX124" fmla="*/ 1596514 w 5794893"/>
              <a:gd name="connsiteY124" fmla="*/ 137702 h 6858000"/>
              <a:gd name="connsiteX125" fmla="*/ 1560873 w 5794893"/>
              <a:gd name="connsiteY125" fmla="*/ 201612 h 6858000"/>
              <a:gd name="connsiteX126" fmla="*/ 1685005 w 5794893"/>
              <a:gd name="connsiteY126" fmla="*/ 291331 h 6858000"/>
              <a:gd name="connsiteX127" fmla="*/ 1718189 w 5794893"/>
              <a:gd name="connsiteY127" fmla="*/ 231109 h 6858000"/>
              <a:gd name="connsiteX128" fmla="*/ 1815282 w 5794893"/>
              <a:gd name="connsiteY128" fmla="*/ 291331 h 6858000"/>
              <a:gd name="connsiteX129" fmla="*/ 1842321 w 5794893"/>
              <a:gd name="connsiteY129" fmla="*/ 236025 h 6858000"/>
              <a:gd name="connsiteX130" fmla="*/ 1945560 w 5794893"/>
              <a:gd name="connsiteY130" fmla="*/ 291331 h 6858000"/>
              <a:gd name="connsiteX131" fmla="*/ 1967682 w 5794893"/>
              <a:gd name="connsiteY131" fmla="*/ 239712 h 6858000"/>
              <a:gd name="connsiteX132" fmla="*/ 2075837 w 5794893"/>
              <a:gd name="connsiteY132" fmla="*/ 291331 h 6858000"/>
              <a:gd name="connsiteX133" fmla="*/ 2093044 w 5794893"/>
              <a:gd name="connsiteY133" fmla="*/ 244628 h 6858000"/>
              <a:gd name="connsiteX134" fmla="*/ 2204887 w 5794893"/>
              <a:gd name="connsiteY134" fmla="*/ 291331 h 6858000"/>
              <a:gd name="connsiteX135" fmla="*/ 2218405 w 5794893"/>
              <a:gd name="connsiteY135" fmla="*/ 248315 h 6858000"/>
              <a:gd name="connsiteX136" fmla="*/ 2333934 w 5794893"/>
              <a:gd name="connsiteY136" fmla="*/ 291331 h 6858000"/>
              <a:gd name="connsiteX137" fmla="*/ 2344996 w 5794893"/>
              <a:gd name="connsiteY137" fmla="*/ 253232 h 6858000"/>
              <a:gd name="connsiteX138" fmla="*/ 2464212 w 5794893"/>
              <a:gd name="connsiteY138" fmla="*/ 291331 h 6858000"/>
              <a:gd name="connsiteX139" fmla="*/ 2472816 w 5794893"/>
              <a:gd name="connsiteY139" fmla="*/ 256918 h 6858000"/>
              <a:gd name="connsiteX140" fmla="*/ 2593261 w 5794893"/>
              <a:gd name="connsiteY140" fmla="*/ 291331 h 6858000"/>
              <a:gd name="connsiteX141" fmla="*/ 2599406 w 5794893"/>
              <a:gd name="connsiteY141" fmla="*/ 261834 h 6858000"/>
              <a:gd name="connsiteX142" fmla="*/ 2722309 w 5794893"/>
              <a:gd name="connsiteY142" fmla="*/ 291331 h 6858000"/>
              <a:gd name="connsiteX143" fmla="*/ 2727225 w 5794893"/>
              <a:gd name="connsiteY143" fmla="*/ 265522 h 6858000"/>
              <a:gd name="connsiteX144" fmla="*/ 2852587 w 5794893"/>
              <a:gd name="connsiteY144" fmla="*/ 291331 h 6858000"/>
              <a:gd name="connsiteX145" fmla="*/ 2856274 w 5794893"/>
              <a:gd name="connsiteY145" fmla="*/ 269208 h 6858000"/>
              <a:gd name="connsiteX146" fmla="*/ 2982864 w 5794893"/>
              <a:gd name="connsiteY146" fmla="*/ 291331 h 6858000"/>
              <a:gd name="connsiteX147" fmla="*/ 2985322 w 5794893"/>
              <a:gd name="connsiteY147" fmla="*/ 272896 h 6858000"/>
              <a:gd name="connsiteX148" fmla="*/ 3111913 w 5794893"/>
              <a:gd name="connsiteY148" fmla="*/ 291331 h 6858000"/>
              <a:gd name="connsiteX149" fmla="*/ 3114371 w 5794893"/>
              <a:gd name="connsiteY149" fmla="*/ 275354 h 6858000"/>
              <a:gd name="connsiteX150" fmla="*/ 3240961 w 5794893"/>
              <a:gd name="connsiteY150" fmla="*/ 291331 h 6858000"/>
              <a:gd name="connsiteX151" fmla="*/ 3242191 w 5794893"/>
              <a:gd name="connsiteY151" fmla="*/ 279041 h 6858000"/>
              <a:gd name="connsiteX152" fmla="*/ 3371239 w 5794893"/>
              <a:gd name="connsiteY152" fmla="*/ 291331 h 6858000"/>
              <a:gd name="connsiteX153" fmla="*/ 3372468 w 5794893"/>
              <a:gd name="connsiteY153" fmla="*/ 281499 h 6858000"/>
              <a:gd name="connsiteX154" fmla="*/ 3501516 w 5794893"/>
              <a:gd name="connsiteY154" fmla="*/ 291331 h 6858000"/>
              <a:gd name="connsiteX155" fmla="*/ 3501516 w 5794893"/>
              <a:gd name="connsiteY155" fmla="*/ 283957 h 6858000"/>
              <a:gd name="connsiteX156" fmla="*/ 3630565 w 5794893"/>
              <a:gd name="connsiteY156" fmla="*/ 291331 h 6858000"/>
              <a:gd name="connsiteX157" fmla="*/ 3630565 w 5794893"/>
              <a:gd name="connsiteY157" fmla="*/ 286415 h 6858000"/>
              <a:gd name="connsiteX158" fmla="*/ 3639168 w 5794893"/>
              <a:gd name="connsiteY158" fmla="*/ 286415 h 6858000"/>
              <a:gd name="connsiteX159" fmla="*/ 3719056 w 5794893"/>
              <a:gd name="connsiteY159" fmla="*/ 288873 h 6858000"/>
              <a:gd name="connsiteX160" fmla="*/ 3719056 w 5794893"/>
              <a:gd name="connsiteY160" fmla="*/ 290103 h 6858000"/>
              <a:gd name="connsiteX161" fmla="*/ 5727297 w 5794893"/>
              <a:gd name="connsiteY161" fmla="*/ 331890 h 6858000"/>
              <a:gd name="connsiteX162" fmla="*/ 3719056 w 5794893"/>
              <a:gd name="connsiteY162" fmla="*/ 331890 h 6858000"/>
              <a:gd name="connsiteX163" fmla="*/ 3719056 w 5794893"/>
              <a:gd name="connsiteY163" fmla="*/ 334348 h 6858000"/>
              <a:gd name="connsiteX164" fmla="*/ 3601069 w 5794893"/>
              <a:gd name="connsiteY164" fmla="*/ 331890 h 6858000"/>
              <a:gd name="connsiteX165" fmla="*/ 3601069 w 5794893"/>
              <a:gd name="connsiteY165" fmla="*/ 336806 h 6858000"/>
              <a:gd name="connsiteX166" fmla="*/ 3485540 w 5794893"/>
              <a:gd name="connsiteY166" fmla="*/ 333118 h 6858000"/>
              <a:gd name="connsiteX167" fmla="*/ 3485540 w 5794893"/>
              <a:gd name="connsiteY167" fmla="*/ 339264 h 6858000"/>
              <a:gd name="connsiteX168" fmla="*/ 3367552 w 5794893"/>
              <a:gd name="connsiteY168" fmla="*/ 333118 h 6858000"/>
              <a:gd name="connsiteX169" fmla="*/ 3367552 w 5794893"/>
              <a:gd name="connsiteY169" fmla="*/ 341722 h 6858000"/>
              <a:gd name="connsiteX170" fmla="*/ 3249565 w 5794893"/>
              <a:gd name="connsiteY170" fmla="*/ 333118 h 6858000"/>
              <a:gd name="connsiteX171" fmla="*/ 3249565 w 5794893"/>
              <a:gd name="connsiteY171" fmla="*/ 344180 h 6858000"/>
              <a:gd name="connsiteX172" fmla="*/ 3131578 w 5794893"/>
              <a:gd name="connsiteY172" fmla="*/ 333118 h 6858000"/>
              <a:gd name="connsiteX173" fmla="*/ 3130348 w 5794893"/>
              <a:gd name="connsiteY173" fmla="*/ 347866 h 6858000"/>
              <a:gd name="connsiteX174" fmla="*/ 3012361 w 5794893"/>
              <a:gd name="connsiteY174" fmla="*/ 333118 h 6858000"/>
              <a:gd name="connsiteX175" fmla="*/ 3011133 w 5794893"/>
              <a:gd name="connsiteY175" fmla="*/ 350325 h 6858000"/>
              <a:gd name="connsiteX176" fmla="*/ 2894374 w 5794893"/>
              <a:gd name="connsiteY176" fmla="*/ 333118 h 6858000"/>
              <a:gd name="connsiteX177" fmla="*/ 2891916 w 5794893"/>
              <a:gd name="connsiteY177" fmla="*/ 354012 h 6858000"/>
              <a:gd name="connsiteX178" fmla="*/ 2776386 w 5794893"/>
              <a:gd name="connsiteY178" fmla="*/ 333118 h 6858000"/>
              <a:gd name="connsiteX179" fmla="*/ 2772700 w 5794893"/>
              <a:gd name="connsiteY179" fmla="*/ 357699 h 6858000"/>
              <a:gd name="connsiteX180" fmla="*/ 2658399 w 5794893"/>
              <a:gd name="connsiteY180" fmla="*/ 333118 h 6858000"/>
              <a:gd name="connsiteX181" fmla="*/ 2653483 w 5794893"/>
              <a:gd name="connsiteY181" fmla="*/ 360157 h 6858000"/>
              <a:gd name="connsiteX182" fmla="*/ 2540412 w 5794893"/>
              <a:gd name="connsiteY182" fmla="*/ 333118 h 6858000"/>
              <a:gd name="connsiteX183" fmla="*/ 2534268 w 5794893"/>
              <a:gd name="connsiteY183" fmla="*/ 365073 h 6858000"/>
              <a:gd name="connsiteX184" fmla="*/ 2422425 w 5794893"/>
              <a:gd name="connsiteY184" fmla="*/ 333118 h 6858000"/>
              <a:gd name="connsiteX185" fmla="*/ 2415051 w 5794893"/>
              <a:gd name="connsiteY185" fmla="*/ 368761 h 6858000"/>
              <a:gd name="connsiteX186" fmla="*/ 2304438 w 5794893"/>
              <a:gd name="connsiteY186" fmla="*/ 333118 h 6858000"/>
              <a:gd name="connsiteX187" fmla="*/ 2294605 w 5794893"/>
              <a:gd name="connsiteY187" fmla="*/ 372447 h 6858000"/>
              <a:gd name="connsiteX188" fmla="*/ 2186450 w 5794893"/>
              <a:gd name="connsiteY188" fmla="*/ 333118 h 6858000"/>
              <a:gd name="connsiteX189" fmla="*/ 2174160 w 5794893"/>
              <a:gd name="connsiteY189" fmla="*/ 377363 h 6858000"/>
              <a:gd name="connsiteX190" fmla="*/ 2068463 w 5794893"/>
              <a:gd name="connsiteY190" fmla="*/ 333118 h 6858000"/>
              <a:gd name="connsiteX191" fmla="*/ 2052486 w 5794893"/>
              <a:gd name="connsiteY191" fmla="*/ 382279 h 6858000"/>
              <a:gd name="connsiteX192" fmla="*/ 1950476 w 5794893"/>
              <a:gd name="connsiteY192" fmla="*/ 333118 h 6858000"/>
              <a:gd name="connsiteX193" fmla="*/ 1930811 w 5794893"/>
              <a:gd name="connsiteY193" fmla="*/ 387196 h 6858000"/>
              <a:gd name="connsiteX194" fmla="*/ 1832489 w 5794893"/>
              <a:gd name="connsiteY194" fmla="*/ 334348 h 6858000"/>
              <a:gd name="connsiteX195" fmla="*/ 1807908 w 5794893"/>
              <a:gd name="connsiteY195" fmla="*/ 392112 h 6858000"/>
              <a:gd name="connsiteX196" fmla="*/ 1714501 w 5794893"/>
              <a:gd name="connsiteY196" fmla="*/ 334348 h 6858000"/>
              <a:gd name="connsiteX197" fmla="*/ 1685005 w 5794893"/>
              <a:gd name="connsiteY197" fmla="*/ 395799 h 6858000"/>
              <a:gd name="connsiteX198" fmla="*/ 1596514 w 5794893"/>
              <a:gd name="connsiteY198" fmla="*/ 333118 h 6858000"/>
              <a:gd name="connsiteX199" fmla="*/ 1560873 w 5794893"/>
              <a:gd name="connsiteY199" fmla="*/ 397028 h 6858000"/>
              <a:gd name="connsiteX200" fmla="*/ 1685005 w 5794893"/>
              <a:gd name="connsiteY200" fmla="*/ 485518 h 6858000"/>
              <a:gd name="connsiteX201" fmla="*/ 1718189 w 5794893"/>
              <a:gd name="connsiteY201" fmla="*/ 425296 h 6858000"/>
              <a:gd name="connsiteX202" fmla="*/ 1815282 w 5794893"/>
              <a:gd name="connsiteY202" fmla="*/ 485518 h 6858000"/>
              <a:gd name="connsiteX203" fmla="*/ 1842321 w 5794893"/>
              <a:gd name="connsiteY203" fmla="*/ 430212 h 6858000"/>
              <a:gd name="connsiteX204" fmla="*/ 1945560 w 5794893"/>
              <a:gd name="connsiteY204" fmla="*/ 485518 h 6858000"/>
              <a:gd name="connsiteX205" fmla="*/ 1967682 w 5794893"/>
              <a:gd name="connsiteY205" fmla="*/ 433899 h 6858000"/>
              <a:gd name="connsiteX206" fmla="*/ 2075837 w 5794893"/>
              <a:gd name="connsiteY206" fmla="*/ 485518 h 6858000"/>
              <a:gd name="connsiteX207" fmla="*/ 2093044 w 5794893"/>
              <a:gd name="connsiteY207" fmla="*/ 438815 h 6858000"/>
              <a:gd name="connsiteX208" fmla="*/ 2204887 w 5794893"/>
              <a:gd name="connsiteY208" fmla="*/ 485518 h 6858000"/>
              <a:gd name="connsiteX209" fmla="*/ 2218405 w 5794893"/>
              <a:gd name="connsiteY209" fmla="*/ 442503 h 6858000"/>
              <a:gd name="connsiteX210" fmla="*/ 2333934 w 5794893"/>
              <a:gd name="connsiteY210" fmla="*/ 485518 h 6858000"/>
              <a:gd name="connsiteX211" fmla="*/ 2344996 w 5794893"/>
              <a:gd name="connsiteY211" fmla="*/ 447419 h 6858000"/>
              <a:gd name="connsiteX212" fmla="*/ 2464212 w 5794893"/>
              <a:gd name="connsiteY212" fmla="*/ 485518 h 6858000"/>
              <a:gd name="connsiteX213" fmla="*/ 2472816 w 5794893"/>
              <a:gd name="connsiteY213" fmla="*/ 451105 h 6858000"/>
              <a:gd name="connsiteX214" fmla="*/ 2593261 w 5794893"/>
              <a:gd name="connsiteY214" fmla="*/ 485518 h 6858000"/>
              <a:gd name="connsiteX215" fmla="*/ 2599406 w 5794893"/>
              <a:gd name="connsiteY215" fmla="*/ 456021 h 6858000"/>
              <a:gd name="connsiteX216" fmla="*/ 2722309 w 5794893"/>
              <a:gd name="connsiteY216" fmla="*/ 485518 h 6858000"/>
              <a:gd name="connsiteX217" fmla="*/ 2728455 w 5794893"/>
              <a:gd name="connsiteY217" fmla="*/ 459709 h 6858000"/>
              <a:gd name="connsiteX218" fmla="*/ 2855045 w 5794893"/>
              <a:gd name="connsiteY218" fmla="*/ 485518 h 6858000"/>
              <a:gd name="connsiteX219" fmla="*/ 2858732 w 5794893"/>
              <a:gd name="connsiteY219" fmla="*/ 463396 h 6858000"/>
              <a:gd name="connsiteX220" fmla="*/ 2985322 w 5794893"/>
              <a:gd name="connsiteY220" fmla="*/ 485518 h 6858000"/>
              <a:gd name="connsiteX221" fmla="*/ 2987780 w 5794893"/>
              <a:gd name="connsiteY221" fmla="*/ 467083 h 6858000"/>
              <a:gd name="connsiteX222" fmla="*/ 3114371 w 5794893"/>
              <a:gd name="connsiteY222" fmla="*/ 485518 h 6858000"/>
              <a:gd name="connsiteX223" fmla="*/ 3115600 w 5794893"/>
              <a:gd name="connsiteY223" fmla="*/ 469541 h 6858000"/>
              <a:gd name="connsiteX224" fmla="*/ 3243419 w 5794893"/>
              <a:gd name="connsiteY224" fmla="*/ 485518 h 6858000"/>
              <a:gd name="connsiteX225" fmla="*/ 3244649 w 5794893"/>
              <a:gd name="connsiteY225" fmla="*/ 473228 h 6858000"/>
              <a:gd name="connsiteX226" fmla="*/ 3373697 w 5794893"/>
              <a:gd name="connsiteY226" fmla="*/ 485518 h 6858000"/>
              <a:gd name="connsiteX227" fmla="*/ 3374927 w 5794893"/>
              <a:gd name="connsiteY227" fmla="*/ 475686 h 6858000"/>
              <a:gd name="connsiteX228" fmla="*/ 3503974 w 5794893"/>
              <a:gd name="connsiteY228" fmla="*/ 485518 h 6858000"/>
              <a:gd name="connsiteX229" fmla="*/ 3503974 w 5794893"/>
              <a:gd name="connsiteY229" fmla="*/ 478144 h 6858000"/>
              <a:gd name="connsiteX230" fmla="*/ 3633024 w 5794893"/>
              <a:gd name="connsiteY230" fmla="*/ 485518 h 6858000"/>
              <a:gd name="connsiteX231" fmla="*/ 3633024 w 5794893"/>
              <a:gd name="connsiteY231" fmla="*/ 481832 h 6858000"/>
              <a:gd name="connsiteX232" fmla="*/ 3641626 w 5794893"/>
              <a:gd name="connsiteY232" fmla="*/ 481832 h 6858000"/>
              <a:gd name="connsiteX233" fmla="*/ 3721514 w 5794893"/>
              <a:gd name="connsiteY233" fmla="*/ 484290 h 6858000"/>
              <a:gd name="connsiteX234" fmla="*/ 3721514 w 5794893"/>
              <a:gd name="connsiteY234" fmla="*/ 486748 h 6858000"/>
              <a:gd name="connsiteX235" fmla="*/ 5726067 w 5794893"/>
              <a:gd name="connsiteY235" fmla="*/ 528535 h 6858000"/>
              <a:gd name="connsiteX236" fmla="*/ 3720284 w 5794893"/>
              <a:gd name="connsiteY236" fmla="*/ 528535 h 6858000"/>
              <a:gd name="connsiteX237" fmla="*/ 3721514 w 5794893"/>
              <a:gd name="connsiteY237" fmla="*/ 529763 h 6858000"/>
              <a:gd name="connsiteX238" fmla="*/ 3603527 w 5794893"/>
              <a:gd name="connsiteY238" fmla="*/ 527305 h 6858000"/>
              <a:gd name="connsiteX239" fmla="*/ 3603527 w 5794893"/>
              <a:gd name="connsiteY239" fmla="*/ 530993 h 6858000"/>
              <a:gd name="connsiteX240" fmla="*/ 3485540 w 5794893"/>
              <a:gd name="connsiteY240" fmla="*/ 527305 h 6858000"/>
              <a:gd name="connsiteX241" fmla="*/ 3485540 w 5794893"/>
              <a:gd name="connsiteY241" fmla="*/ 533451 h 6858000"/>
              <a:gd name="connsiteX242" fmla="*/ 3367552 w 5794893"/>
              <a:gd name="connsiteY242" fmla="*/ 527305 h 6858000"/>
              <a:gd name="connsiteX243" fmla="*/ 3367552 w 5794893"/>
              <a:gd name="connsiteY243" fmla="*/ 535909 h 6858000"/>
              <a:gd name="connsiteX244" fmla="*/ 3249565 w 5794893"/>
              <a:gd name="connsiteY244" fmla="*/ 527305 h 6858000"/>
              <a:gd name="connsiteX245" fmla="*/ 3249565 w 5794893"/>
              <a:gd name="connsiteY245" fmla="*/ 538367 h 6858000"/>
              <a:gd name="connsiteX246" fmla="*/ 3131578 w 5794893"/>
              <a:gd name="connsiteY246" fmla="*/ 527305 h 6858000"/>
              <a:gd name="connsiteX247" fmla="*/ 3130348 w 5794893"/>
              <a:gd name="connsiteY247" fmla="*/ 542054 h 6858000"/>
              <a:gd name="connsiteX248" fmla="*/ 3012361 w 5794893"/>
              <a:gd name="connsiteY248" fmla="*/ 527305 h 6858000"/>
              <a:gd name="connsiteX249" fmla="*/ 3011133 w 5794893"/>
              <a:gd name="connsiteY249" fmla="*/ 544512 h 6858000"/>
              <a:gd name="connsiteX250" fmla="*/ 2894374 w 5794893"/>
              <a:gd name="connsiteY250" fmla="*/ 527305 h 6858000"/>
              <a:gd name="connsiteX251" fmla="*/ 2891916 w 5794893"/>
              <a:gd name="connsiteY251" fmla="*/ 548200 h 6858000"/>
              <a:gd name="connsiteX252" fmla="*/ 2776386 w 5794893"/>
              <a:gd name="connsiteY252" fmla="*/ 527305 h 6858000"/>
              <a:gd name="connsiteX253" fmla="*/ 2772700 w 5794893"/>
              <a:gd name="connsiteY253" fmla="*/ 550658 h 6858000"/>
              <a:gd name="connsiteX254" fmla="*/ 2658399 w 5794893"/>
              <a:gd name="connsiteY254" fmla="*/ 527305 h 6858000"/>
              <a:gd name="connsiteX255" fmla="*/ 2653483 w 5794893"/>
              <a:gd name="connsiteY255" fmla="*/ 554344 h 6858000"/>
              <a:gd name="connsiteX256" fmla="*/ 2540412 w 5794893"/>
              <a:gd name="connsiteY256" fmla="*/ 527305 h 6858000"/>
              <a:gd name="connsiteX257" fmla="*/ 2534268 w 5794893"/>
              <a:gd name="connsiteY257" fmla="*/ 558032 h 6858000"/>
              <a:gd name="connsiteX258" fmla="*/ 2422425 w 5794893"/>
              <a:gd name="connsiteY258" fmla="*/ 527305 h 6858000"/>
              <a:gd name="connsiteX259" fmla="*/ 2415051 w 5794893"/>
              <a:gd name="connsiteY259" fmla="*/ 562948 h 6858000"/>
              <a:gd name="connsiteX260" fmla="*/ 2304438 w 5794893"/>
              <a:gd name="connsiteY260" fmla="*/ 527305 h 6858000"/>
              <a:gd name="connsiteX261" fmla="*/ 2294605 w 5794893"/>
              <a:gd name="connsiteY261" fmla="*/ 566634 h 6858000"/>
              <a:gd name="connsiteX262" fmla="*/ 2186450 w 5794893"/>
              <a:gd name="connsiteY262" fmla="*/ 527305 h 6858000"/>
              <a:gd name="connsiteX263" fmla="*/ 2174160 w 5794893"/>
              <a:gd name="connsiteY263" fmla="*/ 571551 h 6858000"/>
              <a:gd name="connsiteX264" fmla="*/ 2068463 w 5794893"/>
              <a:gd name="connsiteY264" fmla="*/ 527305 h 6858000"/>
              <a:gd name="connsiteX265" fmla="*/ 2052486 w 5794893"/>
              <a:gd name="connsiteY265" fmla="*/ 576467 h 6858000"/>
              <a:gd name="connsiteX266" fmla="*/ 1950476 w 5794893"/>
              <a:gd name="connsiteY266" fmla="*/ 527305 h 6858000"/>
              <a:gd name="connsiteX267" fmla="*/ 1930811 w 5794893"/>
              <a:gd name="connsiteY267" fmla="*/ 580155 h 6858000"/>
              <a:gd name="connsiteX268" fmla="*/ 1832489 w 5794893"/>
              <a:gd name="connsiteY268" fmla="*/ 527305 h 6858000"/>
              <a:gd name="connsiteX269" fmla="*/ 1807908 w 5794893"/>
              <a:gd name="connsiteY269" fmla="*/ 585071 h 6858000"/>
              <a:gd name="connsiteX270" fmla="*/ 1714501 w 5794893"/>
              <a:gd name="connsiteY270" fmla="*/ 527305 h 6858000"/>
              <a:gd name="connsiteX271" fmla="*/ 1685005 w 5794893"/>
              <a:gd name="connsiteY271" fmla="*/ 589987 h 6858000"/>
              <a:gd name="connsiteX272" fmla="*/ 1596514 w 5794893"/>
              <a:gd name="connsiteY272" fmla="*/ 527305 h 6858000"/>
              <a:gd name="connsiteX273" fmla="*/ 1560873 w 5794893"/>
              <a:gd name="connsiteY273" fmla="*/ 591215 h 6858000"/>
              <a:gd name="connsiteX274" fmla="*/ 1685005 w 5794893"/>
              <a:gd name="connsiteY274" fmla="*/ 682164 h 6858000"/>
              <a:gd name="connsiteX275" fmla="*/ 1718189 w 5794893"/>
              <a:gd name="connsiteY275" fmla="*/ 621942 h 6858000"/>
              <a:gd name="connsiteX276" fmla="*/ 1815282 w 5794893"/>
              <a:gd name="connsiteY276" fmla="*/ 682164 h 6858000"/>
              <a:gd name="connsiteX277" fmla="*/ 1842321 w 5794893"/>
              <a:gd name="connsiteY277" fmla="*/ 626858 h 6858000"/>
              <a:gd name="connsiteX278" fmla="*/ 1945560 w 5794893"/>
              <a:gd name="connsiteY278" fmla="*/ 682164 h 6858000"/>
              <a:gd name="connsiteX279" fmla="*/ 1967682 w 5794893"/>
              <a:gd name="connsiteY279" fmla="*/ 630544 h 6858000"/>
              <a:gd name="connsiteX280" fmla="*/ 2075837 w 5794893"/>
              <a:gd name="connsiteY280" fmla="*/ 682164 h 6858000"/>
              <a:gd name="connsiteX281" fmla="*/ 2093044 w 5794893"/>
              <a:gd name="connsiteY281" fmla="*/ 635460 h 6858000"/>
              <a:gd name="connsiteX282" fmla="*/ 2204887 w 5794893"/>
              <a:gd name="connsiteY282" fmla="*/ 682164 h 6858000"/>
              <a:gd name="connsiteX283" fmla="*/ 2218405 w 5794893"/>
              <a:gd name="connsiteY283" fmla="*/ 639148 h 6858000"/>
              <a:gd name="connsiteX284" fmla="*/ 2333934 w 5794893"/>
              <a:gd name="connsiteY284" fmla="*/ 682164 h 6858000"/>
              <a:gd name="connsiteX285" fmla="*/ 2344996 w 5794893"/>
              <a:gd name="connsiteY285" fmla="*/ 644064 h 6858000"/>
              <a:gd name="connsiteX286" fmla="*/ 2464212 w 5794893"/>
              <a:gd name="connsiteY286" fmla="*/ 682164 h 6858000"/>
              <a:gd name="connsiteX287" fmla="*/ 2472816 w 5794893"/>
              <a:gd name="connsiteY287" fmla="*/ 647751 h 6858000"/>
              <a:gd name="connsiteX288" fmla="*/ 2593261 w 5794893"/>
              <a:gd name="connsiteY288" fmla="*/ 682164 h 6858000"/>
              <a:gd name="connsiteX289" fmla="*/ 2599406 w 5794893"/>
              <a:gd name="connsiteY289" fmla="*/ 652667 h 6858000"/>
              <a:gd name="connsiteX290" fmla="*/ 2722309 w 5794893"/>
              <a:gd name="connsiteY290" fmla="*/ 682164 h 6858000"/>
              <a:gd name="connsiteX291" fmla="*/ 2727225 w 5794893"/>
              <a:gd name="connsiteY291" fmla="*/ 656355 h 6858000"/>
              <a:gd name="connsiteX292" fmla="*/ 2852587 w 5794893"/>
              <a:gd name="connsiteY292" fmla="*/ 682164 h 6858000"/>
              <a:gd name="connsiteX293" fmla="*/ 2856274 w 5794893"/>
              <a:gd name="connsiteY293" fmla="*/ 660041 h 6858000"/>
              <a:gd name="connsiteX294" fmla="*/ 2982864 w 5794893"/>
              <a:gd name="connsiteY294" fmla="*/ 682164 h 6858000"/>
              <a:gd name="connsiteX295" fmla="*/ 2985322 w 5794893"/>
              <a:gd name="connsiteY295" fmla="*/ 663729 h 6858000"/>
              <a:gd name="connsiteX296" fmla="*/ 3111913 w 5794893"/>
              <a:gd name="connsiteY296" fmla="*/ 682164 h 6858000"/>
              <a:gd name="connsiteX297" fmla="*/ 3113142 w 5794893"/>
              <a:gd name="connsiteY297" fmla="*/ 666187 h 6858000"/>
              <a:gd name="connsiteX298" fmla="*/ 3240961 w 5794893"/>
              <a:gd name="connsiteY298" fmla="*/ 682164 h 6858000"/>
              <a:gd name="connsiteX299" fmla="*/ 3242191 w 5794893"/>
              <a:gd name="connsiteY299" fmla="*/ 669873 h 6858000"/>
              <a:gd name="connsiteX300" fmla="*/ 3371239 w 5794893"/>
              <a:gd name="connsiteY300" fmla="*/ 682164 h 6858000"/>
              <a:gd name="connsiteX301" fmla="*/ 3372468 w 5794893"/>
              <a:gd name="connsiteY301" fmla="*/ 672331 h 6858000"/>
              <a:gd name="connsiteX302" fmla="*/ 3501516 w 5794893"/>
              <a:gd name="connsiteY302" fmla="*/ 682164 h 6858000"/>
              <a:gd name="connsiteX303" fmla="*/ 3501516 w 5794893"/>
              <a:gd name="connsiteY303" fmla="*/ 674789 h 6858000"/>
              <a:gd name="connsiteX304" fmla="*/ 3630565 w 5794893"/>
              <a:gd name="connsiteY304" fmla="*/ 682164 h 6858000"/>
              <a:gd name="connsiteX305" fmla="*/ 3630565 w 5794893"/>
              <a:gd name="connsiteY305" fmla="*/ 677248 h 6858000"/>
              <a:gd name="connsiteX306" fmla="*/ 3639168 w 5794893"/>
              <a:gd name="connsiteY306" fmla="*/ 677248 h 6858000"/>
              <a:gd name="connsiteX307" fmla="*/ 3719056 w 5794893"/>
              <a:gd name="connsiteY307" fmla="*/ 679706 h 6858000"/>
              <a:gd name="connsiteX308" fmla="*/ 3719056 w 5794893"/>
              <a:gd name="connsiteY308" fmla="*/ 680935 h 6858000"/>
              <a:gd name="connsiteX309" fmla="*/ 5710091 w 5794893"/>
              <a:gd name="connsiteY309" fmla="*/ 722722 h 6858000"/>
              <a:gd name="connsiteX310" fmla="*/ 3719056 w 5794893"/>
              <a:gd name="connsiteY310" fmla="*/ 722722 h 6858000"/>
              <a:gd name="connsiteX311" fmla="*/ 3720284 w 5794893"/>
              <a:gd name="connsiteY311" fmla="*/ 725180 h 6858000"/>
              <a:gd name="connsiteX312" fmla="*/ 3602297 w 5794893"/>
              <a:gd name="connsiteY312" fmla="*/ 722722 h 6858000"/>
              <a:gd name="connsiteX313" fmla="*/ 3602297 w 5794893"/>
              <a:gd name="connsiteY313" fmla="*/ 726409 h 6858000"/>
              <a:gd name="connsiteX314" fmla="*/ 3484310 w 5794893"/>
              <a:gd name="connsiteY314" fmla="*/ 722722 h 6858000"/>
              <a:gd name="connsiteX315" fmla="*/ 3484310 w 5794893"/>
              <a:gd name="connsiteY315" fmla="*/ 728867 h 6858000"/>
              <a:gd name="connsiteX316" fmla="*/ 3366323 w 5794893"/>
              <a:gd name="connsiteY316" fmla="*/ 722722 h 6858000"/>
              <a:gd name="connsiteX317" fmla="*/ 3366323 w 5794893"/>
              <a:gd name="connsiteY317" fmla="*/ 731325 h 6858000"/>
              <a:gd name="connsiteX318" fmla="*/ 3248335 w 5794893"/>
              <a:gd name="connsiteY318" fmla="*/ 722722 h 6858000"/>
              <a:gd name="connsiteX319" fmla="*/ 3248335 w 5794893"/>
              <a:gd name="connsiteY319" fmla="*/ 733783 h 6858000"/>
              <a:gd name="connsiteX320" fmla="*/ 3130348 w 5794893"/>
              <a:gd name="connsiteY320" fmla="*/ 722722 h 6858000"/>
              <a:gd name="connsiteX321" fmla="*/ 3129120 w 5794893"/>
              <a:gd name="connsiteY321" fmla="*/ 737471 h 6858000"/>
              <a:gd name="connsiteX322" fmla="*/ 3011133 w 5794893"/>
              <a:gd name="connsiteY322" fmla="*/ 722722 h 6858000"/>
              <a:gd name="connsiteX323" fmla="*/ 3009903 w 5794893"/>
              <a:gd name="connsiteY323" fmla="*/ 739929 h 6858000"/>
              <a:gd name="connsiteX324" fmla="*/ 2893145 w 5794893"/>
              <a:gd name="connsiteY324" fmla="*/ 722722 h 6858000"/>
              <a:gd name="connsiteX325" fmla="*/ 2890687 w 5794893"/>
              <a:gd name="connsiteY325" fmla="*/ 743615 h 6858000"/>
              <a:gd name="connsiteX326" fmla="*/ 2775158 w 5794893"/>
              <a:gd name="connsiteY326" fmla="*/ 722722 h 6858000"/>
              <a:gd name="connsiteX327" fmla="*/ 2771470 w 5794893"/>
              <a:gd name="connsiteY327" fmla="*/ 746073 h 6858000"/>
              <a:gd name="connsiteX328" fmla="*/ 2657171 w 5794893"/>
              <a:gd name="connsiteY328" fmla="*/ 722722 h 6858000"/>
              <a:gd name="connsiteX329" fmla="*/ 2652255 w 5794893"/>
              <a:gd name="connsiteY329" fmla="*/ 749761 h 6858000"/>
              <a:gd name="connsiteX330" fmla="*/ 2539184 w 5794893"/>
              <a:gd name="connsiteY330" fmla="*/ 722722 h 6858000"/>
              <a:gd name="connsiteX331" fmla="*/ 2533038 w 5794893"/>
              <a:gd name="connsiteY331" fmla="*/ 753448 h 6858000"/>
              <a:gd name="connsiteX332" fmla="*/ 2421196 w 5794893"/>
              <a:gd name="connsiteY332" fmla="*/ 721493 h 6858000"/>
              <a:gd name="connsiteX333" fmla="*/ 2413822 w 5794893"/>
              <a:gd name="connsiteY333" fmla="*/ 757135 h 6858000"/>
              <a:gd name="connsiteX334" fmla="*/ 2303209 w 5794893"/>
              <a:gd name="connsiteY334" fmla="*/ 721493 h 6858000"/>
              <a:gd name="connsiteX335" fmla="*/ 2293377 w 5794893"/>
              <a:gd name="connsiteY335" fmla="*/ 760822 h 6858000"/>
              <a:gd name="connsiteX336" fmla="*/ 2185222 w 5794893"/>
              <a:gd name="connsiteY336" fmla="*/ 721493 h 6858000"/>
              <a:gd name="connsiteX337" fmla="*/ 2172932 w 5794893"/>
              <a:gd name="connsiteY337" fmla="*/ 765738 h 6858000"/>
              <a:gd name="connsiteX338" fmla="*/ 2067235 w 5794893"/>
              <a:gd name="connsiteY338" fmla="*/ 721493 h 6858000"/>
              <a:gd name="connsiteX339" fmla="*/ 2051257 w 5794893"/>
              <a:gd name="connsiteY339" fmla="*/ 770654 h 6858000"/>
              <a:gd name="connsiteX340" fmla="*/ 1949247 w 5794893"/>
              <a:gd name="connsiteY340" fmla="*/ 721493 h 6858000"/>
              <a:gd name="connsiteX341" fmla="*/ 1929583 w 5794893"/>
              <a:gd name="connsiteY341" fmla="*/ 774342 h 6858000"/>
              <a:gd name="connsiteX342" fmla="*/ 1831260 w 5794893"/>
              <a:gd name="connsiteY342" fmla="*/ 721493 h 6858000"/>
              <a:gd name="connsiteX343" fmla="*/ 1806680 w 5794893"/>
              <a:gd name="connsiteY343" fmla="*/ 779258 h 6858000"/>
              <a:gd name="connsiteX344" fmla="*/ 1714501 w 5794893"/>
              <a:gd name="connsiteY344" fmla="*/ 721493 h 6858000"/>
              <a:gd name="connsiteX345" fmla="*/ 1685005 w 5794893"/>
              <a:gd name="connsiteY345" fmla="*/ 782944 h 6858000"/>
              <a:gd name="connsiteX346" fmla="*/ 1596514 w 5794893"/>
              <a:gd name="connsiteY346" fmla="*/ 721493 h 6858000"/>
              <a:gd name="connsiteX347" fmla="*/ 1560873 w 5794893"/>
              <a:gd name="connsiteY347" fmla="*/ 785402 h 6858000"/>
              <a:gd name="connsiteX348" fmla="*/ 1683776 w 5794893"/>
              <a:gd name="connsiteY348" fmla="*/ 875123 h 6858000"/>
              <a:gd name="connsiteX349" fmla="*/ 1716959 w 5794893"/>
              <a:gd name="connsiteY349" fmla="*/ 814899 h 6858000"/>
              <a:gd name="connsiteX350" fmla="*/ 1814054 w 5794893"/>
              <a:gd name="connsiteY350" fmla="*/ 875123 h 6858000"/>
              <a:gd name="connsiteX351" fmla="*/ 1841092 w 5794893"/>
              <a:gd name="connsiteY351" fmla="*/ 819815 h 6858000"/>
              <a:gd name="connsiteX352" fmla="*/ 1944331 w 5794893"/>
              <a:gd name="connsiteY352" fmla="*/ 875123 h 6858000"/>
              <a:gd name="connsiteX353" fmla="*/ 1966454 w 5794893"/>
              <a:gd name="connsiteY353" fmla="*/ 823503 h 6858000"/>
              <a:gd name="connsiteX354" fmla="*/ 2074609 w 5794893"/>
              <a:gd name="connsiteY354" fmla="*/ 875123 h 6858000"/>
              <a:gd name="connsiteX355" fmla="*/ 2091815 w 5794893"/>
              <a:gd name="connsiteY355" fmla="*/ 828419 h 6858000"/>
              <a:gd name="connsiteX356" fmla="*/ 2203657 w 5794893"/>
              <a:gd name="connsiteY356" fmla="*/ 875123 h 6858000"/>
              <a:gd name="connsiteX357" fmla="*/ 2217177 w 5794893"/>
              <a:gd name="connsiteY357" fmla="*/ 832106 h 6858000"/>
              <a:gd name="connsiteX358" fmla="*/ 2332706 w 5794893"/>
              <a:gd name="connsiteY358" fmla="*/ 875123 h 6858000"/>
              <a:gd name="connsiteX359" fmla="*/ 2343767 w 5794893"/>
              <a:gd name="connsiteY359" fmla="*/ 837022 h 6858000"/>
              <a:gd name="connsiteX360" fmla="*/ 2462984 w 5794893"/>
              <a:gd name="connsiteY360" fmla="*/ 875123 h 6858000"/>
              <a:gd name="connsiteX361" fmla="*/ 2471586 w 5794893"/>
              <a:gd name="connsiteY361" fmla="*/ 840710 h 6858000"/>
              <a:gd name="connsiteX362" fmla="*/ 2592031 w 5794893"/>
              <a:gd name="connsiteY362" fmla="*/ 875123 h 6858000"/>
              <a:gd name="connsiteX363" fmla="*/ 2598177 w 5794893"/>
              <a:gd name="connsiteY363" fmla="*/ 845626 h 6858000"/>
              <a:gd name="connsiteX364" fmla="*/ 2721081 w 5794893"/>
              <a:gd name="connsiteY364" fmla="*/ 875123 h 6858000"/>
              <a:gd name="connsiteX365" fmla="*/ 2725997 w 5794893"/>
              <a:gd name="connsiteY365" fmla="*/ 849312 h 6858000"/>
              <a:gd name="connsiteX366" fmla="*/ 2851358 w 5794893"/>
              <a:gd name="connsiteY366" fmla="*/ 875123 h 6858000"/>
              <a:gd name="connsiteX367" fmla="*/ 2855045 w 5794893"/>
              <a:gd name="connsiteY367" fmla="*/ 853000 h 6858000"/>
              <a:gd name="connsiteX368" fmla="*/ 2981636 w 5794893"/>
              <a:gd name="connsiteY368" fmla="*/ 875123 h 6858000"/>
              <a:gd name="connsiteX369" fmla="*/ 2984094 w 5794893"/>
              <a:gd name="connsiteY369" fmla="*/ 856686 h 6858000"/>
              <a:gd name="connsiteX370" fmla="*/ 3110684 w 5794893"/>
              <a:gd name="connsiteY370" fmla="*/ 875123 h 6858000"/>
              <a:gd name="connsiteX371" fmla="*/ 3111913 w 5794893"/>
              <a:gd name="connsiteY371" fmla="*/ 859144 h 6858000"/>
              <a:gd name="connsiteX372" fmla="*/ 3239733 w 5794893"/>
              <a:gd name="connsiteY372" fmla="*/ 875123 h 6858000"/>
              <a:gd name="connsiteX373" fmla="*/ 3240961 w 5794893"/>
              <a:gd name="connsiteY373" fmla="*/ 862832 h 6858000"/>
              <a:gd name="connsiteX374" fmla="*/ 3370010 w 5794893"/>
              <a:gd name="connsiteY374" fmla="*/ 875123 h 6858000"/>
              <a:gd name="connsiteX375" fmla="*/ 3371239 w 5794893"/>
              <a:gd name="connsiteY375" fmla="*/ 865290 h 6858000"/>
              <a:gd name="connsiteX376" fmla="*/ 3501516 w 5794893"/>
              <a:gd name="connsiteY376" fmla="*/ 876351 h 6858000"/>
              <a:gd name="connsiteX377" fmla="*/ 3501516 w 5794893"/>
              <a:gd name="connsiteY377" fmla="*/ 868977 h 6858000"/>
              <a:gd name="connsiteX378" fmla="*/ 3630565 w 5794893"/>
              <a:gd name="connsiteY378" fmla="*/ 876351 h 6858000"/>
              <a:gd name="connsiteX379" fmla="*/ 3630565 w 5794893"/>
              <a:gd name="connsiteY379" fmla="*/ 871435 h 6858000"/>
              <a:gd name="connsiteX380" fmla="*/ 3639168 w 5794893"/>
              <a:gd name="connsiteY380" fmla="*/ 871435 h 6858000"/>
              <a:gd name="connsiteX381" fmla="*/ 3719056 w 5794893"/>
              <a:gd name="connsiteY381" fmla="*/ 873893 h 6858000"/>
              <a:gd name="connsiteX382" fmla="*/ 3719056 w 5794893"/>
              <a:gd name="connsiteY382" fmla="*/ 875123 h 6858000"/>
              <a:gd name="connsiteX383" fmla="*/ 5723611 w 5794893"/>
              <a:gd name="connsiteY383" fmla="*/ 916910 h 6858000"/>
              <a:gd name="connsiteX384" fmla="*/ 3720284 w 5794893"/>
              <a:gd name="connsiteY384" fmla="*/ 916910 h 6858000"/>
              <a:gd name="connsiteX385" fmla="*/ 3721514 w 5794893"/>
              <a:gd name="connsiteY385" fmla="*/ 918138 h 6858000"/>
              <a:gd name="connsiteX386" fmla="*/ 3603527 w 5794893"/>
              <a:gd name="connsiteY386" fmla="*/ 915680 h 6858000"/>
              <a:gd name="connsiteX387" fmla="*/ 3603527 w 5794893"/>
              <a:gd name="connsiteY387" fmla="*/ 919368 h 6858000"/>
              <a:gd name="connsiteX388" fmla="*/ 3485540 w 5794893"/>
              <a:gd name="connsiteY388" fmla="*/ 915680 h 6858000"/>
              <a:gd name="connsiteX389" fmla="*/ 3485540 w 5794893"/>
              <a:gd name="connsiteY389" fmla="*/ 921826 h 6858000"/>
              <a:gd name="connsiteX390" fmla="*/ 3367552 w 5794893"/>
              <a:gd name="connsiteY390" fmla="*/ 915680 h 6858000"/>
              <a:gd name="connsiteX391" fmla="*/ 3367552 w 5794893"/>
              <a:gd name="connsiteY391" fmla="*/ 924284 h 6858000"/>
              <a:gd name="connsiteX392" fmla="*/ 3249565 w 5794893"/>
              <a:gd name="connsiteY392" fmla="*/ 915680 h 6858000"/>
              <a:gd name="connsiteX393" fmla="*/ 3249565 w 5794893"/>
              <a:gd name="connsiteY393" fmla="*/ 926742 h 6858000"/>
              <a:gd name="connsiteX394" fmla="*/ 3132806 w 5794893"/>
              <a:gd name="connsiteY394" fmla="*/ 915680 h 6858000"/>
              <a:gd name="connsiteX395" fmla="*/ 3131578 w 5794893"/>
              <a:gd name="connsiteY395" fmla="*/ 930428 h 6858000"/>
              <a:gd name="connsiteX396" fmla="*/ 3012361 w 5794893"/>
              <a:gd name="connsiteY396" fmla="*/ 915680 h 6858000"/>
              <a:gd name="connsiteX397" fmla="*/ 3011133 w 5794893"/>
              <a:gd name="connsiteY397" fmla="*/ 932886 h 6858000"/>
              <a:gd name="connsiteX398" fmla="*/ 2894374 w 5794893"/>
              <a:gd name="connsiteY398" fmla="*/ 915680 h 6858000"/>
              <a:gd name="connsiteX399" fmla="*/ 2891916 w 5794893"/>
              <a:gd name="connsiteY399" fmla="*/ 936574 h 6858000"/>
              <a:gd name="connsiteX400" fmla="*/ 2776386 w 5794893"/>
              <a:gd name="connsiteY400" fmla="*/ 915680 h 6858000"/>
              <a:gd name="connsiteX401" fmla="*/ 2772700 w 5794893"/>
              <a:gd name="connsiteY401" fmla="*/ 940261 h 6858000"/>
              <a:gd name="connsiteX402" fmla="*/ 2658399 w 5794893"/>
              <a:gd name="connsiteY402" fmla="*/ 915680 h 6858000"/>
              <a:gd name="connsiteX403" fmla="*/ 2653483 w 5794893"/>
              <a:gd name="connsiteY403" fmla="*/ 942719 h 6858000"/>
              <a:gd name="connsiteX404" fmla="*/ 2540412 w 5794893"/>
              <a:gd name="connsiteY404" fmla="*/ 915680 h 6858000"/>
              <a:gd name="connsiteX405" fmla="*/ 2534268 w 5794893"/>
              <a:gd name="connsiteY405" fmla="*/ 947635 h 6858000"/>
              <a:gd name="connsiteX406" fmla="*/ 2422425 w 5794893"/>
              <a:gd name="connsiteY406" fmla="*/ 915680 h 6858000"/>
              <a:gd name="connsiteX407" fmla="*/ 2415051 w 5794893"/>
              <a:gd name="connsiteY407" fmla="*/ 951323 h 6858000"/>
              <a:gd name="connsiteX408" fmla="*/ 2304438 w 5794893"/>
              <a:gd name="connsiteY408" fmla="*/ 915680 h 6858000"/>
              <a:gd name="connsiteX409" fmla="*/ 2294605 w 5794893"/>
              <a:gd name="connsiteY409" fmla="*/ 955009 h 6858000"/>
              <a:gd name="connsiteX410" fmla="*/ 2186450 w 5794893"/>
              <a:gd name="connsiteY410" fmla="*/ 915680 h 6858000"/>
              <a:gd name="connsiteX411" fmla="*/ 2174160 w 5794893"/>
              <a:gd name="connsiteY411" fmla="*/ 959925 h 6858000"/>
              <a:gd name="connsiteX412" fmla="*/ 2068463 w 5794893"/>
              <a:gd name="connsiteY412" fmla="*/ 915680 h 6858000"/>
              <a:gd name="connsiteX413" fmla="*/ 2052486 w 5794893"/>
              <a:gd name="connsiteY413" fmla="*/ 964841 h 6858000"/>
              <a:gd name="connsiteX414" fmla="*/ 1950476 w 5794893"/>
              <a:gd name="connsiteY414" fmla="*/ 915680 h 6858000"/>
              <a:gd name="connsiteX415" fmla="*/ 1930811 w 5794893"/>
              <a:gd name="connsiteY415" fmla="*/ 968529 h 6858000"/>
              <a:gd name="connsiteX416" fmla="*/ 1832489 w 5794893"/>
              <a:gd name="connsiteY416" fmla="*/ 915680 h 6858000"/>
              <a:gd name="connsiteX417" fmla="*/ 1807908 w 5794893"/>
              <a:gd name="connsiteY417" fmla="*/ 973445 h 6858000"/>
              <a:gd name="connsiteX418" fmla="*/ 1714501 w 5794893"/>
              <a:gd name="connsiteY418" fmla="*/ 915680 h 6858000"/>
              <a:gd name="connsiteX419" fmla="*/ 1685005 w 5794893"/>
              <a:gd name="connsiteY419" fmla="*/ 978361 h 6858000"/>
              <a:gd name="connsiteX420" fmla="*/ 1596514 w 5794893"/>
              <a:gd name="connsiteY420" fmla="*/ 915680 h 6858000"/>
              <a:gd name="connsiteX421" fmla="*/ 1560873 w 5794893"/>
              <a:gd name="connsiteY421" fmla="*/ 979590 h 6858000"/>
              <a:gd name="connsiteX422" fmla="*/ 1685005 w 5794893"/>
              <a:gd name="connsiteY422" fmla="*/ 1069310 h 6858000"/>
              <a:gd name="connsiteX423" fmla="*/ 1718189 w 5794893"/>
              <a:gd name="connsiteY423" fmla="*/ 1009087 h 6858000"/>
              <a:gd name="connsiteX424" fmla="*/ 1815282 w 5794893"/>
              <a:gd name="connsiteY424" fmla="*/ 1069310 h 6858000"/>
              <a:gd name="connsiteX425" fmla="*/ 1841092 w 5794893"/>
              <a:gd name="connsiteY425" fmla="*/ 1012774 h 6858000"/>
              <a:gd name="connsiteX426" fmla="*/ 1944331 w 5794893"/>
              <a:gd name="connsiteY426" fmla="*/ 1068080 h 6858000"/>
              <a:gd name="connsiteX427" fmla="*/ 1966454 w 5794893"/>
              <a:gd name="connsiteY427" fmla="*/ 1016461 h 6858000"/>
              <a:gd name="connsiteX428" fmla="*/ 2074609 w 5794893"/>
              <a:gd name="connsiteY428" fmla="*/ 1068080 h 6858000"/>
              <a:gd name="connsiteX429" fmla="*/ 2091815 w 5794893"/>
              <a:gd name="connsiteY429" fmla="*/ 1021377 h 6858000"/>
              <a:gd name="connsiteX430" fmla="*/ 2203657 w 5794893"/>
              <a:gd name="connsiteY430" fmla="*/ 1068080 h 6858000"/>
              <a:gd name="connsiteX431" fmla="*/ 2217177 w 5794893"/>
              <a:gd name="connsiteY431" fmla="*/ 1025065 h 6858000"/>
              <a:gd name="connsiteX432" fmla="*/ 2332706 w 5794893"/>
              <a:gd name="connsiteY432" fmla="*/ 1068080 h 6858000"/>
              <a:gd name="connsiteX433" fmla="*/ 2343767 w 5794893"/>
              <a:gd name="connsiteY433" fmla="*/ 1029981 h 6858000"/>
              <a:gd name="connsiteX434" fmla="*/ 2462984 w 5794893"/>
              <a:gd name="connsiteY434" fmla="*/ 1068080 h 6858000"/>
              <a:gd name="connsiteX435" fmla="*/ 2471586 w 5794893"/>
              <a:gd name="connsiteY435" fmla="*/ 1033667 h 6858000"/>
              <a:gd name="connsiteX436" fmla="*/ 2592031 w 5794893"/>
              <a:gd name="connsiteY436" fmla="*/ 1068080 h 6858000"/>
              <a:gd name="connsiteX437" fmla="*/ 2598177 w 5794893"/>
              <a:gd name="connsiteY437" fmla="*/ 1038583 h 6858000"/>
              <a:gd name="connsiteX438" fmla="*/ 2721081 w 5794893"/>
              <a:gd name="connsiteY438" fmla="*/ 1068080 h 6858000"/>
              <a:gd name="connsiteX439" fmla="*/ 2725997 w 5794893"/>
              <a:gd name="connsiteY439" fmla="*/ 1042271 h 6858000"/>
              <a:gd name="connsiteX440" fmla="*/ 2851358 w 5794893"/>
              <a:gd name="connsiteY440" fmla="*/ 1068080 h 6858000"/>
              <a:gd name="connsiteX441" fmla="*/ 2855045 w 5794893"/>
              <a:gd name="connsiteY441" fmla="*/ 1045958 h 6858000"/>
              <a:gd name="connsiteX442" fmla="*/ 2981636 w 5794893"/>
              <a:gd name="connsiteY442" fmla="*/ 1068080 h 6858000"/>
              <a:gd name="connsiteX443" fmla="*/ 2984094 w 5794893"/>
              <a:gd name="connsiteY443" fmla="*/ 1049645 h 6858000"/>
              <a:gd name="connsiteX444" fmla="*/ 3110684 w 5794893"/>
              <a:gd name="connsiteY444" fmla="*/ 1069310 h 6858000"/>
              <a:gd name="connsiteX445" fmla="*/ 3111913 w 5794893"/>
              <a:gd name="connsiteY445" fmla="*/ 1053332 h 6858000"/>
              <a:gd name="connsiteX446" fmla="*/ 3239733 w 5794893"/>
              <a:gd name="connsiteY446" fmla="*/ 1069310 h 6858000"/>
              <a:gd name="connsiteX447" fmla="*/ 3240961 w 5794893"/>
              <a:gd name="connsiteY447" fmla="*/ 1057020 h 6858000"/>
              <a:gd name="connsiteX448" fmla="*/ 3370010 w 5794893"/>
              <a:gd name="connsiteY448" fmla="*/ 1069310 h 6858000"/>
              <a:gd name="connsiteX449" fmla="*/ 3371239 w 5794893"/>
              <a:gd name="connsiteY449" fmla="*/ 1059478 h 6858000"/>
              <a:gd name="connsiteX450" fmla="*/ 3500288 w 5794893"/>
              <a:gd name="connsiteY450" fmla="*/ 1069310 h 6858000"/>
              <a:gd name="connsiteX451" fmla="*/ 3500288 w 5794893"/>
              <a:gd name="connsiteY451" fmla="*/ 1061936 h 6858000"/>
              <a:gd name="connsiteX452" fmla="*/ 3628107 w 5794893"/>
              <a:gd name="connsiteY452" fmla="*/ 1071768 h 6858000"/>
              <a:gd name="connsiteX453" fmla="*/ 3628107 w 5794893"/>
              <a:gd name="connsiteY453" fmla="*/ 1066852 h 6858000"/>
              <a:gd name="connsiteX454" fmla="*/ 3636710 w 5794893"/>
              <a:gd name="connsiteY454" fmla="*/ 1066852 h 6858000"/>
              <a:gd name="connsiteX455" fmla="*/ 3716598 w 5794893"/>
              <a:gd name="connsiteY455" fmla="*/ 1069310 h 6858000"/>
              <a:gd name="connsiteX456" fmla="*/ 3716598 w 5794893"/>
              <a:gd name="connsiteY456" fmla="*/ 1070538 h 6858000"/>
              <a:gd name="connsiteX457" fmla="*/ 5717465 w 5794893"/>
              <a:gd name="connsiteY457" fmla="*/ 1112325 h 6858000"/>
              <a:gd name="connsiteX458" fmla="*/ 3716598 w 5794893"/>
              <a:gd name="connsiteY458" fmla="*/ 1112325 h 6858000"/>
              <a:gd name="connsiteX459" fmla="*/ 3717826 w 5794893"/>
              <a:gd name="connsiteY459" fmla="*/ 1113555 h 6858000"/>
              <a:gd name="connsiteX460" fmla="*/ 3599839 w 5794893"/>
              <a:gd name="connsiteY460" fmla="*/ 1111097 h 6858000"/>
              <a:gd name="connsiteX461" fmla="*/ 3599839 w 5794893"/>
              <a:gd name="connsiteY461" fmla="*/ 1114783 h 6858000"/>
              <a:gd name="connsiteX462" fmla="*/ 3481852 w 5794893"/>
              <a:gd name="connsiteY462" fmla="*/ 1111097 h 6858000"/>
              <a:gd name="connsiteX463" fmla="*/ 3481852 w 5794893"/>
              <a:gd name="connsiteY463" fmla="*/ 1117242 h 6858000"/>
              <a:gd name="connsiteX464" fmla="*/ 3363865 w 5794893"/>
              <a:gd name="connsiteY464" fmla="*/ 1111097 h 6858000"/>
              <a:gd name="connsiteX465" fmla="*/ 3363865 w 5794893"/>
              <a:gd name="connsiteY465" fmla="*/ 1119700 h 6858000"/>
              <a:gd name="connsiteX466" fmla="*/ 3245877 w 5794893"/>
              <a:gd name="connsiteY466" fmla="*/ 1111097 h 6858000"/>
              <a:gd name="connsiteX467" fmla="*/ 3245877 w 5794893"/>
              <a:gd name="connsiteY467" fmla="*/ 1122158 h 6858000"/>
              <a:gd name="connsiteX468" fmla="*/ 3127890 w 5794893"/>
              <a:gd name="connsiteY468" fmla="*/ 1111097 h 6858000"/>
              <a:gd name="connsiteX469" fmla="*/ 3126662 w 5794893"/>
              <a:gd name="connsiteY469" fmla="*/ 1125845 h 6858000"/>
              <a:gd name="connsiteX470" fmla="*/ 3008674 w 5794893"/>
              <a:gd name="connsiteY470" fmla="*/ 1111097 h 6858000"/>
              <a:gd name="connsiteX471" fmla="*/ 3007445 w 5794893"/>
              <a:gd name="connsiteY471" fmla="*/ 1128304 h 6858000"/>
              <a:gd name="connsiteX472" fmla="*/ 2890687 w 5794893"/>
              <a:gd name="connsiteY472" fmla="*/ 1111097 h 6858000"/>
              <a:gd name="connsiteX473" fmla="*/ 2888229 w 5794893"/>
              <a:gd name="connsiteY473" fmla="*/ 1131990 h 6858000"/>
              <a:gd name="connsiteX474" fmla="*/ 2772700 w 5794893"/>
              <a:gd name="connsiteY474" fmla="*/ 1111097 h 6858000"/>
              <a:gd name="connsiteX475" fmla="*/ 2769012 w 5794893"/>
              <a:gd name="connsiteY475" fmla="*/ 1135678 h 6858000"/>
              <a:gd name="connsiteX476" fmla="*/ 2654713 w 5794893"/>
              <a:gd name="connsiteY476" fmla="*/ 1111097 h 6858000"/>
              <a:gd name="connsiteX477" fmla="*/ 2649797 w 5794893"/>
              <a:gd name="connsiteY477" fmla="*/ 1138136 h 6858000"/>
              <a:gd name="connsiteX478" fmla="*/ 2536726 w 5794893"/>
              <a:gd name="connsiteY478" fmla="*/ 1111097 h 6858000"/>
              <a:gd name="connsiteX479" fmla="*/ 2530580 w 5794893"/>
              <a:gd name="connsiteY479" fmla="*/ 1143052 h 6858000"/>
              <a:gd name="connsiteX480" fmla="*/ 2418738 w 5794893"/>
              <a:gd name="connsiteY480" fmla="*/ 1111097 h 6858000"/>
              <a:gd name="connsiteX481" fmla="*/ 2411364 w 5794893"/>
              <a:gd name="connsiteY481" fmla="*/ 1146738 h 6858000"/>
              <a:gd name="connsiteX482" fmla="*/ 2300751 w 5794893"/>
              <a:gd name="connsiteY482" fmla="*/ 1111097 h 6858000"/>
              <a:gd name="connsiteX483" fmla="*/ 2290919 w 5794893"/>
              <a:gd name="connsiteY483" fmla="*/ 1150426 h 6858000"/>
              <a:gd name="connsiteX484" fmla="*/ 2182764 w 5794893"/>
              <a:gd name="connsiteY484" fmla="*/ 1111097 h 6858000"/>
              <a:gd name="connsiteX485" fmla="*/ 2170474 w 5794893"/>
              <a:gd name="connsiteY485" fmla="*/ 1155342 h 6858000"/>
              <a:gd name="connsiteX486" fmla="*/ 2064777 w 5794893"/>
              <a:gd name="connsiteY486" fmla="*/ 1111097 h 6858000"/>
              <a:gd name="connsiteX487" fmla="*/ 2048799 w 5794893"/>
              <a:gd name="connsiteY487" fmla="*/ 1160258 h 6858000"/>
              <a:gd name="connsiteX488" fmla="*/ 1946789 w 5794893"/>
              <a:gd name="connsiteY488" fmla="*/ 1111097 h 6858000"/>
              <a:gd name="connsiteX489" fmla="*/ 1927125 w 5794893"/>
              <a:gd name="connsiteY489" fmla="*/ 1163945 h 6858000"/>
              <a:gd name="connsiteX490" fmla="*/ 1828802 w 5794893"/>
              <a:gd name="connsiteY490" fmla="*/ 1111097 h 6858000"/>
              <a:gd name="connsiteX491" fmla="*/ 1804221 w 5794893"/>
              <a:gd name="connsiteY491" fmla="*/ 1168861 h 6858000"/>
              <a:gd name="connsiteX492" fmla="*/ 1710815 w 5794893"/>
              <a:gd name="connsiteY492" fmla="*/ 1111097 h 6858000"/>
              <a:gd name="connsiteX493" fmla="*/ 1681318 w 5794893"/>
              <a:gd name="connsiteY493" fmla="*/ 1173777 h 6858000"/>
              <a:gd name="connsiteX494" fmla="*/ 1592828 w 5794893"/>
              <a:gd name="connsiteY494" fmla="*/ 1111097 h 6858000"/>
              <a:gd name="connsiteX495" fmla="*/ 1557185 w 5794893"/>
              <a:gd name="connsiteY495" fmla="*/ 1175007 h 6858000"/>
              <a:gd name="connsiteX496" fmla="*/ 1683776 w 5794893"/>
              <a:gd name="connsiteY496" fmla="*/ 1263497 h 6858000"/>
              <a:gd name="connsiteX497" fmla="*/ 1716959 w 5794893"/>
              <a:gd name="connsiteY497" fmla="*/ 1203274 h 6858000"/>
              <a:gd name="connsiteX498" fmla="*/ 1814054 w 5794893"/>
              <a:gd name="connsiteY498" fmla="*/ 1263497 h 6858000"/>
              <a:gd name="connsiteX499" fmla="*/ 1841092 w 5794893"/>
              <a:gd name="connsiteY499" fmla="*/ 1208190 h 6858000"/>
              <a:gd name="connsiteX500" fmla="*/ 1944331 w 5794893"/>
              <a:gd name="connsiteY500" fmla="*/ 1263497 h 6858000"/>
              <a:gd name="connsiteX501" fmla="*/ 1966454 w 5794893"/>
              <a:gd name="connsiteY501" fmla="*/ 1211878 h 6858000"/>
              <a:gd name="connsiteX502" fmla="*/ 2074609 w 5794893"/>
              <a:gd name="connsiteY502" fmla="*/ 1263497 h 6858000"/>
              <a:gd name="connsiteX503" fmla="*/ 2091815 w 5794893"/>
              <a:gd name="connsiteY503" fmla="*/ 1216794 h 6858000"/>
              <a:gd name="connsiteX504" fmla="*/ 2203657 w 5794893"/>
              <a:gd name="connsiteY504" fmla="*/ 1263497 h 6858000"/>
              <a:gd name="connsiteX505" fmla="*/ 2217177 w 5794893"/>
              <a:gd name="connsiteY505" fmla="*/ 1220480 h 6858000"/>
              <a:gd name="connsiteX506" fmla="*/ 2332706 w 5794893"/>
              <a:gd name="connsiteY506" fmla="*/ 1263497 h 6858000"/>
              <a:gd name="connsiteX507" fmla="*/ 2343767 w 5794893"/>
              <a:gd name="connsiteY507" fmla="*/ 1225397 h 6858000"/>
              <a:gd name="connsiteX508" fmla="*/ 2462984 w 5794893"/>
              <a:gd name="connsiteY508" fmla="*/ 1263497 h 6858000"/>
              <a:gd name="connsiteX509" fmla="*/ 2471586 w 5794893"/>
              <a:gd name="connsiteY509" fmla="*/ 1229084 h 6858000"/>
              <a:gd name="connsiteX510" fmla="*/ 2592031 w 5794893"/>
              <a:gd name="connsiteY510" fmla="*/ 1263497 h 6858000"/>
              <a:gd name="connsiteX511" fmla="*/ 2598177 w 5794893"/>
              <a:gd name="connsiteY511" fmla="*/ 1234000 h 6858000"/>
              <a:gd name="connsiteX512" fmla="*/ 2721081 w 5794893"/>
              <a:gd name="connsiteY512" fmla="*/ 1263497 h 6858000"/>
              <a:gd name="connsiteX513" fmla="*/ 2725997 w 5794893"/>
              <a:gd name="connsiteY513" fmla="*/ 1237687 h 6858000"/>
              <a:gd name="connsiteX514" fmla="*/ 2851358 w 5794893"/>
              <a:gd name="connsiteY514" fmla="*/ 1263497 h 6858000"/>
              <a:gd name="connsiteX515" fmla="*/ 2855045 w 5794893"/>
              <a:gd name="connsiteY515" fmla="*/ 1241375 h 6858000"/>
              <a:gd name="connsiteX516" fmla="*/ 2981636 w 5794893"/>
              <a:gd name="connsiteY516" fmla="*/ 1263497 h 6858000"/>
              <a:gd name="connsiteX517" fmla="*/ 2984094 w 5794893"/>
              <a:gd name="connsiteY517" fmla="*/ 1245061 h 6858000"/>
              <a:gd name="connsiteX518" fmla="*/ 3110684 w 5794893"/>
              <a:gd name="connsiteY518" fmla="*/ 1263497 h 6858000"/>
              <a:gd name="connsiteX519" fmla="*/ 3111913 w 5794893"/>
              <a:gd name="connsiteY519" fmla="*/ 1247519 h 6858000"/>
              <a:gd name="connsiteX520" fmla="*/ 3239733 w 5794893"/>
              <a:gd name="connsiteY520" fmla="*/ 1263497 h 6858000"/>
              <a:gd name="connsiteX521" fmla="*/ 3240961 w 5794893"/>
              <a:gd name="connsiteY521" fmla="*/ 1251207 h 6858000"/>
              <a:gd name="connsiteX522" fmla="*/ 3370010 w 5794893"/>
              <a:gd name="connsiteY522" fmla="*/ 1263497 h 6858000"/>
              <a:gd name="connsiteX523" fmla="*/ 3371239 w 5794893"/>
              <a:gd name="connsiteY523" fmla="*/ 1253665 h 6858000"/>
              <a:gd name="connsiteX524" fmla="*/ 3500288 w 5794893"/>
              <a:gd name="connsiteY524" fmla="*/ 1263497 h 6858000"/>
              <a:gd name="connsiteX525" fmla="*/ 3500288 w 5794893"/>
              <a:gd name="connsiteY525" fmla="*/ 1256123 h 6858000"/>
              <a:gd name="connsiteX526" fmla="*/ 3629336 w 5794893"/>
              <a:gd name="connsiteY526" fmla="*/ 1263497 h 6858000"/>
              <a:gd name="connsiteX527" fmla="*/ 3629336 w 5794893"/>
              <a:gd name="connsiteY527" fmla="*/ 1258581 h 6858000"/>
              <a:gd name="connsiteX528" fmla="*/ 3637940 w 5794893"/>
              <a:gd name="connsiteY528" fmla="*/ 1258581 h 6858000"/>
              <a:gd name="connsiteX529" fmla="*/ 3714140 w 5794893"/>
              <a:gd name="connsiteY529" fmla="*/ 1272100 h 6858000"/>
              <a:gd name="connsiteX530" fmla="*/ 3714140 w 5794893"/>
              <a:gd name="connsiteY530" fmla="*/ 1273329 h 6858000"/>
              <a:gd name="connsiteX531" fmla="*/ 5554003 w 5794893"/>
              <a:gd name="connsiteY531" fmla="*/ 1307742 h 6858000"/>
              <a:gd name="connsiteX532" fmla="*/ 3715368 w 5794893"/>
              <a:gd name="connsiteY532" fmla="*/ 1307742 h 6858000"/>
              <a:gd name="connsiteX533" fmla="*/ 3715368 w 5794893"/>
              <a:gd name="connsiteY533" fmla="*/ 1308971 h 6858000"/>
              <a:gd name="connsiteX534" fmla="*/ 3597381 w 5794893"/>
              <a:gd name="connsiteY534" fmla="*/ 1306513 h 6858000"/>
              <a:gd name="connsiteX535" fmla="*/ 3597381 w 5794893"/>
              <a:gd name="connsiteY535" fmla="*/ 1310200 h 6858000"/>
              <a:gd name="connsiteX536" fmla="*/ 3479394 w 5794893"/>
              <a:gd name="connsiteY536" fmla="*/ 1306513 h 6858000"/>
              <a:gd name="connsiteX537" fmla="*/ 3479394 w 5794893"/>
              <a:gd name="connsiteY537" fmla="*/ 1312659 h 6858000"/>
              <a:gd name="connsiteX538" fmla="*/ 3361406 w 5794893"/>
              <a:gd name="connsiteY538" fmla="*/ 1306513 h 6858000"/>
              <a:gd name="connsiteX539" fmla="*/ 3361406 w 5794893"/>
              <a:gd name="connsiteY539" fmla="*/ 1315117 h 6858000"/>
              <a:gd name="connsiteX540" fmla="*/ 3243419 w 5794893"/>
              <a:gd name="connsiteY540" fmla="*/ 1306513 h 6858000"/>
              <a:gd name="connsiteX541" fmla="*/ 3243419 w 5794893"/>
              <a:gd name="connsiteY541" fmla="*/ 1317575 h 6858000"/>
              <a:gd name="connsiteX542" fmla="*/ 3125432 w 5794893"/>
              <a:gd name="connsiteY542" fmla="*/ 1306513 h 6858000"/>
              <a:gd name="connsiteX543" fmla="*/ 3124204 w 5794893"/>
              <a:gd name="connsiteY543" fmla="*/ 1321261 h 6858000"/>
              <a:gd name="connsiteX544" fmla="*/ 3006216 w 5794893"/>
              <a:gd name="connsiteY544" fmla="*/ 1306513 h 6858000"/>
              <a:gd name="connsiteX545" fmla="*/ 3004987 w 5794893"/>
              <a:gd name="connsiteY545" fmla="*/ 1323719 h 6858000"/>
              <a:gd name="connsiteX546" fmla="*/ 2888229 w 5794893"/>
              <a:gd name="connsiteY546" fmla="*/ 1306513 h 6858000"/>
              <a:gd name="connsiteX547" fmla="*/ 2885771 w 5794893"/>
              <a:gd name="connsiteY547" fmla="*/ 1327407 h 6858000"/>
              <a:gd name="connsiteX548" fmla="*/ 2770242 w 5794893"/>
              <a:gd name="connsiteY548" fmla="*/ 1306513 h 6858000"/>
              <a:gd name="connsiteX549" fmla="*/ 2766554 w 5794893"/>
              <a:gd name="connsiteY549" fmla="*/ 1331093 h 6858000"/>
              <a:gd name="connsiteX550" fmla="*/ 2652255 w 5794893"/>
              <a:gd name="connsiteY550" fmla="*/ 1306513 h 6858000"/>
              <a:gd name="connsiteX551" fmla="*/ 2647339 w 5794893"/>
              <a:gd name="connsiteY551" fmla="*/ 1333551 h 6858000"/>
              <a:gd name="connsiteX552" fmla="*/ 2534268 w 5794893"/>
              <a:gd name="connsiteY552" fmla="*/ 1306513 h 6858000"/>
              <a:gd name="connsiteX553" fmla="*/ 2528122 w 5794893"/>
              <a:gd name="connsiteY553" fmla="*/ 1338468 h 6858000"/>
              <a:gd name="connsiteX554" fmla="*/ 2416280 w 5794893"/>
              <a:gd name="connsiteY554" fmla="*/ 1306513 h 6858000"/>
              <a:gd name="connsiteX555" fmla="*/ 2408906 w 5794893"/>
              <a:gd name="connsiteY555" fmla="*/ 1342155 h 6858000"/>
              <a:gd name="connsiteX556" fmla="*/ 2298293 w 5794893"/>
              <a:gd name="connsiteY556" fmla="*/ 1306513 h 6858000"/>
              <a:gd name="connsiteX557" fmla="*/ 2288461 w 5794893"/>
              <a:gd name="connsiteY557" fmla="*/ 1345842 h 6858000"/>
              <a:gd name="connsiteX558" fmla="*/ 2180306 w 5794893"/>
              <a:gd name="connsiteY558" fmla="*/ 1306513 h 6858000"/>
              <a:gd name="connsiteX559" fmla="*/ 2168015 w 5794893"/>
              <a:gd name="connsiteY559" fmla="*/ 1350758 h 6858000"/>
              <a:gd name="connsiteX560" fmla="*/ 2062319 w 5794893"/>
              <a:gd name="connsiteY560" fmla="*/ 1306513 h 6858000"/>
              <a:gd name="connsiteX561" fmla="*/ 2046340 w 5794893"/>
              <a:gd name="connsiteY561" fmla="*/ 1355674 h 6858000"/>
              <a:gd name="connsiteX562" fmla="*/ 1944331 w 5794893"/>
              <a:gd name="connsiteY562" fmla="*/ 1306513 h 6858000"/>
              <a:gd name="connsiteX563" fmla="*/ 1924667 w 5794893"/>
              <a:gd name="connsiteY563" fmla="*/ 1359362 h 6858000"/>
              <a:gd name="connsiteX564" fmla="*/ 1826344 w 5794893"/>
              <a:gd name="connsiteY564" fmla="*/ 1306513 h 6858000"/>
              <a:gd name="connsiteX565" fmla="*/ 1801763 w 5794893"/>
              <a:gd name="connsiteY565" fmla="*/ 1364278 h 6858000"/>
              <a:gd name="connsiteX566" fmla="*/ 1708357 w 5794893"/>
              <a:gd name="connsiteY566" fmla="*/ 1306513 h 6858000"/>
              <a:gd name="connsiteX567" fmla="*/ 1678860 w 5794893"/>
              <a:gd name="connsiteY567" fmla="*/ 1369194 h 6858000"/>
              <a:gd name="connsiteX568" fmla="*/ 1590370 w 5794893"/>
              <a:gd name="connsiteY568" fmla="*/ 1306513 h 6858000"/>
              <a:gd name="connsiteX569" fmla="*/ 1558424 w 5794893"/>
              <a:gd name="connsiteY569" fmla="*/ 1363794 h 6858000"/>
              <a:gd name="connsiteX570" fmla="*/ 1476069 w 5794893"/>
              <a:gd name="connsiteY570" fmla="*/ 1297910 h 6858000"/>
              <a:gd name="connsiteX571" fmla="*/ 1439198 w 5794893"/>
              <a:gd name="connsiteY571" fmla="*/ 1356904 h 6858000"/>
              <a:gd name="connsiteX572" fmla="*/ 1555957 w 5794893"/>
              <a:gd name="connsiteY572" fmla="*/ 1450310 h 6858000"/>
              <a:gd name="connsiteX573" fmla="*/ 1590332 w 5794893"/>
              <a:gd name="connsiteY573" fmla="*/ 1395311 h 6858000"/>
              <a:gd name="connsiteX574" fmla="*/ 1681318 w 5794893"/>
              <a:gd name="connsiteY574" fmla="*/ 1458913 h 6858000"/>
              <a:gd name="connsiteX575" fmla="*/ 1714501 w 5794893"/>
              <a:gd name="connsiteY575" fmla="*/ 1398691 h 6858000"/>
              <a:gd name="connsiteX576" fmla="*/ 1811596 w 5794893"/>
              <a:gd name="connsiteY576" fmla="*/ 1458913 h 6858000"/>
              <a:gd name="connsiteX577" fmla="*/ 1838634 w 5794893"/>
              <a:gd name="connsiteY577" fmla="*/ 1403607 h 6858000"/>
              <a:gd name="connsiteX578" fmla="*/ 1941873 w 5794893"/>
              <a:gd name="connsiteY578" fmla="*/ 1458913 h 6858000"/>
              <a:gd name="connsiteX579" fmla="*/ 1963996 w 5794893"/>
              <a:gd name="connsiteY579" fmla="*/ 1407293 h 6858000"/>
              <a:gd name="connsiteX580" fmla="*/ 2072151 w 5794893"/>
              <a:gd name="connsiteY580" fmla="*/ 1458913 h 6858000"/>
              <a:gd name="connsiteX581" fmla="*/ 2089357 w 5794893"/>
              <a:gd name="connsiteY581" fmla="*/ 1412210 h 6858000"/>
              <a:gd name="connsiteX582" fmla="*/ 2201199 w 5794893"/>
              <a:gd name="connsiteY582" fmla="*/ 1458913 h 6858000"/>
              <a:gd name="connsiteX583" fmla="*/ 2214719 w 5794893"/>
              <a:gd name="connsiteY583" fmla="*/ 1415897 h 6858000"/>
              <a:gd name="connsiteX584" fmla="*/ 2330248 w 5794893"/>
              <a:gd name="connsiteY584" fmla="*/ 1458913 h 6858000"/>
              <a:gd name="connsiteX585" fmla="*/ 2341309 w 5794893"/>
              <a:gd name="connsiteY585" fmla="*/ 1420814 h 6858000"/>
              <a:gd name="connsiteX586" fmla="*/ 2460525 w 5794893"/>
              <a:gd name="connsiteY586" fmla="*/ 1458913 h 6858000"/>
              <a:gd name="connsiteX587" fmla="*/ 2469128 w 5794893"/>
              <a:gd name="connsiteY587" fmla="*/ 1424500 h 6858000"/>
              <a:gd name="connsiteX588" fmla="*/ 2590803 w 5794893"/>
              <a:gd name="connsiteY588" fmla="*/ 1458913 h 6858000"/>
              <a:gd name="connsiteX589" fmla="*/ 2596948 w 5794893"/>
              <a:gd name="connsiteY589" fmla="*/ 1429416 h 6858000"/>
              <a:gd name="connsiteX590" fmla="*/ 2719851 w 5794893"/>
              <a:gd name="connsiteY590" fmla="*/ 1458913 h 6858000"/>
              <a:gd name="connsiteX591" fmla="*/ 2724767 w 5794893"/>
              <a:gd name="connsiteY591" fmla="*/ 1433104 h 6858000"/>
              <a:gd name="connsiteX592" fmla="*/ 2850129 w 5794893"/>
              <a:gd name="connsiteY592" fmla="*/ 1458913 h 6858000"/>
              <a:gd name="connsiteX593" fmla="*/ 2853816 w 5794893"/>
              <a:gd name="connsiteY593" fmla="*/ 1436790 h 6858000"/>
              <a:gd name="connsiteX594" fmla="*/ 2980406 w 5794893"/>
              <a:gd name="connsiteY594" fmla="*/ 1458913 h 6858000"/>
              <a:gd name="connsiteX595" fmla="*/ 2982864 w 5794893"/>
              <a:gd name="connsiteY595" fmla="*/ 1440478 h 6858000"/>
              <a:gd name="connsiteX596" fmla="*/ 3109455 w 5794893"/>
              <a:gd name="connsiteY596" fmla="*/ 1458913 h 6858000"/>
              <a:gd name="connsiteX597" fmla="*/ 3110684 w 5794893"/>
              <a:gd name="connsiteY597" fmla="*/ 1442936 h 6858000"/>
              <a:gd name="connsiteX598" fmla="*/ 3238503 w 5794893"/>
              <a:gd name="connsiteY598" fmla="*/ 1458913 h 6858000"/>
              <a:gd name="connsiteX599" fmla="*/ 3239733 w 5794893"/>
              <a:gd name="connsiteY599" fmla="*/ 1446623 h 6858000"/>
              <a:gd name="connsiteX600" fmla="*/ 3368781 w 5794893"/>
              <a:gd name="connsiteY600" fmla="*/ 1458913 h 6858000"/>
              <a:gd name="connsiteX601" fmla="*/ 3370010 w 5794893"/>
              <a:gd name="connsiteY601" fmla="*/ 1449081 h 6858000"/>
              <a:gd name="connsiteX602" fmla="*/ 3499058 w 5794893"/>
              <a:gd name="connsiteY602" fmla="*/ 1458913 h 6858000"/>
              <a:gd name="connsiteX603" fmla="*/ 3499058 w 5794893"/>
              <a:gd name="connsiteY603" fmla="*/ 1451539 h 6858000"/>
              <a:gd name="connsiteX604" fmla="*/ 3628107 w 5794893"/>
              <a:gd name="connsiteY604" fmla="*/ 1458913 h 6858000"/>
              <a:gd name="connsiteX605" fmla="*/ 3628107 w 5794893"/>
              <a:gd name="connsiteY605" fmla="*/ 1453997 h 6858000"/>
              <a:gd name="connsiteX606" fmla="*/ 3636710 w 5794893"/>
              <a:gd name="connsiteY606" fmla="*/ 1453997 h 6858000"/>
              <a:gd name="connsiteX607" fmla="*/ 3716598 w 5794893"/>
              <a:gd name="connsiteY607" fmla="*/ 1456455 h 6858000"/>
              <a:gd name="connsiteX608" fmla="*/ 3716598 w 5794893"/>
              <a:gd name="connsiteY608" fmla="*/ 1457685 h 6858000"/>
              <a:gd name="connsiteX609" fmla="*/ 5780145 w 5794893"/>
              <a:gd name="connsiteY609" fmla="*/ 1497014 h 6858000"/>
              <a:gd name="connsiteX610" fmla="*/ 3716598 w 5794893"/>
              <a:gd name="connsiteY610" fmla="*/ 1497014 h 6858000"/>
              <a:gd name="connsiteX611" fmla="*/ 3717826 w 5794893"/>
              <a:gd name="connsiteY611" fmla="*/ 1498242 h 6858000"/>
              <a:gd name="connsiteX612" fmla="*/ 3599839 w 5794893"/>
              <a:gd name="connsiteY612" fmla="*/ 1495784 h 6858000"/>
              <a:gd name="connsiteX613" fmla="*/ 3599839 w 5794893"/>
              <a:gd name="connsiteY613" fmla="*/ 1499472 h 6858000"/>
              <a:gd name="connsiteX614" fmla="*/ 3481852 w 5794893"/>
              <a:gd name="connsiteY614" fmla="*/ 1495784 h 6858000"/>
              <a:gd name="connsiteX615" fmla="*/ 3481852 w 5794893"/>
              <a:gd name="connsiteY615" fmla="*/ 1501930 h 6858000"/>
              <a:gd name="connsiteX616" fmla="*/ 3363865 w 5794893"/>
              <a:gd name="connsiteY616" fmla="*/ 1495784 h 6858000"/>
              <a:gd name="connsiteX617" fmla="*/ 3363865 w 5794893"/>
              <a:gd name="connsiteY617" fmla="*/ 1504388 h 6858000"/>
              <a:gd name="connsiteX618" fmla="*/ 3245877 w 5794893"/>
              <a:gd name="connsiteY618" fmla="*/ 1495784 h 6858000"/>
              <a:gd name="connsiteX619" fmla="*/ 3245877 w 5794893"/>
              <a:gd name="connsiteY619" fmla="*/ 1506846 h 6858000"/>
              <a:gd name="connsiteX620" fmla="*/ 3127890 w 5794893"/>
              <a:gd name="connsiteY620" fmla="*/ 1495784 h 6858000"/>
              <a:gd name="connsiteX621" fmla="*/ 3126662 w 5794893"/>
              <a:gd name="connsiteY621" fmla="*/ 1510532 h 6858000"/>
              <a:gd name="connsiteX622" fmla="*/ 3008674 w 5794893"/>
              <a:gd name="connsiteY622" fmla="*/ 1495784 h 6858000"/>
              <a:gd name="connsiteX623" fmla="*/ 3007445 w 5794893"/>
              <a:gd name="connsiteY623" fmla="*/ 1512990 h 6858000"/>
              <a:gd name="connsiteX624" fmla="*/ 2890687 w 5794893"/>
              <a:gd name="connsiteY624" fmla="*/ 1495784 h 6858000"/>
              <a:gd name="connsiteX625" fmla="*/ 2888229 w 5794893"/>
              <a:gd name="connsiteY625" fmla="*/ 1516678 h 6858000"/>
              <a:gd name="connsiteX626" fmla="*/ 2772700 w 5794893"/>
              <a:gd name="connsiteY626" fmla="*/ 1495784 h 6858000"/>
              <a:gd name="connsiteX627" fmla="*/ 2769012 w 5794893"/>
              <a:gd name="connsiteY627" fmla="*/ 1520365 h 6858000"/>
              <a:gd name="connsiteX628" fmla="*/ 2654713 w 5794893"/>
              <a:gd name="connsiteY628" fmla="*/ 1495784 h 6858000"/>
              <a:gd name="connsiteX629" fmla="*/ 2649797 w 5794893"/>
              <a:gd name="connsiteY629" fmla="*/ 1522823 h 6858000"/>
              <a:gd name="connsiteX630" fmla="*/ 2536726 w 5794893"/>
              <a:gd name="connsiteY630" fmla="*/ 1495784 h 6858000"/>
              <a:gd name="connsiteX631" fmla="*/ 2530580 w 5794893"/>
              <a:gd name="connsiteY631" fmla="*/ 1526510 h 6858000"/>
              <a:gd name="connsiteX632" fmla="*/ 2418738 w 5794893"/>
              <a:gd name="connsiteY632" fmla="*/ 1494556 h 6858000"/>
              <a:gd name="connsiteX633" fmla="*/ 2411364 w 5794893"/>
              <a:gd name="connsiteY633" fmla="*/ 1530197 h 6858000"/>
              <a:gd name="connsiteX634" fmla="*/ 2300751 w 5794893"/>
              <a:gd name="connsiteY634" fmla="*/ 1494556 h 6858000"/>
              <a:gd name="connsiteX635" fmla="*/ 2290919 w 5794893"/>
              <a:gd name="connsiteY635" fmla="*/ 1533885 h 6858000"/>
              <a:gd name="connsiteX636" fmla="*/ 2182764 w 5794893"/>
              <a:gd name="connsiteY636" fmla="*/ 1494556 h 6858000"/>
              <a:gd name="connsiteX637" fmla="*/ 2170474 w 5794893"/>
              <a:gd name="connsiteY637" fmla="*/ 1538801 h 6858000"/>
              <a:gd name="connsiteX638" fmla="*/ 2064777 w 5794893"/>
              <a:gd name="connsiteY638" fmla="*/ 1494556 h 6858000"/>
              <a:gd name="connsiteX639" fmla="*/ 2048799 w 5794893"/>
              <a:gd name="connsiteY639" fmla="*/ 1543717 h 6858000"/>
              <a:gd name="connsiteX640" fmla="*/ 1946789 w 5794893"/>
              <a:gd name="connsiteY640" fmla="*/ 1494556 h 6858000"/>
              <a:gd name="connsiteX641" fmla="*/ 1927125 w 5794893"/>
              <a:gd name="connsiteY641" fmla="*/ 1547403 h 6858000"/>
              <a:gd name="connsiteX642" fmla="*/ 1828802 w 5794893"/>
              <a:gd name="connsiteY642" fmla="*/ 1494556 h 6858000"/>
              <a:gd name="connsiteX643" fmla="*/ 1804221 w 5794893"/>
              <a:gd name="connsiteY643" fmla="*/ 1552319 h 6858000"/>
              <a:gd name="connsiteX644" fmla="*/ 1710815 w 5794893"/>
              <a:gd name="connsiteY644" fmla="*/ 1494556 h 6858000"/>
              <a:gd name="connsiteX645" fmla="*/ 1681318 w 5794893"/>
              <a:gd name="connsiteY645" fmla="*/ 1557236 h 6858000"/>
              <a:gd name="connsiteX646" fmla="*/ 1592828 w 5794893"/>
              <a:gd name="connsiteY646" fmla="*/ 1494556 h 6858000"/>
              <a:gd name="connsiteX647" fmla="*/ 1558702 w 5794893"/>
              <a:gd name="connsiteY647" fmla="*/ 1555745 h 6858000"/>
              <a:gd name="connsiteX648" fmla="*/ 1476069 w 5794893"/>
              <a:gd name="connsiteY648" fmla="*/ 1489639 h 6858000"/>
              <a:gd name="connsiteX649" fmla="*/ 1439198 w 5794893"/>
              <a:gd name="connsiteY649" fmla="*/ 1548633 h 6858000"/>
              <a:gd name="connsiteX650" fmla="*/ 1555957 w 5794893"/>
              <a:gd name="connsiteY650" fmla="*/ 1642040 h 6858000"/>
              <a:gd name="connsiteX651" fmla="*/ 1592683 w 5794893"/>
              <a:gd name="connsiteY651" fmla="*/ 1583279 h 6858000"/>
              <a:gd name="connsiteX652" fmla="*/ 1683776 w 5794893"/>
              <a:gd name="connsiteY652" fmla="*/ 1646956 h 6858000"/>
              <a:gd name="connsiteX653" fmla="*/ 1716959 w 5794893"/>
              <a:gd name="connsiteY653" fmla="*/ 1586732 h 6858000"/>
              <a:gd name="connsiteX654" fmla="*/ 1814054 w 5794893"/>
              <a:gd name="connsiteY654" fmla="*/ 1646956 h 6858000"/>
              <a:gd name="connsiteX655" fmla="*/ 1841092 w 5794893"/>
              <a:gd name="connsiteY655" fmla="*/ 1591649 h 6858000"/>
              <a:gd name="connsiteX656" fmla="*/ 1944331 w 5794893"/>
              <a:gd name="connsiteY656" fmla="*/ 1646956 h 6858000"/>
              <a:gd name="connsiteX657" fmla="*/ 1966454 w 5794893"/>
              <a:gd name="connsiteY657" fmla="*/ 1595336 h 6858000"/>
              <a:gd name="connsiteX658" fmla="*/ 2074609 w 5794893"/>
              <a:gd name="connsiteY658" fmla="*/ 1646956 h 6858000"/>
              <a:gd name="connsiteX659" fmla="*/ 2091815 w 5794893"/>
              <a:gd name="connsiteY659" fmla="*/ 1600252 h 6858000"/>
              <a:gd name="connsiteX660" fmla="*/ 2203657 w 5794893"/>
              <a:gd name="connsiteY660" fmla="*/ 1646956 h 6858000"/>
              <a:gd name="connsiteX661" fmla="*/ 2217177 w 5794893"/>
              <a:gd name="connsiteY661" fmla="*/ 1603939 h 6858000"/>
              <a:gd name="connsiteX662" fmla="*/ 2332706 w 5794893"/>
              <a:gd name="connsiteY662" fmla="*/ 1646956 h 6858000"/>
              <a:gd name="connsiteX663" fmla="*/ 2343767 w 5794893"/>
              <a:gd name="connsiteY663" fmla="*/ 1608855 h 6858000"/>
              <a:gd name="connsiteX664" fmla="*/ 2462984 w 5794893"/>
              <a:gd name="connsiteY664" fmla="*/ 1646956 h 6858000"/>
              <a:gd name="connsiteX665" fmla="*/ 2471586 w 5794893"/>
              <a:gd name="connsiteY665" fmla="*/ 1612543 h 6858000"/>
              <a:gd name="connsiteX666" fmla="*/ 2593261 w 5794893"/>
              <a:gd name="connsiteY666" fmla="*/ 1646956 h 6858000"/>
              <a:gd name="connsiteX667" fmla="*/ 2599406 w 5794893"/>
              <a:gd name="connsiteY667" fmla="*/ 1617459 h 6858000"/>
              <a:gd name="connsiteX668" fmla="*/ 2722309 w 5794893"/>
              <a:gd name="connsiteY668" fmla="*/ 1646956 h 6858000"/>
              <a:gd name="connsiteX669" fmla="*/ 2727225 w 5794893"/>
              <a:gd name="connsiteY669" fmla="*/ 1621145 h 6858000"/>
              <a:gd name="connsiteX670" fmla="*/ 2851358 w 5794893"/>
              <a:gd name="connsiteY670" fmla="*/ 1646956 h 6858000"/>
              <a:gd name="connsiteX671" fmla="*/ 2855045 w 5794893"/>
              <a:gd name="connsiteY671" fmla="*/ 1624833 h 6858000"/>
              <a:gd name="connsiteX672" fmla="*/ 2981636 w 5794893"/>
              <a:gd name="connsiteY672" fmla="*/ 1646956 h 6858000"/>
              <a:gd name="connsiteX673" fmla="*/ 2984094 w 5794893"/>
              <a:gd name="connsiteY673" fmla="*/ 1628520 h 6858000"/>
              <a:gd name="connsiteX674" fmla="*/ 3110684 w 5794893"/>
              <a:gd name="connsiteY674" fmla="*/ 1646956 h 6858000"/>
              <a:gd name="connsiteX675" fmla="*/ 3111913 w 5794893"/>
              <a:gd name="connsiteY675" fmla="*/ 1630978 h 6858000"/>
              <a:gd name="connsiteX676" fmla="*/ 3239733 w 5794893"/>
              <a:gd name="connsiteY676" fmla="*/ 1646956 h 6858000"/>
              <a:gd name="connsiteX677" fmla="*/ 3240961 w 5794893"/>
              <a:gd name="connsiteY677" fmla="*/ 1634665 h 6858000"/>
              <a:gd name="connsiteX678" fmla="*/ 3370010 w 5794893"/>
              <a:gd name="connsiteY678" fmla="*/ 1646956 h 6858000"/>
              <a:gd name="connsiteX679" fmla="*/ 3371239 w 5794893"/>
              <a:gd name="connsiteY679" fmla="*/ 1637123 h 6858000"/>
              <a:gd name="connsiteX680" fmla="*/ 3500288 w 5794893"/>
              <a:gd name="connsiteY680" fmla="*/ 1646956 h 6858000"/>
              <a:gd name="connsiteX681" fmla="*/ 3500288 w 5794893"/>
              <a:gd name="connsiteY681" fmla="*/ 1639581 h 6858000"/>
              <a:gd name="connsiteX682" fmla="*/ 3629336 w 5794893"/>
              <a:gd name="connsiteY682" fmla="*/ 1646956 h 6858000"/>
              <a:gd name="connsiteX683" fmla="*/ 3629336 w 5794893"/>
              <a:gd name="connsiteY683" fmla="*/ 1642040 h 6858000"/>
              <a:gd name="connsiteX684" fmla="*/ 3637940 w 5794893"/>
              <a:gd name="connsiteY684" fmla="*/ 1642040 h 6858000"/>
              <a:gd name="connsiteX685" fmla="*/ 3717826 w 5794893"/>
              <a:gd name="connsiteY685" fmla="*/ 1644498 h 6858000"/>
              <a:gd name="connsiteX686" fmla="*/ 3717826 w 5794893"/>
              <a:gd name="connsiteY686" fmla="*/ 1645726 h 6858000"/>
              <a:gd name="connsiteX687" fmla="*/ 5622828 w 5794893"/>
              <a:gd name="connsiteY687" fmla="*/ 1685055 h 6858000"/>
              <a:gd name="connsiteX688" fmla="*/ 3717826 w 5794893"/>
              <a:gd name="connsiteY688" fmla="*/ 1685055 h 6858000"/>
              <a:gd name="connsiteX689" fmla="*/ 3719056 w 5794893"/>
              <a:gd name="connsiteY689" fmla="*/ 1686285 h 6858000"/>
              <a:gd name="connsiteX690" fmla="*/ 3601069 w 5794893"/>
              <a:gd name="connsiteY690" fmla="*/ 1683827 h 6858000"/>
              <a:gd name="connsiteX691" fmla="*/ 3601069 w 5794893"/>
              <a:gd name="connsiteY691" fmla="*/ 1687513 h 6858000"/>
              <a:gd name="connsiteX692" fmla="*/ 3483081 w 5794893"/>
              <a:gd name="connsiteY692" fmla="*/ 1683827 h 6858000"/>
              <a:gd name="connsiteX693" fmla="*/ 3483081 w 5794893"/>
              <a:gd name="connsiteY693" fmla="*/ 1689971 h 6858000"/>
              <a:gd name="connsiteX694" fmla="*/ 3365094 w 5794893"/>
              <a:gd name="connsiteY694" fmla="*/ 1683827 h 6858000"/>
              <a:gd name="connsiteX695" fmla="*/ 3365094 w 5794893"/>
              <a:gd name="connsiteY695" fmla="*/ 1692429 h 6858000"/>
              <a:gd name="connsiteX696" fmla="*/ 3247107 w 5794893"/>
              <a:gd name="connsiteY696" fmla="*/ 1683827 h 6858000"/>
              <a:gd name="connsiteX697" fmla="*/ 3247107 w 5794893"/>
              <a:gd name="connsiteY697" fmla="*/ 1694887 h 6858000"/>
              <a:gd name="connsiteX698" fmla="*/ 3129120 w 5794893"/>
              <a:gd name="connsiteY698" fmla="*/ 1683827 h 6858000"/>
              <a:gd name="connsiteX699" fmla="*/ 3127890 w 5794893"/>
              <a:gd name="connsiteY699" fmla="*/ 1698575 h 6858000"/>
              <a:gd name="connsiteX700" fmla="*/ 3009903 w 5794893"/>
              <a:gd name="connsiteY700" fmla="*/ 1683827 h 6858000"/>
              <a:gd name="connsiteX701" fmla="*/ 3008674 w 5794893"/>
              <a:gd name="connsiteY701" fmla="*/ 1701033 h 6858000"/>
              <a:gd name="connsiteX702" fmla="*/ 2891916 w 5794893"/>
              <a:gd name="connsiteY702" fmla="*/ 1683827 h 6858000"/>
              <a:gd name="connsiteX703" fmla="*/ 2889458 w 5794893"/>
              <a:gd name="connsiteY703" fmla="*/ 1704720 h 6858000"/>
              <a:gd name="connsiteX704" fmla="*/ 2773928 w 5794893"/>
              <a:gd name="connsiteY704" fmla="*/ 1683827 h 6858000"/>
              <a:gd name="connsiteX705" fmla="*/ 2770242 w 5794893"/>
              <a:gd name="connsiteY705" fmla="*/ 1707178 h 6858000"/>
              <a:gd name="connsiteX706" fmla="*/ 2655941 w 5794893"/>
              <a:gd name="connsiteY706" fmla="*/ 1683827 h 6858000"/>
              <a:gd name="connsiteX707" fmla="*/ 2651025 w 5794893"/>
              <a:gd name="connsiteY707" fmla="*/ 1710865 h 6858000"/>
              <a:gd name="connsiteX708" fmla="*/ 2537954 w 5794893"/>
              <a:gd name="connsiteY708" fmla="*/ 1683827 h 6858000"/>
              <a:gd name="connsiteX709" fmla="*/ 2531809 w 5794893"/>
              <a:gd name="connsiteY709" fmla="*/ 1714552 h 6858000"/>
              <a:gd name="connsiteX710" fmla="*/ 2419967 w 5794893"/>
              <a:gd name="connsiteY710" fmla="*/ 1683827 h 6858000"/>
              <a:gd name="connsiteX711" fmla="*/ 2412593 w 5794893"/>
              <a:gd name="connsiteY711" fmla="*/ 1719468 h 6858000"/>
              <a:gd name="connsiteX712" fmla="*/ 2301980 w 5794893"/>
              <a:gd name="connsiteY712" fmla="*/ 1683827 h 6858000"/>
              <a:gd name="connsiteX713" fmla="*/ 2292147 w 5794893"/>
              <a:gd name="connsiteY713" fmla="*/ 1723156 h 6858000"/>
              <a:gd name="connsiteX714" fmla="*/ 2183992 w 5794893"/>
              <a:gd name="connsiteY714" fmla="*/ 1683827 h 6858000"/>
              <a:gd name="connsiteX715" fmla="*/ 2171702 w 5794893"/>
              <a:gd name="connsiteY715" fmla="*/ 1728072 h 6858000"/>
              <a:gd name="connsiteX716" fmla="*/ 2066005 w 5794893"/>
              <a:gd name="connsiteY716" fmla="*/ 1683827 h 6858000"/>
              <a:gd name="connsiteX717" fmla="*/ 2050028 w 5794893"/>
              <a:gd name="connsiteY717" fmla="*/ 1732988 h 6858000"/>
              <a:gd name="connsiteX718" fmla="*/ 1948018 w 5794893"/>
              <a:gd name="connsiteY718" fmla="*/ 1683827 h 6858000"/>
              <a:gd name="connsiteX719" fmla="*/ 1928353 w 5794893"/>
              <a:gd name="connsiteY719" fmla="*/ 1736674 h 6858000"/>
              <a:gd name="connsiteX720" fmla="*/ 1830031 w 5794893"/>
              <a:gd name="connsiteY720" fmla="*/ 1683827 h 6858000"/>
              <a:gd name="connsiteX721" fmla="*/ 1805450 w 5794893"/>
              <a:gd name="connsiteY721" fmla="*/ 1741591 h 6858000"/>
              <a:gd name="connsiteX722" fmla="*/ 1712043 w 5794893"/>
              <a:gd name="connsiteY722" fmla="*/ 1683827 h 6858000"/>
              <a:gd name="connsiteX723" fmla="*/ 1682547 w 5794893"/>
              <a:gd name="connsiteY723" fmla="*/ 1745278 h 6858000"/>
              <a:gd name="connsiteX724" fmla="*/ 1594056 w 5794893"/>
              <a:gd name="connsiteY724" fmla="*/ 1683827 h 6858000"/>
              <a:gd name="connsiteX725" fmla="*/ 1558415 w 5794893"/>
              <a:gd name="connsiteY725" fmla="*/ 1747736 h 6858000"/>
              <a:gd name="connsiteX726" fmla="*/ 1685005 w 5794893"/>
              <a:gd name="connsiteY726" fmla="*/ 1836227 h 6858000"/>
              <a:gd name="connsiteX727" fmla="*/ 1718189 w 5794893"/>
              <a:gd name="connsiteY727" fmla="*/ 1776004 h 6858000"/>
              <a:gd name="connsiteX728" fmla="*/ 1815282 w 5794893"/>
              <a:gd name="connsiteY728" fmla="*/ 1836227 h 6858000"/>
              <a:gd name="connsiteX729" fmla="*/ 1842321 w 5794893"/>
              <a:gd name="connsiteY729" fmla="*/ 1779691 h 6858000"/>
              <a:gd name="connsiteX730" fmla="*/ 1945560 w 5794893"/>
              <a:gd name="connsiteY730" fmla="*/ 1836227 h 6858000"/>
              <a:gd name="connsiteX731" fmla="*/ 1967682 w 5794893"/>
              <a:gd name="connsiteY731" fmla="*/ 1784607 h 6858000"/>
              <a:gd name="connsiteX732" fmla="*/ 2075837 w 5794893"/>
              <a:gd name="connsiteY732" fmla="*/ 1836227 h 6858000"/>
              <a:gd name="connsiteX733" fmla="*/ 2093044 w 5794893"/>
              <a:gd name="connsiteY733" fmla="*/ 1789524 h 6858000"/>
              <a:gd name="connsiteX734" fmla="*/ 2204887 w 5794893"/>
              <a:gd name="connsiteY734" fmla="*/ 1836227 h 6858000"/>
              <a:gd name="connsiteX735" fmla="*/ 2218405 w 5794893"/>
              <a:gd name="connsiteY735" fmla="*/ 1793210 h 6858000"/>
              <a:gd name="connsiteX736" fmla="*/ 2333934 w 5794893"/>
              <a:gd name="connsiteY736" fmla="*/ 1836227 h 6858000"/>
              <a:gd name="connsiteX737" fmla="*/ 2344996 w 5794893"/>
              <a:gd name="connsiteY737" fmla="*/ 1798126 h 6858000"/>
              <a:gd name="connsiteX738" fmla="*/ 2464212 w 5794893"/>
              <a:gd name="connsiteY738" fmla="*/ 1836227 h 6858000"/>
              <a:gd name="connsiteX739" fmla="*/ 2472816 w 5794893"/>
              <a:gd name="connsiteY739" fmla="*/ 1801814 h 6858000"/>
              <a:gd name="connsiteX740" fmla="*/ 2593261 w 5794893"/>
              <a:gd name="connsiteY740" fmla="*/ 1836227 h 6858000"/>
              <a:gd name="connsiteX741" fmla="*/ 2599406 w 5794893"/>
              <a:gd name="connsiteY741" fmla="*/ 1806730 h 6858000"/>
              <a:gd name="connsiteX742" fmla="*/ 2722309 w 5794893"/>
              <a:gd name="connsiteY742" fmla="*/ 1836227 h 6858000"/>
              <a:gd name="connsiteX743" fmla="*/ 2727225 w 5794893"/>
              <a:gd name="connsiteY743" fmla="*/ 1810417 h 6858000"/>
              <a:gd name="connsiteX744" fmla="*/ 2852587 w 5794893"/>
              <a:gd name="connsiteY744" fmla="*/ 1836227 h 6858000"/>
              <a:gd name="connsiteX745" fmla="*/ 2856274 w 5794893"/>
              <a:gd name="connsiteY745" fmla="*/ 1814104 h 6858000"/>
              <a:gd name="connsiteX746" fmla="*/ 2982864 w 5794893"/>
              <a:gd name="connsiteY746" fmla="*/ 1836227 h 6858000"/>
              <a:gd name="connsiteX747" fmla="*/ 2985322 w 5794893"/>
              <a:gd name="connsiteY747" fmla="*/ 1817791 h 6858000"/>
              <a:gd name="connsiteX748" fmla="*/ 3111913 w 5794893"/>
              <a:gd name="connsiteY748" fmla="*/ 1836227 h 6858000"/>
              <a:gd name="connsiteX749" fmla="*/ 3113142 w 5794893"/>
              <a:gd name="connsiteY749" fmla="*/ 1820249 h 6858000"/>
              <a:gd name="connsiteX750" fmla="*/ 3240961 w 5794893"/>
              <a:gd name="connsiteY750" fmla="*/ 1836227 h 6858000"/>
              <a:gd name="connsiteX751" fmla="*/ 3242191 w 5794893"/>
              <a:gd name="connsiteY751" fmla="*/ 1823937 h 6858000"/>
              <a:gd name="connsiteX752" fmla="*/ 3371239 w 5794893"/>
              <a:gd name="connsiteY752" fmla="*/ 1836227 h 6858000"/>
              <a:gd name="connsiteX753" fmla="*/ 3372468 w 5794893"/>
              <a:gd name="connsiteY753" fmla="*/ 1826395 h 6858000"/>
              <a:gd name="connsiteX754" fmla="*/ 3501516 w 5794893"/>
              <a:gd name="connsiteY754" fmla="*/ 1836227 h 6858000"/>
              <a:gd name="connsiteX755" fmla="*/ 3501516 w 5794893"/>
              <a:gd name="connsiteY755" fmla="*/ 1828853 h 6858000"/>
              <a:gd name="connsiteX756" fmla="*/ 3630565 w 5794893"/>
              <a:gd name="connsiteY756" fmla="*/ 1836227 h 6858000"/>
              <a:gd name="connsiteX757" fmla="*/ 3630565 w 5794893"/>
              <a:gd name="connsiteY757" fmla="*/ 1831311 h 6858000"/>
              <a:gd name="connsiteX758" fmla="*/ 3639168 w 5794893"/>
              <a:gd name="connsiteY758" fmla="*/ 1831311 h 6858000"/>
              <a:gd name="connsiteX759" fmla="*/ 3719056 w 5794893"/>
              <a:gd name="connsiteY759" fmla="*/ 1833769 h 6858000"/>
              <a:gd name="connsiteX760" fmla="*/ 3719056 w 5794893"/>
              <a:gd name="connsiteY760" fmla="*/ 1834997 h 6858000"/>
              <a:gd name="connsiteX761" fmla="*/ 5597019 w 5794893"/>
              <a:gd name="connsiteY761" fmla="*/ 1874326 h 6858000"/>
              <a:gd name="connsiteX762" fmla="*/ 3720284 w 5794893"/>
              <a:gd name="connsiteY762" fmla="*/ 1874326 h 6858000"/>
              <a:gd name="connsiteX763" fmla="*/ 3720284 w 5794893"/>
              <a:gd name="connsiteY763" fmla="*/ 1876784 h 6858000"/>
              <a:gd name="connsiteX764" fmla="*/ 3602297 w 5794893"/>
              <a:gd name="connsiteY764" fmla="*/ 1874326 h 6858000"/>
              <a:gd name="connsiteX765" fmla="*/ 3602297 w 5794893"/>
              <a:gd name="connsiteY765" fmla="*/ 1878014 h 6858000"/>
              <a:gd name="connsiteX766" fmla="*/ 3484310 w 5794893"/>
              <a:gd name="connsiteY766" fmla="*/ 1874326 h 6858000"/>
              <a:gd name="connsiteX767" fmla="*/ 3484310 w 5794893"/>
              <a:gd name="connsiteY767" fmla="*/ 1880472 h 6858000"/>
              <a:gd name="connsiteX768" fmla="*/ 3366323 w 5794893"/>
              <a:gd name="connsiteY768" fmla="*/ 1874326 h 6858000"/>
              <a:gd name="connsiteX769" fmla="*/ 3366323 w 5794893"/>
              <a:gd name="connsiteY769" fmla="*/ 1882930 h 6858000"/>
              <a:gd name="connsiteX770" fmla="*/ 3248335 w 5794893"/>
              <a:gd name="connsiteY770" fmla="*/ 1874326 h 6858000"/>
              <a:gd name="connsiteX771" fmla="*/ 3248335 w 5794893"/>
              <a:gd name="connsiteY771" fmla="*/ 1885388 h 6858000"/>
              <a:gd name="connsiteX772" fmla="*/ 3130348 w 5794893"/>
              <a:gd name="connsiteY772" fmla="*/ 1874326 h 6858000"/>
              <a:gd name="connsiteX773" fmla="*/ 3129120 w 5794893"/>
              <a:gd name="connsiteY773" fmla="*/ 1889075 h 6858000"/>
              <a:gd name="connsiteX774" fmla="*/ 3011133 w 5794893"/>
              <a:gd name="connsiteY774" fmla="*/ 1874326 h 6858000"/>
              <a:gd name="connsiteX775" fmla="*/ 3009903 w 5794893"/>
              <a:gd name="connsiteY775" fmla="*/ 1891533 h 6858000"/>
              <a:gd name="connsiteX776" fmla="*/ 2893145 w 5794893"/>
              <a:gd name="connsiteY776" fmla="*/ 1874326 h 6858000"/>
              <a:gd name="connsiteX777" fmla="*/ 2890687 w 5794893"/>
              <a:gd name="connsiteY777" fmla="*/ 1895220 h 6858000"/>
              <a:gd name="connsiteX778" fmla="*/ 2775158 w 5794893"/>
              <a:gd name="connsiteY778" fmla="*/ 1874326 h 6858000"/>
              <a:gd name="connsiteX779" fmla="*/ 2771470 w 5794893"/>
              <a:gd name="connsiteY779" fmla="*/ 1898907 h 6858000"/>
              <a:gd name="connsiteX780" fmla="*/ 2657171 w 5794893"/>
              <a:gd name="connsiteY780" fmla="*/ 1874326 h 6858000"/>
              <a:gd name="connsiteX781" fmla="*/ 2652255 w 5794893"/>
              <a:gd name="connsiteY781" fmla="*/ 1901365 h 6858000"/>
              <a:gd name="connsiteX782" fmla="*/ 2539184 w 5794893"/>
              <a:gd name="connsiteY782" fmla="*/ 1874326 h 6858000"/>
              <a:gd name="connsiteX783" fmla="*/ 2533038 w 5794893"/>
              <a:gd name="connsiteY783" fmla="*/ 1906281 h 6858000"/>
              <a:gd name="connsiteX784" fmla="*/ 2421196 w 5794893"/>
              <a:gd name="connsiteY784" fmla="*/ 1874326 h 6858000"/>
              <a:gd name="connsiteX785" fmla="*/ 2413822 w 5794893"/>
              <a:gd name="connsiteY785" fmla="*/ 1909969 h 6858000"/>
              <a:gd name="connsiteX786" fmla="*/ 2303209 w 5794893"/>
              <a:gd name="connsiteY786" fmla="*/ 1874326 h 6858000"/>
              <a:gd name="connsiteX787" fmla="*/ 2293377 w 5794893"/>
              <a:gd name="connsiteY787" fmla="*/ 1913655 h 6858000"/>
              <a:gd name="connsiteX788" fmla="*/ 2185222 w 5794893"/>
              <a:gd name="connsiteY788" fmla="*/ 1874326 h 6858000"/>
              <a:gd name="connsiteX789" fmla="*/ 2172932 w 5794893"/>
              <a:gd name="connsiteY789" fmla="*/ 1918571 h 6858000"/>
              <a:gd name="connsiteX790" fmla="*/ 2067235 w 5794893"/>
              <a:gd name="connsiteY790" fmla="*/ 1874326 h 6858000"/>
              <a:gd name="connsiteX791" fmla="*/ 2051257 w 5794893"/>
              <a:gd name="connsiteY791" fmla="*/ 1923488 h 6858000"/>
              <a:gd name="connsiteX792" fmla="*/ 1949247 w 5794893"/>
              <a:gd name="connsiteY792" fmla="*/ 1874326 h 6858000"/>
              <a:gd name="connsiteX793" fmla="*/ 1929583 w 5794893"/>
              <a:gd name="connsiteY793" fmla="*/ 1927175 h 6858000"/>
              <a:gd name="connsiteX794" fmla="*/ 1831260 w 5794893"/>
              <a:gd name="connsiteY794" fmla="*/ 1874326 h 6858000"/>
              <a:gd name="connsiteX795" fmla="*/ 1806680 w 5794893"/>
              <a:gd name="connsiteY795" fmla="*/ 1932091 h 6858000"/>
              <a:gd name="connsiteX796" fmla="*/ 1713273 w 5794893"/>
              <a:gd name="connsiteY796" fmla="*/ 1874326 h 6858000"/>
              <a:gd name="connsiteX797" fmla="*/ 1683776 w 5794893"/>
              <a:gd name="connsiteY797" fmla="*/ 1937008 h 6858000"/>
              <a:gd name="connsiteX798" fmla="*/ 1595286 w 5794893"/>
              <a:gd name="connsiteY798" fmla="*/ 1874326 h 6858000"/>
              <a:gd name="connsiteX799" fmla="*/ 1559643 w 5794893"/>
              <a:gd name="connsiteY799" fmla="*/ 1938236 h 6858000"/>
              <a:gd name="connsiteX800" fmla="*/ 1686234 w 5794893"/>
              <a:gd name="connsiteY800" fmla="*/ 2026726 h 6858000"/>
              <a:gd name="connsiteX801" fmla="*/ 1719418 w 5794893"/>
              <a:gd name="connsiteY801" fmla="*/ 1966504 h 6858000"/>
              <a:gd name="connsiteX802" fmla="*/ 1816512 w 5794893"/>
              <a:gd name="connsiteY802" fmla="*/ 2026726 h 6858000"/>
              <a:gd name="connsiteX803" fmla="*/ 1843551 w 5794893"/>
              <a:gd name="connsiteY803" fmla="*/ 1971421 h 6858000"/>
              <a:gd name="connsiteX804" fmla="*/ 1944331 w 5794893"/>
              <a:gd name="connsiteY804" fmla="*/ 2029184 h 6858000"/>
              <a:gd name="connsiteX805" fmla="*/ 1966454 w 5794893"/>
              <a:gd name="connsiteY805" fmla="*/ 1977565 h 6858000"/>
              <a:gd name="connsiteX806" fmla="*/ 2074609 w 5794893"/>
              <a:gd name="connsiteY806" fmla="*/ 2029184 h 6858000"/>
              <a:gd name="connsiteX807" fmla="*/ 2091815 w 5794893"/>
              <a:gd name="connsiteY807" fmla="*/ 1982481 h 6858000"/>
              <a:gd name="connsiteX808" fmla="*/ 2203657 w 5794893"/>
              <a:gd name="connsiteY808" fmla="*/ 2029184 h 6858000"/>
              <a:gd name="connsiteX809" fmla="*/ 2217177 w 5794893"/>
              <a:gd name="connsiteY809" fmla="*/ 1986169 h 6858000"/>
              <a:gd name="connsiteX810" fmla="*/ 2332706 w 5794893"/>
              <a:gd name="connsiteY810" fmla="*/ 2029184 h 6858000"/>
              <a:gd name="connsiteX811" fmla="*/ 2343767 w 5794893"/>
              <a:gd name="connsiteY811" fmla="*/ 1991085 h 6858000"/>
              <a:gd name="connsiteX812" fmla="*/ 2462984 w 5794893"/>
              <a:gd name="connsiteY812" fmla="*/ 2029184 h 6858000"/>
              <a:gd name="connsiteX813" fmla="*/ 2471586 w 5794893"/>
              <a:gd name="connsiteY813" fmla="*/ 1994772 h 6858000"/>
              <a:gd name="connsiteX814" fmla="*/ 2593261 w 5794893"/>
              <a:gd name="connsiteY814" fmla="*/ 2029184 h 6858000"/>
              <a:gd name="connsiteX815" fmla="*/ 2599406 w 5794893"/>
              <a:gd name="connsiteY815" fmla="*/ 1999688 h 6858000"/>
              <a:gd name="connsiteX816" fmla="*/ 2722309 w 5794893"/>
              <a:gd name="connsiteY816" fmla="*/ 2029184 h 6858000"/>
              <a:gd name="connsiteX817" fmla="*/ 2727225 w 5794893"/>
              <a:gd name="connsiteY817" fmla="*/ 2003375 h 6858000"/>
              <a:gd name="connsiteX818" fmla="*/ 2852587 w 5794893"/>
              <a:gd name="connsiteY818" fmla="*/ 2029184 h 6858000"/>
              <a:gd name="connsiteX819" fmla="*/ 2856274 w 5794893"/>
              <a:gd name="connsiteY819" fmla="*/ 2007062 h 6858000"/>
              <a:gd name="connsiteX820" fmla="*/ 2982864 w 5794893"/>
              <a:gd name="connsiteY820" fmla="*/ 2029184 h 6858000"/>
              <a:gd name="connsiteX821" fmla="*/ 2985322 w 5794893"/>
              <a:gd name="connsiteY821" fmla="*/ 2010750 h 6858000"/>
              <a:gd name="connsiteX822" fmla="*/ 3111913 w 5794893"/>
              <a:gd name="connsiteY822" fmla="*/ 2029184 h 6858000"/>
              <a:gd name="connsiteX823" fmla="*/ 3113142 w 5794893"/>
              <a:gd name="connsiteY823" fmla="*/ 2013208 h 6858000"/>
              <a:gd name="connsiteX824" fmla="*/ 3240961 w 5794893"/>
              <a:gd name="connsiteY824" fmla="*/ 2029184 h 6858000"/>
              <a:gd name="connsiteX825" fmla="*/ 3242191 w 5794893"/>
              <a:gd name="connsiteY825" fmla="*/ 2016894 h 6858000"/>
              <a:gd name="connsiteX826" fmla="*/ 3371239 w 5794893"/>
              <a:gd name="connsiteY826" fmla="*/ 2029184 h 6858000"/>
              <a:gd name="connsiteX827" fmla="*/ 3372468 w 5794893"/>
              <a:gd name="connsiteY827" fmla="*/ 2019352 h 6858000"/>
              <a:gd name="connsiteX828" fmla="*/ 3501516 w 5794893"/>
              <a:gd name="connsiteY828" fmla="*/ 2029184 h 6858000"/>
              <a:gd name="connsiteX829" fmla="*/ 3501516 w 5794893"/>
              <a:gd name="connsiteY829" fmla="*/ 2021810 h 6858000"/>
              <a:gd name="connsiteX830" fmla="*/ 3630565 w 5794893"/>
              <a:gd name="connsiteY830" fmla="*/ 2029184 h 6858000"/>
              <a:gd name="connsiteX831" fmla="*/ 3630565 w 5794893"/>
              <a:gd name="connsiteY831" fmla="*/ 2024268 h 6858000"/>
              <a:gd name="connsiteX832" fmla="*/ 3639168 w 5794893"/>
              <a:gd name="connsiteY832" fmla="*/ 2024268 h 6858000"/>
              <a:gd name="connsiteX833" fmla="*/ 3719056 w 5794893"/>
              <a:gd name="connsiteY833" fmla="*/ 2026726 h 6858000"/>
              <a:gd name="connsiteX834" fmla="*/ 3719056 w 5794893"/>
              <a:gd name="connsiteY834" fmla="*/ 2027956 h 6858000"/>
              <a:gd name="connsiteX835" fmla="*/ 5506071 w 5794893"/>
              <a:gd name="connsiteY835" fmla="*/ 2064827 h 6858000"/>
              <a:gd name="connsiteX836" fmla="*/ 3720284 w 5794893"/>
              <a:gd name="connsiteY836" fmla="*/ 2064827 h 6858000"/>
              <a:gd name="connsiteX837" fmla="*/ 3720284 w 5794893"/>
              <a:gd name="connsiteY837" fmla="*/ 2067285 h 6858000"/>
              <a:gd name="connsiteX838" fmla="*/ 3602297 w 5794893"/>
              <a:gd name="connsiteY838" fmla="*/ 2064827 h 6858000"/>
              <a:gd name="connsiteX839" fmla="*/ 3602297 w 5794893"/>
              <a:gd name="connsiteY839" fmla="*/ 2068514 h 6858000"/>
              <a:gd name="connsiteX840" fmla="*/ 3484310 w 5794893"/>
              <a:gd name="connsiteY840" fmla="*/ 2064827 h 6858000"/>
              <a:gd name="connsiteX841" fmla="*/ 3484310 w 5794893"/>
              <a:gd name="connsiteY841" fmla="*/ 2070972 h 6858000"/>
              <a:gd name="connsiteX842" fmla="*/ 3366323 w 5794893"/>
              <a:gd name="connsiteY842" fmla="*/ 2064827 h 6858000"/>
              <a:gd name="connsiteX843" fmla="*/ 3366323 w 5794893"/>
              <a:gd name="connsiteY843" fmla="*/ 2073430 h 6858000"/>
              <a:gd name="connsiteX844" fmla="*/ 3248335 w 5794893"/>
              <a:gd name="connsiteY844" fmla="*/ 2064827 h 6858000"/>
              <a:gd name="connsiteX845" fmla="*/ 3248335 w 5794893"/>
              <a:gd name="connsiteY845" fmla="*/ 2075888 h 6858000"/>
              <a:gd name="connsiteX846" fmla="*/ 3130348 w 5794893"/>
              <a:gd name="connsiteY846" fmla="*/ 2064827 h 6858000"/>
              <a:gd name="connsiteX847" fmla="*/ 3129120 w 5794893"/>
              <a:gd name="connsiteY847" fmla="*/ 2079576 h 6858000"/>
              <a:gd name="connsiteX848" fmla="*/ 3011133 w 5794893"/>
              <a:gd name="connsiteY848" fmla="*/ 2064827 h 6858000"/>
              <a:gd name="connsiteX849" fmla="*/ 3009903 w 5794893"/>
              <a:gd name="connsiteY849" fmla="*/ 2082034 h 6858000"/>
              <a:gd name="connsiteX850" fmla="*/ 2893145 w 5794893"/>
              <a:gd name="connsiteY850" fmla="*/ 2064827 h 6858000"/>
              <a:gd name="connsiteX851" fmla="*/ 2890687 w 5794893"/>
              <a:gd name="connsiteY851" fmla="*/ 2085720 h 6858000"/>
              <a:gd name="connsiteX852" fmla="*/ 2775158 w 5794893"/>
              <a:gd name="connsiteY852" fmla="*/ 2064827 h 6858000"/>
              <a:gd name="connsiteX853" fmla="*/ 2771470 w 5794893"/>
              <a:gd name="connsiteY853" fmla="*/ 2088178 h 6858000"/>
              <a:gd name="connsiteX854" fmla="*/ 2657171 w 5794893"/>
              <a:gd name="connsiteY854" fmla="*/ 2064827 h 6858000"/>
              <a:gd name="connsiteX855" fmla="*/ 2652255 w 5794893"/>
              <a:gd name="connsiteY855" fmla="*/ 2091866 h 6858000"/>
              <a:gd name="connsiteX856" fmla="*/ 2539184 w 5794893"/>
              <a:gd name="connsiteY856" fmla="*/ 2064827 h 6858000"/>
              <a:gd name="connsiteX857" fmla="*/ 2533038 w 5794893"/>
              <a:gd name="connsiteY857" fmla="*/ 2096782 h 6858000"/>
              <a:gd name="connsiteX858" fmla="*/ 2421196 w 5794893"/>
              <a:gd name="connsiteY858" fmla="*/ 2064827 h 6858000"/>
              <a:gd name="connsiteX859" fmla="*/ 2413822 w 5794893"/>
              <a:gd name="connsiteY859" fmla="*/ 2100468 h 6858000"/>
              <a:gd name="connsiteX860" fmla="*/ 2303209 w 5794893"/>
              <a:gd name="connsiteY860" fmla="*/ 2064827 h 6858000"/>
              <a:gd name="connsiteX861" fmla="*/ 2293377 w 5794893"/>
              <a:gd name="connsiteY861" fmla="*/ 2104156 h 6858000"/>
              <a:gd name="connsiteX862" fmla="*/ 2185222 w 5794893"/>
              <a:gd name="connsiteY862" fmla="*/ 2064827 h 6858000"/>
              <a:gd name="connsiteX863" fmla="*/ 2172932 w 5794893"/>
              <a:gd name="connsiteY863" fmla="*/ 2109072 h 6858000"/>
              <a:gd name="connsiteX864" fmla="*/ 2067235 w 5794893"/>
              <a:gd name="connsiteY864" fmla="*/ 2064827 h 6858000"/>
              <a:gd name="connsiteX865" fmla="*/ 2051257 w 5794893"/>
              <a:gd name="connsiteY865" fmla="*/ 2113989 h 6858000"/>
              <a:gd name="connsiteX866" fmla="*/ 1949247 w 5794893"/>
              <a:gd name="connsiteY866" fmla="*/ 2064827 h 6858000"/>
              <a:gd name="connsiteX867" fmla="*/ 1929583 w 5794893"/>
              <a:gd name="connsiteY867" fmla="*/ 2117675 h 6858000"/>
              <a:gd name="connsiteX868" fmla="*/ 1831260 w 5794893"/>
              <a:gd name="connsiteY868" fmla="*/ 2064827 h 6858000"/>
              <a:gd name="connsiteX869" fmla="*/ 1806680 w 5794893"/>
              <a:gd name="connsiteY869" fmla="*/ 2122591 h 6858000"/>
              <a:gd name="connsiteX870" fmla="*/ 1713273 w 5794893"/>
              <a:gd name="connsiteY870" fmla="*/ 2064827 h 6858000"/>
              <a:gd name="connsiteX871" fmla="*/ 1683776 w 5794893"/>
              <a:gd name="connsiteY871" fmla="*/ 2127507 h 6858000"/>
              <a:gd name="connsiteX872" fmla="*/ 1595286 w 5794893"/>
              <a:gd name="connsiteY872" fmla="*/ 2064827 h 6858000"/>
              <a:gd name="connsiteX873" fmla="*/ 1559643 w 5794893"/>
              <a:gd name="connsiteY873" fmla="*/ 2128737 h 6858000"/>
              <a:gd name="connsiteX874" fmla="*/ 1685005 w 5794893"/>
              <a:gd name="connsiteY874" fmla="*/ 2217227 h 6858000"/>
              <a:gd name="connsiteX875" fmla="*/ 1718189 w 5794893"/>
              <a:gd name="connsiteY875" fmla="*/ 2157004 h 6858000"/>
              <a:gd name="connsiteX876" fmla="*/ 1815282 w 5794893"/>
              <a:gd name="connsiteY876" fmla="*/ 2217227 h 6858000"/>
              <a:gd name="connsiteX877" fmla="*/ 1842321 w 5794893"/>
              <a:gd name="connsiteY877" fmla="*/ 2161920 h 6858000"/>
              <a:gd name="connsiteX878" fmla="*/ 1945560 w 5794893"/>
              <a:gd name="connsiteY878" fmla="*/ 2217227 h 6858000"/>
              <a:gd name="connsiteX879" fmla="*/ 1967682 w 5794893"/>
              <a:gd name="connsiteY879" fmla="*/ 2165608 h 6858000"/>
              <a:gd name="connsiteX880" fmla="*/ 2075837 w 5794893"/>
              <a:gd name="connsiteY880" fmla="*/ 2217227 h 6858000"/>
              <a:gd name="connsiteX881" fmla="*/ 2093044 w 5794893"/>
              <a:gd name="connsiteY881" fmla="*/ 2170524 h 6858000"/>
              <a:gd name="connsiteX882" fmla="*/ 2204887 w 5794893"/>
              <a:gd name="connsiteY882" fmla="*/ 2217227 h 6858000"/>
              <a:gd name="connsiteX883" fmla="*/ 2218405 w 5794893"/>
              <a:gd name="connsiteY883" fmla="*/ 2174211 h 6858000"/>
              <a:gd name="connsiteX884" fmla="*/ 2333934 w 5794893"/>
              <a:gd name="connsiteY884" fmla="*/ 2217227 h 6858000"/>
              <a:gd name="connsiteX885" fmla="*/ 2344996 w 5794893"/>
              <a:gd name="connsiteY885" fmla="*/ 2179127 h 6858000"/>
              <a:gd name="connsiteX886" fmla="*/ 2464212 w 5794893"/>
              <a:gd name="connsiteY886" fmla="*/ 2217227 h 6858000"/>
              <a:gd name="connsiteX887" fmla="*/ 2472816 w 5794893"/>
              <a:gd name="connsiteY887" fmla="*/ 2182814 h 6858000"/>
              <a:gd name="connsiteX888" fmla="*/ 2593261 w 5794893"/>
              <a:gd name="connsiteY888" fmla="*/ 2217227 h 6858000"/>
              <a:gd name="connsiteX889" fmla="*/ 2594490 w 5794893"/>
              <a:gd name="connsiteY889" fmla="*/ 2188959 h 6858000"/>
              <a:gd name="connsiteX890" fmla="*/ 2717393 w 5794893"/>
              <a:gd name="connsiteY890" fmla="*/ 2218456 h 6858000"/>
              <a:gd name="connsiteX891" fmla="*/ 2722309 w 5794893"/>
              <a:gd name="connsiteY891" fmla="*/ 2192647 h 6858000"/>
              <a:gd name="connsiteX892" fmla="*/ 2847670 w 5794893"/>
              <a:gd name="connsiteY892" fmla="*/ 2218456 h 6858000"/>
              <a:gd name="connsiteX893" fmla="*/ 2851358 w 5794893"/>
              <a:gd name="connsiteY893" fmla="*/ 2196333 h 6858000"/>
              <a:gd name="connsiteX894" fmla="*/ 2977948 w 5794893"/>
              <a:gd name="connsiteY894" fmla="*/ 2218456 h 6858000"/>
              <a:gd name="connsiteX895" fmla="*/ 2980406 w 5794893"/>
              <a:gd name="connsiteY895" fmla="*/ 2200021 h 6858000"/>
              <a:gd name="connsiteX896" fmla="*/ 3106997 w 5794893"/>
              <a:gd name="connsiteY896" fmla="*/ 2218456 h 6858000"/>
              <a:gd name="connsiteX897" fmla="*/ 3109455 w 5794893"/>
              <a:gd name="connsiteY897" fmla="*/ 2202479 h 6858000"/>
              <a:gd name="connsiteX898" fmla="*/ 3237275 w 5794893"/>
              <a:gd name="connsiteY898" fmla="*/ 2218456 h 6858000"/>
              <a:gd name="connsiteX899" fmla="*/ 3238503 w 5794893"/>
              <a:gd name="connsiteY899" fmla="*/ 2206165 h 6858000"/>
              <a:gd name="connsiteX900" fmla="*/ 3367552 w 5794893"/>
              <a:gd name="connsiteY900" fmla="*/ 2218456 h 6858000"/>
              <a:gd name="connsiteX901" fmla="*/ 3368781 w 5794893"/>
              <a:gd name="connsiteY901" fmla="*/ 2208623 h 6858000"/>
              <a:gd name="connsiteX902" fmla="*/ 3497830 w 5794893"/>
              <a:gd name="connsiteY902" fmla="*/ 2218456 h 6858000"/>
              <a:gd name="connsiteX903" fmla="*/ 3497830 w 5794893"/>
              <a:gd name="connsiteY903" fmla="*/ 2211082 h 6858000"/>
              <a:gd name="connsiteX904" fmla="*/ 3626878 w 5794893"/>
              <a:gd name="connsiteY904" fmla="*/ 2218456 h 6858000"/>
              <a:gd name="connsiteX905" fmla="*/ 3626878 w 5794893"/>
              <a:gd name="connsiteY905" fmla="*/ 2213540 h 6858000"/>
              <a:gd name="connsiteX906" fmla="*/ 3635482 w 5794893"/>
              <a:gd name="connsiteY906" fmla="*/ 2213540 h 6858000"/>
              <a:gd name="connsiteX907" fmla="*/ 3715368 w 5794893"/>
              <a:gd name="connsiteY907" fmla="*/ 2215998 h 6858000"/>
              <a:gd name="connsiteX908" fmla="*/ 3715368 w 5794893"/>
              <a:gd name="connsiteY908" fmla="*/ 2217227 h 6858000"/>
              <a:gd name="connsiteX909" fmla="*/ 5479032 w 5794893"/>
              <a:gd name="connsiteY909" fmla="*/ 2254098 h 6858000"/>
              <a:gd name="connsiteX910" fmla="*/ 3716598 w 5794893"/>
              <a:gd name="connsiteY910" fmla="*/ 2254098 h 6858000"/>
              <a:gd name="connsiteX911" fmla="*/ 3716598 w 5794893"/>
              <a:gd name="connsiteY911" fmla="*/ 2256556 h 6858000"/>
              <a:gd name="connsiteX912" fmla="*/ 3598611 w 5794893"/>
              <a:gd name="connsiteY912" fmla="*/ 2254098 h 6858000"/>
              <a:gd name="connsiteX913" fmla="*/ 3598611 w 5794893"/>
              <a:gd name="connsiteY913" fmla="*/ 2257785 h 6858000"/>
              <a:gd name="connsiteX914" fmla="*/ 3480623 w 5794893"/>
              <a:gd name="connsiteY914" fmla="*/ 2254098 h 6858000"/>
              <a:gd name="connsiteX915" fmla="*/ 3480623 w 5794893"/>
              <a:gd name="connsiteY915" fmla="*/ 2260243 h 6858000"/>
              <a:gd name="connsiteX916" fmla="*/ 3362636 w 5794893"/>
              <a:gd name="connsiteY916" fmla="*/ 2254098 h 6858000"/>
              <a:gd name="connsiteX917" fmla="*/ 3362636 w 5794893"/>
              <a:gd name="connsiteY917" fmla="*/ 2262701 h 6858000"/>
              <a:gd name="connsiteX918" fmla="*/ 3244649 w 5794893"/>
              <a:gd name="connsiteY918" fmla="*/ 2254098 h 6858000"/>
              <a:gd name="connsiteX919" fmla="*/ 3244649 w 5794893"/>
              <a:gd name="connsiteY919" fmla="*/ 2270075 h 6858000"/>
              <a:gd name="connsiteX920" fmla="*/ 3127890 w 5794893"/>
              <a:gd name="connsiteY920" fmla="*/ 2259014 h 6858000"/>
              <a:gd name="connsiteX921" fmla="*/ 3126662 w 5794893"/>
              <a:gd name="connsiteY921" fmla="*/ 2273763 h 6858000"/>
              <a:gd name="connsiteX922" fmla="*/ 3008674 w 5794893"/>
              <a:gd name="connsiteY922" fmla="*/ 2259014 h 6858000"/>
              <a:gd name="connsiteX923" fmla="*/ 3007445 w 5794893"/>
              <a:gd name="connsiteY923" fmla="*/ 2276221 h 6858000"/>
              <a:gd name="connsiteX924" fmla="*/ 2890687 w 5794893"/>
              <a:gd name="connsiteY924" fmla="*/ 2259014 h 6858000"/>
              <a:gd name="connsiteX925" fmla="*/ 2888229 w 5794893"/>
              <a:gd name="connsiteY925" fmla="*/ 2279907 h 6858000"/>
              <a:gd name="connsiteX926" fmla="*/ 2772700 w 5794893"/>
              <a:gd name="connsiteY926" fmla="*/ 2259014 h 6858000"/>
              <a:gd name="connsiteX927" fmla="*/ 2769012 w 5794893"/>
              <a:gd name="connsiteY927" fmla="*/ 2282365 h 6858000"/>
              <a:gd name="connsiteX928" fmla="*/ 2654713 w 5794893"/>
              <a:gd name="connsiteY928" fmla="*/ 2259014 h 6858000"/>
              <a:gd name="connsiteX929" fmla="*/ 2649797 w 5794893"/>
              <a:gd name="connsiteY929" fmla="*/ 2286053 h 6858000"/>
              <a:gd name="connsiteX930" fmla="*/ 2536726 w 5794893"/>
              <a:gd name="connsiteY930" fmla="*/ 2259014 h 6858000"/>
              <a:gd name="connsiteX931" fmla="*/ 2530580 w 5794893"/>
              <a:gd name="connsiteY931" fmla="*/ 2289740 h 6858000"/>
              <a:gd name="connsiteX932" fmla="*/ 2418738 w 5794893"/>
              <a:gd name="connsiteY932" fmla="*/ 2259014 h 6858000"/>
              <a:gd name="connsiteX933" fmla="*/ 2411364 w 5794893"/>
              <a:gd name="connsiteY933" fmla="*/ 2294656 h 6858000"/>
              <a:gd name="connsiteX934" fmla="*/ 2300751 w 5794893"/>
              <a:gd name="connsiteY934" fmla="*/ 2259014 h 6858000"/>
              <a:gd name="connsiteX935" fmla="*/ 2290919 w 5794893"/>
              <a:gd name="connsiteY935" fmla="*/ 2298344 h 6858000"/>
              <a:gd name="connsiteX936" fmla="*/ 2182764 w 5794893"/>
              <a:gd name="connsiteY936" fmla="*/ 2259014 h 6858000"/>
              <a:gd name="connsiteX937" fmla="*/ 2170474 w 5794893"/>
              <a:gd name="connsiteY937" fmla="*/ 2303260 h 6858000"/>
              <a:gd name="connsiteX938" fmla="*/ 2064777 w 5794893"/>
              <a:gd name="connsiteY938" fmla="*/ 2259014 h 6858000"/>
              <a:gd name="connsiteX939" fmla="*/ 2048799 w 5794893"/>
              <a:gd name="connsiteY939" fmla="*/ 2308176 h 6858000"/>
              <a:gd name="connsiteX940" fmla="*/ 1946789 w 5794893"/>
              <a:gd name="connsiteY940" fmla="*/ 2259014 h 6858000"/>
              <a:gd name="connsiteX941" fmla="*/ 1927125 w 5794893"/>
              <a:gd name="connsiteY941" fmla="*/ 2311862 h 6858000"/>
              <a:gd name="connsiteX942" fmla="*/ 1828802 w 5794893"/>
              <a:gd name="connsiteY942" fmla="*/ 2259014 h 6858000"/>
              <a:gd name="connsiteX943" fmla="*/ 1804221 w 5794893"/>
              <a:gd name="connsiteY943" fmla="*/ 2316778 h 6858000"/>
              <a:gd name="connsiteX944" fmla="*/ 1710815 w 5794893"/>
              <a:gd name="connsiteY944" fmla="*/ 2259014 h 6858000"/>
              <a:gd name="connsiteX945" fmla="*/ 1681318 w 5794893"/>
              <a:gd name="connsiteY945" fmla="*/ 2320466 h 6858000"/>
              <a:gd name="connsiteX946" fmla="*/ 1592828 w 5794893"/>
              <a:gd name="connsiteY946" fmla="*/ 2259014 h 6858000"/>
              <a:gd name="connsiteX947" fmla="*/ 1558938 w 5794893"/>
              <a:gd name="connsiteY947" fmla="*/ 2319780 h 6858000"/>
              <a:gd name="connsiteX948" fmla="*/ 1477299 w 5794893"/>
              <a:gd name="connsiteY948" fmla="*/ 2255327 h 6858000"/>
              <a:gd name="connsiteX949" fmla="*/ 1440428 w 5794893"/>
              <a:gd name="connsiteY949" fmla="*/ 2314320 h 6858000"/>
              <a:gd name="connsiteX950" fmla="*/ 1557185 w 5794893"/>
              <a:gd name="connsiteY950" fmla="*/ 2407727 h 6858000"/>
              <a:gd name="connsiteX951" fmla="*/ 1593545 w 5794893"/>
              <a:gd name="connsiteY951" fmla="*/ 2348341 h 6858000"/>
              <a:gd name="connsiteX952" fmla="*/ 1683776 w 5794893"/>
              <a:gd name="connsiteY952" fmla="*/ 2411415 h 6858000"/>
              <a:gd name="connsiteX953" fmla="*/ 1716959 w 5794893"/>
              <a:gd name="connsiteY953" fmla="*/ 2351191 h 6858000"/>
              <a:gd name="connsiteX954" fmla="*/ 1814054 w 5794893"/>
              <a:gd name="connsiteY954" fmla="*/ 2411415 h 6858000"/>
              <a:gd name="connsiteX955" fmla="*/ 1841092 w 5794893"/>
              <a:gd name="connsiteY955" fmla="*/ 2356107 h 6858000"/>
              <a:gd name="connsiteX956" fmla="*/ 1944331 w 5794893"/>
              <a:gd name="connsiteY956" fmla="*/ 2411415 h 6858000"/>
              <a:gd name="connsiteX957" fmla="*/ 1966454 w 5794893"/>
              <a:gd name="connsiteY957" fmla="*/ 2359795 h 6858000"/>
              <a:gd name="connsiteX958" fmla="*/ 2074609 w 5794893"/>
              <a:gd name="connsiteY958" fmla="*/ 2411415 h 6858000"/>
              <a:gd name="connsiteX959" fmla="*/ 2091815 w 5794893"/>
              <a:gd name="connsiteY959" fmla="*/ 2364711 h 6858000"/>
              <a:gd name="connsiteX960" fmla="*/ 2203657 w 5794893"/>
              <a:gd name="connsiteY960" fmla="*/ 2411415 h 6858000"/>
              <a:gd name="connsiteX961" fmla="*/ 2217177 w 5794893"/>
              <a:gd name="connsiteY961" fmla="*/ 2368398 h 6858000"/>
              <a:gd name="connsiteX962" fmla="*/ 2332706 w 5794893"/>
              <a:gd name="connsiteY962" fmla="*/ 2411415 h 6858000"/>
              <a:gd name="connsiteX963" fmla="*/ 2343767 w 5794893"/>
              <a:gd name="connsiteY963" fmla="*/ 2373314 h 6858000"/>
              <a:gd name="connsiteX964" fmla="*/ 2462984 w 5794893"/>
              <a:gd name="connsiteY964" fmla="*/ 2411415 h 6858000"/>
              <a:gd name="connsiteX965" fmla="*/ 2471586 w 5794893"/>
              <a:gd name="connsiteY965" fmla="*/ 2377002 h 6858000"/>
              <a:gd name="connsiteX966" fmla="*/ 2593261 w 5794893"/>
              <a:gd name="connsiteY966" fmla="*/ 2411415 h 6858000"/>
              <a:gd name="connsiteX967" fmla="*/ 2599406 w 5794893"/>
              <a:gd name="connsiteY967" fmla="*/ 2381918 h 6858000"/>
              <a:gd name="connsiteX968" fmla="*/ 2722309 w 5794893"/>
              <a:gd name="connsiteY968" fmla="*/ 2411415 h 6858000"/>
              <a:gd name="connsiteX969" fmla="*/ 2727225 w 5794893"/>
              <a:gd name="connsiteY969" fmla="*/ 2385604 h 6858000"/>
              <a:gd name="connsiteX970" fmla="*/ 2851358 w 5794893"/>
              <a:gd name="connsiteY970" fmla="*/ 2411415 h 6858000"/>
              <a:gd name="connsiteX971" fmla="*/ 2855045 w 5794893"/>
              <a:gd name="connsiteY971" fmla="*/ 2389292 h 6858000"/>
              <a:gd name="connsiteX972" fmla="*/ 2981636 w 5794893"/>
              <a:gd name="connsiteY972" fmla="*/ 2411415 h 6858000"/>
              <a:gd name="connsiteX973" fmla="*/ 2984094 w 5794893"/>
              <a:gd name="connsiteY973" fmla="*/ 2392978 h 6858000"/>
              <a:gd name="connsiteX974" fmla="*/ 3110684 w 5794893"/>
              <a:gd name="connsiteY974" fmla="*/ 2411415 h 6858000"/>
              <a:gd name="connsiteX975" fmla="*/ 3111913 w 5794893"/>
              <a:gd name="connsiteY975" fmla="*/ 2395437 h 6858000"/>
              <a:gd name="connsiteX976" fmla="*/ 3239733 w 5794893"/>
              <a:gd name="connsiteY976" fmla="*/ 2411415 h 6858000"/>
              <a:gd name="connsiteX977" fmla="*/ 3240961 w 5794893"/>
              <a:gd name="connsiteY977" fmla="*/ 2399124 h 6858000"/>
              <a:gd name="connsiteX978" fmla="*/ 3370010 w 5794893"/>
              <a:gd name="connsiteY978" fmla="*/ 2411415 h 6858000"/>
              <a:gd name="connsiteX979" fmla="*/ 3371239 w 5794893"/>
              <a:gd name="connsiteY979" fmla="*/ 2401582 h 6858000"/>
              <a:gd name="connsiteX980" fmla="*/ 3500288 w 5794893"/>
              <a:gd name="connsiteY980" fmla="*/ 2411415 h 6858000"/>
              <a:gd name="connsiteX981" fmla="*/ 3500288 w 5794893"/>
              <a:gd name="connsiteY981" fmla="*/ 2404040 h 6858000"/>
              <a:gd name="connsiteX982" fmla="*/ 3629336 w 5794893"/>
              <a:gd name="connsiteY982" fmla="*/ 2411415 h 6858000"/>
              <a:gd name="connsiteX983" fmla="*/ 3629336 w 5794893"/>
              <a:gd name="connsiteY983" fmla="*/ 2406498 h 6858000"/>
              <a:gd name="connsiteX984" fmla="*/ 3637940 w 5794893"/>
              <a:gd name="connsiteY984" fmla="*/ 2406498 h 6858000"/>
              <a:gd name="connsiteX985" fmla="*/ 3717826 w 5794893"/>
              <a:gd name="connsiteY985" fmla="*/ 2408957 h 6858000"/>
              <a:gd name="connsiteX986" fmla="*/ 3717826 w 5794893"/>
              <a:gd name="connsiteY986" fmla="*/ 2410185 h 6858000"/>
              <a:gd name="connsiteX987" fmla="*/ 5673219 w 5794893"/>
              <a:gd name="connsiteY987" fmla="*/ 2450744 h 6858000"/>
              <a:gd name="connsiteX988" fmla="*/ 3717826 w 5794893"/>
              <a:gd name="connsiteY988" fmla="*/ 2450744 h 6858000"/>
              <a:gd name="connsiteX989" fmla="*/ 3719056 w 5794893"/>
              <a:gd name="connsiteY989" fmla="*/ 2453202 h 6858000"/>
              <a:gd name="connsiteX990" fmla="*/ 3601069 w 5794893"/>
              <a:gd name="connsiteY990" fmla="*/ 2450744 h 6858000"/>
              <a:gd name="connsiteX991" fmla="*/ 3601069 w 5794893"/>
              <a:gd name="connsiteY991" fmla="*/ 2454430 h 6858000"/>
              <a:gd name="connsiteX992" fmla="*/ 3483081 w 5794893"/>
              <a:gd name="connsiteY992" fmla="*/ 2450744 h 6858000"/>
              <a:gd name="connsiteX993" fmla="*/ 3483081 w 5794893"/>
              <a:gd name="connsiteY993" fmla="*/ 2456888 h 6858000"/>
              <a:gd name="connsiteX994" fmla="*/ 3365094 w 5794893"/>
              <a:gd name="connsiteY994" fmla="*/ 2450744 h 6858000"/>
              <a:gd name="connsiteX995" fmla="*/ 3365094 w 5794893"/>
              <a:gd name="connsiteY995" fmla="*/ 2459346 h 6858000"/>
              <a:gd name="connsiteX996" fmla="*/ 3247107 w 5794893"/>
              <a:gd name="connsiteY996" fmla="*/ 2450744 h 6858000"/>
              <a:gd name="connsiteX997" fmla="*/ 3247107 w 5794893"/>
              <a:gd name="connsiteY997" fmla="*/ 2461804 h 6858000"/>
              <a:gd name="connsiteX998" fmla="*/ 3129120 w 5794893"/>
              <a:gd name="connsiteY998" fmla="*/ 2450744 h 6858000"/>
              <a:gd name="connsiteX999" fmla="*/ 3127890 w 5794893"/>
              <a:gd name="connsiteY999" fmla="*/ 2465492 h 6858000"/>
              <a:gd name="connsiteX1000" fmla="*/ 3009903 w 5794893"/>
              <a:gd name="connsiteY1000" fmla="*/ 2450744 h 6858000"/>
              <a:gd name="connsiteX1001" fmla="*/ 3008674 w 5794893"/>
              <a:gd name="connsiteY1001" fmla="*/ 2467950 h 6858000"/>
              <a:gd name="connsiteX1002" fmla="*/ 2891916 w 5794893"/>
              <a:gd name="connsiteY1002" fmla="*/ 2450744 h 6858000"/>
              <a:gd name="connsiteX1003" fmla="*/ 2889458 w 5794893"/>
              <a:gd name="connsiteY1003" fmla="*/ 2471637 h 6858000"/>
              <a:gd name="connsiteX1004" fmla="*/ 2773928 w 5794893"/>
              <a:gd name="connsiteY1004" fmla="*/ 2450744 h 6858000"/>
              <a:gd name="connsiteX1005" fmla="*/ 2770242 w 5794893"/>
              <a:gd name="connsiteY1005" fmla="*/ 2474095 h 6858000"/>
              <a:gd name="connsiteX1006" fmla="*/ 2655941 w 5794893"/>
              <a:gd name="connsiteY1006" fmla="*/ 2450744 h 6858000"/>
              <a:gd name="connsiteX1007" fmla="*/ 2651025 w 5794893"/>
              <a:gd name="connsiteY1007" fmla="*/ 2477782 h 6858000"/>
              <a:gd name="connsiteX1008" fmla="*/ 2537954 w 5794893"/>
              <a:gd name="connsiteY1008" fmla="*/ 2450744 h 6858000"/>
              <a:gd name="connsiteX1009" fmla="*/ 2531809 w 5794893"/>
              <a:gd name="connsiteY1009" fmla="*/ 2481469 h 6858000"/>
              <a:gd name="connsiteX1010" fmla="*/ 2419967 w 5794893"/>
              <a:gd name="connsiteY1010" fmla="*/ 2450744 h 6858000"/>
              <a:gd name="connsiteX1011" fmla="*/ 2412593 w 5794893"/>
              <a:gd name="connsiteY1011" fmla="*/ 2486385 h 6858000"/>
              <a:gd name="connsiteX1012" fmla="*/ 2301980 w 5794893"/>
              <a:gd name="connsiteY1012" fmla="*/ 2450744 h 6858000"/>
              <a:gd name="connsiteX1013" fmla="*/ 2292147 w 5794893"/>
              <a:gd name="connsiteY1013" fmla="*/ 2490073 h 6858000"/>
              <a:gd name="connsiteX1014" fmla="*/ 2183992 w 5794893"/>
              <a:gd name="connsiteY1014" fmla="*/ 2450744 h 6858000"/>
              <a:gd name="connsiteX1015" fmla="*/ 2171702 w 5794893"/>
              <a:gd name="connsiteY1015" fmla="*/ 2494989 h 6858000"/>
              <a:gd name="connsiteX1016" fmla="*/ 2066005 w 5794893"/>
              <a:gd name="connsiteY1016" fmla="*/ 2450744 h 6858000"/>
              <a:gd name="connsiteX1017" fmla="*/ 2050028 w 5794893"/>
              <a:gd name="connsiteY1017" fmla="*/ 2499905 h 6858000"/>
              <a:gd name="connsiteX1018" fmla="*/ 1948018 w 5794893"/>
              <a:gd name="connsiteY1018" fmla="*/ 2450744 h 6858000"/>
              <a:gd name="connsiteX1019" fmla="*/ 1928353 w 5794893"/>
              <a:gd name="connsiteY1019" fmla="*/ 2503592 h 6858000"/>
              <a:gd name="connsiteX1020" fmla="*/ 1830031 w 5794893"/>
              <a:gd name="connsiteY1020" fmla="*/ 2450744 h 6858000"/>
              <a:gd name="connsiteX1021" fmla="*/ 1805450 w 5794893"/>
              <a:gd name="connsiteY1021" fmla="*/ 2508508 h 6858000"/>
              <a:gd name="connsiteX1022" fmla="*/ 1712043 w 5794893"/>
              <a:gd name="connsiteY1022" fmla="*/ 2450744 h 6858000"/>
              <a:gd name="connsiteX1023" fmla="*/ 1682547 w 5794893"/>
              <a:gd name="connsiteY1023" fmla="*/ 2513424 h 6858000"/>
              <a:gd name="connsiteX1024" fmla="*/ 1594056 w 5794893"/>
              <a:gd name="connsiteY1024" fmla="*/ 2450744 h 6858000"/>
              <a:gd name="connsiteX1025" fmla="*/ 1558983 w 5794893"/>
              <a:gd name="connsiteY1025" fmla="*/ 2513634 h 6858000"/>
              <a:gd name="connsiteX1026" fmla="*/ 1477299 w 5794893"/>
              <a:gd name="connsiteY1026" fmla="*/ 2448286 h 6858000"/>
              <a:gd name="connsiteX1027" fmla="*/ 1440428 w 5794893"/>
              <a:gd name="connsiteY1027" fmla="*/ 2507279 h 6858000"/>
              <a:gd name="connsiteX1028" fmla="*/ 1557185 w 5794893"/>
              <a:gd name="connsiteY1028" fmla="*/ 2600686 h 6858000"/>
              <a:gd name="connsiteX1029" fmla="*/ 1594056 w 5794893"/>
              <a:gd name="connsiteY1029" fmla="*/ 2541692 h 6858000"/>
              <a:gd name="connsiteX1030" fmla="*/ 1573013 w 5794893"/>
              <a:gd name="connsiteY1030" fmla="*/ 2524858 h 6858000"/>
              <a:gd name="connsiteX1031" fmla="*/ 1685005 w 5794893"/>
              <a:gd name="connsiteY1031" fmla="*/ 2603144 h 6858000"/>
              <a:gd name="connsiteX1032" fmla="*/ 1718189 w 5794893"/>
              <a:gd name="connsiteY1032" fmla="*/ 2542921 h 6858000"/>
              <a:gd name="connsiteX1033" fmla="*/ 1815282 w 5794893"/>
              <a:gd name="connsiteY1033" fmla="*/ 2603144 h 6858000"/>
              <a:gd name="connsiteX1034" fmla="*/ 1842321 w 5794893"/>
              <a:gd name="connsiteY1034" fmla="*/ 2547837 h 6858000"/>
              <a:gd name="connsiteX1035" fmla="*/ 1945560 w 5794893"/>
              <a:gd name="connsiteY1035" fmla="*/ 2603144 h 6858000"/>
              <a:gd name="connsiteX1036" fmla="*/ 1967682 w 5794893"/>
              <a:gd name="connsiteY1036" fmla="*/ 2551524 h 6858000"/>
              <a:gd name="connsiteX1037" fmla="*/ 2075837 w 5794893"/>
              <a:gd name="connsiteY1037" fmla="*/ 2603144 h 6858000"/>
              <a:gd name="connsiteX1038" fmla="*/ 2093044 w 5794893"/>
              <a:gd name="connsiteY1038" fmla="*/ 2556441 h 6858000"/>
              <a:gd name="connsiteX1039" fmla="*/ 2204887 w 5794893"/>
              <a:gd name="connsiteY1039" fmla="*/ 2603144 h 6858000"/>
              <a:gd name="connsiteX1040" fmla="*/ 2218405 w 5794893"/>
              <a:gd name="connsiteY1040" fmla="*/ 2560127 h 6858000"/>
              <a:gd name="connsiteX1041" fmla="*/ 2333934 w 5794893"/>
              <a:gd name="connsiteY1041" fmla="*/ 2603144 h 6858000"/>
              <a:gd name="connsiteX1042" fmla="*/ 2344996 w 5794893"/>
              <a:gd name="connsiteY1042" fmla="*/ 2565043 h 6858000"/>
              <a:gd name="connsiteX1043" fmla="*/ 2464212 w 5794893"/>
              <a:gd name="connsiteY1043" fmla="*/ 2603144 h 6858000"/>
              <a:gd name="connsiteX1044" fmla="*/ 2472816 w 5794893"/>
              <a:gd name="connsiteY1044" fmla="*/ 2568731 h 6858000"/>
              <a:gd name="connsiteX1045" fmla="*/ 2594490 w 5794893"/>
              <a:gd name="connsiteY1045" fmla="*/ 2603144 h 6858000"/>
              <a:gd name="connsiteX1046" fmla="*/ 2600635 w 5794893"/>
              <a:gd name="connsiteY1046" fmla="*/ 2573647 h 6858000"/>
              <a:gd name="connsiteX1047" fmla="*/ 2723539 w 5794893"/>
              <a:gd name="connsiteY1047" fmla="*/ 2603144 h 6858000"/>
              <a:gd name="connsiteX1048" fmla="*/ 2728455 w 5794893"/>
              <a:gd name="connsiteY1048" fmla="*/ 2577334 h 6858000"/>
              <a:gd name="connsiteX1049" fmla="*/ 2852587 w 5794893"/>
              <a:gd name="connsiteY1049" fmla="*/ 2603144 h 6858000"/>
              <a:gd name="connsiteX1050" fmla="*/ 2856274 w 5794893"/>
              <a:gd name="connsiteY1050" fmla="*/ 2581021 h 6858000"/>
              <a:gd name="connsiteX1051" fmla="*/ 2982864 w 5794893"/>
              <a:gd name="connsiteY1051" fmla="*/ 2603144 h 6858000"/>
              <a:gd name="connsiteX1052" fmla="*/ 2985322 w 5794893"/>
              <a:gd name="connsiteY1052" fmla="*/ 2584708 h 6858000"/>
              <a:gd name="connsiteX1053" fmla="*/ 3111913 w 5794893"/>
              <a:gd name="connsiteY1053" fmla="*/ 2603144 h 6858000"/>
              <a:gd name="connsiteX1054" fmla="*/ 3113142 w 5794893"/>
              <a:gd name="connsiteY1054" fmla="*/ 2587166 h 6858000"/>
              <a:gd name="connsiteX1055" fmla="*/ 3240961 w 5794893"/>
              <a:gd name="connsiteY1055" fmla="*/ 2603144 h 6858000"/>
              <a:gd name="connsiteX1056" fmla="*/ 3242191 w 5794893"/>
              <a:gd name="connsiteY1056" fmla="*/ 2590854 h 6858000"/>
              <a:gd name="connsiteX1057" fmla="*/ 3371239 w 5794893"/>
              <a:gd name="connsiteY1057" fmla="*/ 2603144 h 6858000"/>
              <a:gd name="connsiteX1058" fmla="*/ 3372468 w 5794893"/>
              <a:gd name="connsiteY1058" fmla="*/ 2593312 h 6858000"/>
              <a:gd name="connsiteX1059" fmla="*/ 3501516 w 5794893"/>
              <a:gd name="connsiteY1059" fmla="*/ 2603144 h 6858000"/>
              <a:gd name="connsiteX1060" fmla="*/ 3501516 w 5794893"/>
              <a:gd name="connsiteY1060" fmla="*/ 2595770 h 6858000"/>
              <a:gd name="connsiteX1061" fmla="*/ 3630565 w 5794893"/>
              <a:gd name="connsiteY1061" fmla="*/ 2603144 h 6858000"/>
              <a:gd name="connsiteX1062" fmla="*/ 3630565 w 5794893"/>
              <a:gd name="connsiteY1062" fmla="*/ 2598228 h 6858000"/>
              <a:gd name="connsiteX1063" fmla="*/ 3639168 w 5794893"/>
              <a:gd name="connsiteY1063" fmla="*/ 2598228 h 6858000"/>
              <a:gd name="connsiteX1064" fmla="*/ 3719056 w 5794893"/>
              <a:gd name="connsiteY1064" fmla="*/ 2600686 h 6858000"/>
              <a:gd name="connsiteX1065" fmla="*/ 3719056 w 5794893"/>
              <a:gd name="connsiteY1065" fmla="*/ 2601914 h 6858000"/>
              <a:gd name="connsiteX1066" fmla="*/ 5740817 w 5794893"/>
              <a:gd name="connsiteY1066" fmla="*/ 2643701 h 6858000"/>
              <a:gd name="connsiteX1067" fmla="*/ 3719056 w 5794893"/>
              <a:gd name="connsiteY1067" fmla="*/ 2643701 h 6858000"/>
              <a:gd name="connsiteX1068" fmla="*/ 3719056 w 5794893"/>
              <a:gd name="connsiteY1068" fmla="*/ 2644931 h 6858000"/>
              <a:gd name="connsiteX1069" fmla="*/ 3601069 w 5794893"/>
              <a:gd name="connsiteY1069" fmla="*/ 2642473 h 6858000"/>
              <a:gd name="connsiteX1070" fmla="*/ 3601069 w 5794893"/>
              <a:gd name="connsiteY1070" fmla="*/ 2647389 h 6858000"/>
              <a:gd name="connsiteX1071" fmla="*/ 3483081 w 5794893"/>
              <a:gd name="connsiteY1071" fmla="*/ 2643701 h 6858000"/>
              <a:gd name="connsiteX1072" fmla="*/ 3483081 w 5794893"/>
              <a:gd name="connsiteY1072" fmla="*/ 2649847 h 6858000"/>
              <a:gd name="connsiteX1073" fmla="*/ 3365094 w 5794893"/>
              <a:gd name="connsiteY1073" fmla="*/ 2643701 h 6858000"/>
              <a:gd name="connsiteX1074" fmla="*/ 3365094 w 5794893"/>
              <a:gd name="connsiteY1074" fmla="*/ 2652305 h 6858000"/>
              <a:gd name="connsiteX1075" fmla="*/ 3247107 w 5794893"/>
              <a:gd name="connsiteY1075" fmla="*/ 2643701 h 6858000"/>
              <a:gd name="connsiteX1076" fmla="*/ 3247107 w 5794893"/>
              <a:gd name="connsiteY1076" fmla="*/ 2654763 h 6858000"/>
              <a:gd name="connsiteX1077" fmla="*/ 3129120 w 5794893"/>
              <a:gd name="connsiteY1077" fmla="*/ 2643701 h 6858000"/>
              <a:gd name="connsiteX1078" fmla="*/ 3127890 w 5794893"/>
              <a:gd name="connsiteY1078" fmla="*/ 2658450 h 6858000"/>
              <a:gd name="connsiteX1079" fmla="*/ 3009903 w 5794893"/>
              <a:gd name="connsiteY1079" fmla="*/ 2643701 h 6858000"/>
              <a:gd name="connsiteX1080" fmla="*/ 3008674 w 5794893"/>
              <a:gd name="connsiteY1080" fmla="*/ 2660908 h 6858000"/>
              <a:gd name="connsiteX1081" fmla="*/ 2891916 w 5794893"/>
              <a:gd name="connsiteY1081" fmla="*/ 2643701 h 6858000"/>
              <a:gd name="connsiteX1082" fmla="*/ 2889458 w 5794893"/>
              <a:gd name="connsiteY1082" fmla="*/ 2664596 h 6858000"/>
              <a:gd name="connsiteX1083" fmla="*/ 2773928 w 5794893"/>
              <a:gd name="connsiteY1083" fmla="*/ 2643701 h 6858000"/>
              <a:gd name="connsiteX1084" fmla="*/ 2770242 w 5794893"/>
              <a:gd name="connsiteY1084" fmla="*/ 2668282 h 6858000"/>
              <a:gd name="connsiteX1085" fmla="*/ 2655941 w 5794893"/>
              <a:gd name="connsiteY1085" fmla="*/ 2643701 h 6858000"/>
              <a:gd name="connsiteX1086" fmla="*/ 2651025 w 5794893"/>
              <a:gd name="connsiteY1086" fmla="*/ 2670740 h 6858000"/>
              <a:gd name="connsiteX1087" fmla="*/ 2537954 w 5794893"/>
              <a:gd name="connsiteY1087" fmla="*/ 2643701 h 6858000"/>
              <a:gd name="connsiteX1088" fmla="*/ 2531809 w 5794893"/>
              <a:gd name="connsiteY1088" fmla="*/ 2675656 h 6858000"/>
              <a:gd name="connsiteX1089" fmla="*/ 2419967 w 5794893"/>
              <a:gd name="connsiteY1089" fmla="*/ 2643701 h 6858000"/>
              <a:gd name="connsiteX1090" fmla="*/ 2412593 w 5794893"/>
              <a:gd name="connsiteY1090" fmla="*/ 2679344 h 6858000"/>
              <a:gd name="connsiteX1091" fmla="*/ 2301980 w 5794893"/>
              <a:gd name="connsiteY1091" fmla="*/ 2643701 h 6858000"/>
              <a:gd name="connsiteX1092" fmla="*/ 2292147 w 5794893"/>
              <a:gd name="connsiteY1092" fmla="*/ 2683030 h 6858000"/>
              <a:gd name="connsiteX1093" fmla="*/ 2183992 w 5794893"/>
              <a:gd name="connsiteY1093" fmla="*/ 2643701 h 6858000"/>
              <a:gd name="connsiteX1094" fmla="*/ 2171702 w 5794893"/>
              <a:gd name="connsiteY1094" fmla="*/ 2687947 h 6858000"/>
              <a:gd name="connsiteX1095" fmla="*/ 2066005 w 5794893"/>
              <a:gd name="connsiteY1095" fmla="*/ 2643701 h 6858000"/>
              <a:gd name="connsiteX1096" fmla="*/ 2050028 w 5794893"/>
              <a:gd name="connsiteY1096" fmla="*/ 2692863 h 6858000"/>
              <a:gd name="connsiteX1097" fmla="*/ 1948018 w 5794893"/>
              <a:gd name="connsiteY1097" fmla="*/ 2643701 h 6858000"/>
              <a:gd name="connsiteX1098" fmla="*/ 1928353 w 5794893"/>
              <a:gd name="connsiteY1098" fmla="*/ 2697779 h 6858000"/>
              <a:gd name="connsiteX1099" fmla="*/ 1830031 w 5794893"/>
              <a:gd name="connsiteY1099" fmla="*/ 2644931 h 6858000"/>
              <a:gd name="connsiteX1100" fmla="*/ 1805450 w 5794893"/>
              <a:gd name="connsiteY1100" fmla="*/ 2702695 h 6858000"/>
              <a:gd name="connsiteX1101" fmla="*/ 1712043 w 5794893"/>
              <a:gd name="connsiteY1101" fmla="*/ 2644931 h 6858000"/>
              <a:gd name="connsiteX1102" fmla="*/ 1682547 w 5794893"/>
              <a:gd name="connsiteY1102" fmla="*/ 2706383 h 6858000"/>
              <a:gd name="connsiteX1103" fmla="*/ 1594056 w 5794893"/>
              <a:gd name="connsiteY1103" fmla="*/ 2643701 h 6858000"/>
              <a:gd name="connsiteX1104" fmla="*/ 1558510 w 5794893"/>
              <a:gd name="connsiteY1104" fmla="*/ 2707442 h 6858000"/>
              <a:gd name="connsiteX1105" fmla="*/ 1477299 w 5794893"/>
              <a:gd name="connsiteY1105" fmla="*/ 2642473 h 6858000"/>
              <a:gd name="connsiteX1106" fmla="*/ 1440428 w 5794893"/>
              <a:gd name="connsiteY1106" fmla="*/ 2701467 h 6858000"/>
              <a:gd name="connsiteX1107" fmla="*/ 1557185 w 5794893"/>
              <a:gd name="connsiteY1107" fmla="*/ 2794873 h 6858000"/>
              <a:gd name="connsiteX1108" fmla="*/ 1594056 w 5794893"/>
              <a:gd name="connsiteY1108" fmla="*/ 2735879 h 6858000"/>
              <a:gd name="connsiteX1109" fmla="*/ 1560841 w 5794893"/>
              <a:gd name="connsiteY1109" fmla="*/ 2709307 h 6858000"/>
              <a:gd name="connsiteX1110" fmla="*/ 1685005 w 5794893"/>
              <a:gd name="connsiteY1110" fmla="*/ 2796101 h 6858000"/>
              <a:gd name="connsiteX1111" fmla="*/ 1718189 w 5794893"/>
              <a:gd name="connsiteY1111" fmla="*/ 2735879 h 6858000"/>
              <a:gd name="connsiteX1112" fmla="*/ 1815282 w 5794893"/>
              <a:gd name="connsiteY1112" fmla="*/ 2796101 h 6858000"/>
              <a:gd name="connsiteX1113" fmla="*/ 1842321 w 5794893"/>
              <a:gd name="connsiteY1113" fmla="*/ 2740796 h 6858000"/>
              <a:gd name="connsiteX1114" fmla="*/ 1945560 w 5794893"/>
              <a:gd name="connsiteY1114" fmla="*/ 2796101 h 6858000"/>
              <a:gd name="connsiteX1115" fmla="*/ 1967682 w 5794893"/>
              <a:gd name="connsiteY1115" fmla="*/ 2744482 h 6858000"/>
              <a:gd name="connsiteX1116" fmla="*/ 2075837 w 5794893"/>
              <a:gd name="connsiteY1116" fmla="*/ 2796101 h 6858000"/>
              <a:gd name="connsiteX1117" fmla="*/ 2093044 w 5794893"/>
              <a:gd name="connsiteY1117" fmla="*/ 2749398 h 6858000"/>
              <a:gd name="connsiteX1118" fmla="*/ 2204887 w 5794893"/>
              <a:gd name="connsiteY1118" fmla="*/ 2796101 h 6858000"/>
              <a:gd name="connsiteX1119" fmla="*/ 2218405 w 5794893"/>
              <a:gd name="connsiteY1119" fmla="*/ 2753086 h 6858000"/>
              <a:gd name="connsiteX1120" fmla="*/ 2333934 w 5794893"/>
              <a:gd name="connsiteY1120" fmla="*/ 2796101 h 6858000"/>
              <a:gd name="connsiteX1121" fmla="*/ 2344996 w 5794893"/>
              <a:gd name="connsiteY1121" fmla="*/ 2758002 h 6858000"/>
              <a:gd name="connsiteX1122" fmla="*/ 2464212 w 5794893"/>
              <a:gd name="connsiteY1122" fmla="*/ 2796101 h 6858000"/>
              <a:gd name="connsiteX1123" fmla="*/ 2472816 w 5794893"/>
              <a:gd name="connsiteY1123" fmla="*/ 2761689 h 6858000"/>
              <a:gd name="connsiteX1124" fmla="*/ 2594490 w 5794893"/>
              <a:gd name="connsiteY1124" fmla="*/ 2796101 h 6858000"/>
              <a:gd name="connsiteX1125" fmla="*/ 2600635 w 5794893"/>
              <a:gd name="connsiteY1125" fmla="*/ 2766605 h 6858000"/>
              <a:gd name="connsiteX1126" fmla="*/ 2723539 w 5794893"/>
              <a:gd name="connsiteY1126" fmla="*/ 2796101 h 6858000"/>
              <a:gd name="connsiteX1127" fmla="*/ 2728455 w 5794893"/>
              <a:gd name="connsiteY1127" fmla="*/ 2770292 h 6858000"/>
              <a:gd name="connsiteX1128" fmla="*/ 2850129 w 5794893"/>
              <a:gd name="connsiteY1128" fmla="*/ 2797331 h 6858000"/>
              <a:gd name="connsiteX1129" fmla="*/ 2853816 w 5794893"/>
              <a:gd name="connsiteY1129" fmla="*/ 2775209 h 6858000"/>
              <a:gd name="connsiteX1130" fmla="*/ 2980406 w 5794893"/>
              <a:gd name="connsiteY1130" fmla="*/ 2797331 h 6858000"/>
              <a:gd name="connsiteX1131" fmla="*/ 2982864 w 5794893"/>
              <a:gd name="connsiteY1131" fmla="*/ 2778895 h 6858000"/>
              <a:gd name="connsiteX1132" fmla="*/ 3109455 w 5794893"/>
              <a:gd name="connsiteY1132" fmla="*/ 2797331 h 6858000"/>
              <a:gd name="connsiteX1133" fmla="*/ 3110684 w 5794893"/>
              <a:gd name="connsiteY1133" fmla="*/ 2781353 h 6858000"/>
              <a:gd name="connsiteX1134" fmla="*/ 3238503 w 5794893"/>
              <a:gd name="connsiteY1134" fmla="*/ 2797331 h 6858000"/>
              <a:gd name="connsiteX1135" fmla="*/ 3239733 w 5794893"/>
              <a:gd name="connsiteY1135" fmla="*/ 2785041 h 6858000"/>
              <a:gd name="connsiteX1136" fmla="*/ 3368781 w 5794893"/>
              <a:gd name="connsiteY1136" fmla="*/ 2797331 h 6858000"/>
              <a:gd name="connsiteX1137" fmla="*/ 3370010 w 5794893"/>
              <a:gd name="connsiteY1137" fmla="*/ 2787499 h 6858000"/>
              <a:gd name="connsiteX1138" fmla="*/ 3499058 w 5794893"/>
              <a:gd name="connsiteY1138" fmla="*/ 2797331 h 6858000"/>
              <a:gd name="connsiteX1139" fmla="*/ 3499058 w 5794893"/>
              <a:gd name="connsiteY1139" fmla="*/ 2789957 h 6858000"/>
              <a:gd name="connsiteX1140" fmla="*/ 3628107 w 5794893"/>
              <a:gd name="connsiteY1140" fmla="*/ 2797331 h 6858000"/>
              <a:gd name="connsiteX1141" fmla="*/ 3628107 w 5794893"/>
              <a:gd name="connsiteY1141" fmla="*/ 2792415 h 6858000"/>
              <a:gd name="connsiteX1142" fmla="*/ 3636710 w 5794893"/>
              <a:gd name="connsiteY1142" fmla="*/ 2792415 h 6858000"/>
              <a:gd name="connsiteX1143" fmla="*/ 3716598 w 5794893"/>
              <a:gd name="connsiteY1143" fmla="*/ 2794873 h 6858000"/>
              <a:gd name="connsiteX1144" fmla="*/ 3716598 w 5794893"/>
              <a:gd name="connsiteY1144" fmla="*/ 2801018 h 6858000"/>
              <a:gd name="connsiteX1145" fmla="*/ 5708861 w 5794893"/>
              <a:gd name="connsiteY1145" fmla="*/ 2842805 h 6858000"/>
              <a:gd name="connsiteX1146" fmla="*/ 3716598 w 5794893"/>
              <a:gd name="connsiteY1146" fmla="*/ 2842805 h 6858000"/>
              <a:gd name="connsiteX1147" fmla="*/ 3716598 w 5794893"/>
              <a:gd name="connsiteY1147" fmla="*/ 2844034 h 6858000"/>
              <a:gd name="connsiteX1148" fmla="*/ 3598611 w 5794893"/>
              <a:gd name="connsiteY1148" fmla="*/ 2841576 h 6858000"/>
              <a:gd name="connsiteX1149" fmla="*/ 3598611 w 5794893"/>
              <a:gd name="connsiteY1149" fmla="*/ 2845263 h 6858000"/>
              <a:gd name="connsiteX1150" fmla="*/ 3480623 w 5794893"/>
              <a:gd name="connsiteY1150" fmla="*/ 2841576 h 6858000"/>
              <a:gd name="connsiteX1151" fmla="*/ 3480623 w 5794893"/>
              <a:gd name="connsiteY1151" fmla="*/ 2847721 h 6858000"/>
              <a:gd name="connsiteX1152" fmla="*/ 3362636 w 5794893"/>
              <a:gd name="connsiteY1152" fmla="*/ 2841576 h 6858000"/>
              <a:gd name="connsiteX1153" fmla="*/ 3362636 w 5794893"/>
              <a:gd name="connsiteY1153" fmla="*/ 2850179 h 6858000"/>
              <a:gd name="connsiteX1154" fmla="*/ 3244649 w 5794893"/>
              <a:gd name="connsiteY1154" fmla="*/ 2841576 h 6858000"/>
              <a:gd name="connsiteX1155" fmla="*/ 3244649 w 5794893"/>
              <a:gd name="connsiteY1155" fmla="*/ 2852637 h 6858000"/>
              <a:gd name="connsiteX1156" fmla="*/ 3126662 w 5794893"/>
              <a:gd name="connsiteY1156" fmla="*/ 2841576 h 6858000"/>
              <a:gd name="connsiteX1157" fmla="*/ 3125432 w 5794893"/>
              <a:gd name="connsiteY1157" fmla="*/ 2856325 h 6858000"/>
              <a:gd name="connsiteX1158" fmla="*/ 3007445 w 5794893"/>
              <a:gd name="connsiteY1158" fmla="*/ 2841576 h 6858000"/>
              <a:gd name="connsiteX1159" fmla="*/ 3006216 w 5794893"/>
              <a:gd name="connsiteY1159" fmla="*/ 2858783 h 6858000"/>
              <a:gd name="connsiteX1160" fmla="*/ 2889458 w 5794893"/>
              <a:gd name="connsiteY1160" fmla="*/ 2841576 h 6858000"/>
              <a:gd name="connsiteX1161" fmla="*/ 2887000 w 5794893"/>
              <a:gd name="connsiteY1161" fmla="*/ 2862469 h 6858000"/>
              <a:gd name="connsiteX1162" fmla="*/ 2771470 w 5794893"/>
              <a:gd name="connsiteY1162" fmla="*/ 2841576 h 6858000"/>
              <a:gd name="connsiteX1163" fmla="*/ 2767784 w 5794893"/>
              <a:gd name="connsiteY1163" fmla="*/ 2864927 h 6858000"/>
              <a:gd name="connsiteX1164" fmla="*/ 2653483 w 5794893"/>
              <a:gd name="connsiteY1164" fmla="*/ 2841576 h 6858000"/>
              <a:gd name="connsiteX1165" fmla="*/ 2648567 w 5794893"/>
              <a:gd name="connsiteY1165" fmla="*/ 2868615 h 6858000"/>
              <a:gd name="connsiteX1166" fmla="*/ 2535496 w 5794893"/>
              <a:gd name="connsiteY1166" fmla="*/ 2841576 h 6858000"/>
              <a:gd name="connsiteX1167" fmla="*/ 2529351 w 5794893"/>
              <a:gd name="connsiteY1167" fmla="*/ 2872302 h 6858000"/>
              <a:gd name="connsiteX1168" fmla="*/ 2417509 w 5794893"/>
              <a:gd name="connsiteY1168" fmla="*/ 2841576 h 6858000"/>
              <a:gd name="connsiteX1169" fmla="*/ 2410134 w 5794893"/>
              <a:gd name="connsiteY1169" fmla="*/ 2877218 h 6858000"/>
              <a:gd name="connsiteX1170" fmla="*/ 2299521 w 5794893"/>
              <a:gd name="connsiteY1170" fmla="*/ 2841576 h 6858000"/>
              <a:gd name="connsiteX1171" fmla="*/ 2289689 w 5794893"/>
              <a:gd name="connsiteY1171" fmla="*/ 2880905 h 6858000"/>
              <a:gd name="connsiteX1172" fmla="*/ 2181534 w 5794893"/>
              <a:gd name="connsiteY1172" fmla="*/ 2841576 h 6858000"/>
              <a:gd name="connsiteX1173" fmla="*/ 2169244 w 5794893"/>
              <a:gd name="connsiteY1173" fmla="*/ 2885822 h 6858000"/>
              <a:gd name="connsiteX1174" fmla="*/ 2063547 w 5794893"/>
              <a:gd name="connsiteY1174" fmla="*/ 2841576 h 6858000"/>
              <a:gd name="connsiteX1175" fmla="*/ 2047570 w 5794893"/>
              <a:gd name="connsiteY1175" fmla="*/ 2890738 h 6858000"/>
              <a:gd name="connsiteX1176" fmla="*/ 1945560 w 5794893"/>
              <a:gd name="connsiteY1176" fmla="*/ 2841576 h 6858000"/>
              <a:gd name="connsiteX1177" fmla="*/ 1925895 w 5794893"/>
              <a:gd name="connsiteY1177" fmla="*/ 2894424 h 6858000"/>
              <a:gd name="connsiteX1178" fmla="*/ 1827572 w 5794893"/>
              <a:gd name="connsiteY1178" fmla="*/ 2841576 h 6858000"/>
              <a:gd name="connsiteX1179" fmla="*/ 1802992 w 5794893"/>
              <a:gd name="connsiteY1179" fmla="*/ 2899340 h 6858000"/>
              <a:gd name="connsiteX1180" fmla="*/ 1709585 w 5794893"/>
              <a:gd name="connsiteY1180" fmla="*/ 2841576 h 6858000"/>
              <a:gd name="connsiteX1181" fmla="*/ 1680088 w 5794893"/>
              <a:gd name="connsiteY1181" fmla="*/ 2903028 h 6858000"/>
              <a:gd name="connsiteX1182" fmla="*/ 1591598 w 5794893"/>
              <a:gd name="connsiteY1182" fmla="*/ 2841576 h 6858000"/>
              <a:gd name="connsiteX1183" fmla="*/ 1557758 w 5794893"/>
              <a:gd name="connsiteY1183" fmla="*/ 2902257 h 6858000"/>
              <a:gd name="connsiteX1184" fmla="*/ 1477299 w 5794893"/>
              <a:gd name="connsiteY1184" fmla="*/ 2837889 h 6858000"/>
              <a:gd name="connsiteX1185" fmla="*/ 1440428 w 5794893"/>
              <a:gd name="connsiteY1185" fmla="*/ 2896882 h 6858000"/>
              <a:gd name="connsiteX1186" fmla="*/ 1557185 w 5794893"/>
              <a:gd name="connsiteY1186" fmla="*/ 2990289 h 6858000"/>
              <a:gd name="connsiteX1187" fmla="*/ 1593698 w 5794893"/>
              <a:gd name="connsiteY1187" fmla="*/ 2931868 h 6858000"/>
              <a:gd name="connsiteX1188" fmla="*/ 1682547 w 5794893"/>
              <a:gd name="connsiteY1188" fmla="*/ 2993977 h 6858000"/>
              <a:gd name="connsiteX1189" fmla="*/ 1715731 w 5794893"/>
              <a:gd name="connsiteY1189" fmla="*/ 2933753 h 6858000"/>
              <a:gd name="connsiteX1190" fmla="*/ 1812824 w 5794893"/>
              <a:gd name="connsiteY1190" fmla="*/ 2993977 h 6858000"/>
              <a:gd name="connsiteX1191" fmla="*/ 1839863 w 5794893"/>
              <a:gd name="connsiteY1191" fmla="*/ 2938669 h 6858000"/>
              <a:gd name="connsiteX1192" fmla="*/ 1943102 w 5794893"/>
              <a:gd name="connsiteY1192" fmla="*/ 2993977 h 6858000"/>
              <a:gd name="connsiteX1193" fmla="*/ 1965224 w 5794893"/>
              <a:gd name="connsiteY1193" fmla="*/ 2942357 h 6858000"/>
              <a:gd name="connsiteX1194" fmla="*/ 2073379 w 5794893"/>
              <a:gd name="connsiteY1194" fmla="*/ 2993977 h 6858000"/>
              <a:gd name="connsiteX1195" fmla="*/ 2090586 w 5794893"/>
              <a:gd name="connsiteY1195" fmla="*/ 2947273 h 6858000"/>
              <a:gd name="connsiteX1196" fmla="*/ 2202428 w 5794893"/>
              <a:gd name="connsiteY1196" fmla="*/ 2993977 h 6858000"/>
              <a:gd name="connsiteX1197" fmla="*/ 2215947 w 5794893"/>
              <a:gd name="connsiteY1197" fmla="*/ 2950960 h 6858000"/>
              <a:gd name="connsiteX1198" fmla="*/ 2331476 w 5794893"/>
              <a:gd name="connsiteY1198" fmla="*/ 2993977 h 6858000"/>
              <a:gd name="connsiteX1199" fmla="*/ 2342538 w 5794893"/>
              <a:gd name="connsiteY1199" fmla="*/ 2955876 h 6858000"/>
              <a:gd name="connsiteX1200" fmla="*/ 2461754 w 5794893"/>
              <a:gd name="connsiteY1200" fmla="*/ 2993977 h 6858000"/>
              <a:gd name="connsiteX1201" fmla="*/ 2470358 w 5794893"/>
              <a:gd name="connsiteY1201" fmla="*/ 2959564 h 6858000"/>
              <a:gd name="connsiteX1202" fmla="*/ 2592031 w 5794893"/>
              <a:gd name="connsiteY1202" fmla="*/ 2993977 h 6858000"/>
              <a:gd name="connsiteX1203" fmla="*/ 2598177 w 5794893"/>
              <a:gd name="connsiteY1203" fmla="*/ 2964480 h 6858000"/>
              <a:gd name="connsiteX1204" fmla="*/ 2721081 w 5794893"/>
              <a:gd name="connsiteY1204" fmla="*/ 2993977 h 6858000"/>
              <a:gd name="connsiteX1205" fmla="*/ 2725997 w 5794893"/>
              <a:gd name="connsiteY1205" fmla="*/ 2968166 h 6858000"/>
              <a:gd name="connsiteX1206" fmla="*/ 2851358 w 5794893"/>
              <a:gd name="connsiteY1206" fmla="*/ 2993977 h 6858000"/>
              <a:gd name="connsiteX1207" fmla="*/ 2855045 w 5794893"/>
              <a:gd name="connsiteY1207" fmla="*/ 2971854 h 6858000"/>
              <a:gd name="connsiteX1208" fmla="*/ 2981636 w 5794893"/>
              <a:gd name="connsiteY1208" fmla="*/ 2993977 h 6858000"/>
              <a:gd name="connsiteX1209" fmla="*/ 2984094 w 5794893"/>
              <a:gd name="connsiteY1209" fmla="*/ 2975540 h 6858000"/>
              <a:gd name="connsiteX1210" fmla="*/ 3110684 w 5794893"/>
              <a:gd name="connsiteY1210" fmla="*/ 2993977 h 6858000"/>
              <a:gd name="connsiteX1211" fmla="*/ 3111913 w 5794893"/>
              <a:gd name="connsiteY1211" fmla="*/ 2977998 h 6858000"/>
              <a:gd name="connsiteX1212" fmla="*/ 3239733 w 5794893"/>
              <a:gd name="connsiteY1212" fmla="*/ 2993977 h 6858000"/>
              <a:gd name="connsiteX1213" fmla="*/ 3240961 w 5794893"/>
              <a:gd name="connsiteY1213" fmla="*/ 2981686 h 6858000"/>
              <a:gd name="connsiteX1214" fmla="*/ 3370010 w 5794893"/>
              <a:gd name="connsiteY1214" fmla="*/ 2993977 h 6858000"/>
              <a:gd name="connsiteX1215" fmla="*/ 3371239 w 5794893"/>
              <a:gd name="connsiteY1215" fmla="*/ 2984144 h 6858000"/>
              <a:gd name="connsiteX1216" fmla="*/ 3500288 w 5794893"/>
              <a:gd name="connsiteY1216" fmla="*/ 2993977 h 6858000"/>
              <a:gd name="connsiteX1217" fmla="*/ 3500288 w 5794893"/>
              <a:gd name="connsiteY1217" fmla="*/ 2986602 h 6858000"/>
              <a:gd name="connsiteX1218" fmla="*/ 3629336 w 5794893"/>
              <a:gd name="connsiteY1218" fmla="*/ 2993977 h 6858000"/>
              <a:gd name="connsiteX1219" fmla="*/ 3629336 w 5794893"/>
              <a:gd name="connsiteY1219" fmla="*/ 2989060 h 6858000"/>
              <a:gd name="connsiteX1220" fmla="*/ 3637940 w 5794893"/>
              <a:gd name="connsiteY1220" fmla="*/ 2989060 h 6858000"/>
              <a:gd name="connsiteX1221" fmla="*/ 3717826 w 5794893"/>
              <a:gd name="connsiteY1221" fmla="*/ 2991518 h 6858000"/>
              <a:gd name="connsiteX1222" fmla="*/ 3717826 w 5794893"/>
              <a:gd name="connsiteY1222" fmla="*/ 2992747 h 6858000"/>
              <a:gd name="connsiteX1223" fmla="*/ 5716236 w 5794893"/>
              <a:gd name="connsiteY1223" fmla="*/ 3034534 h 6858000"/>
              <a:gd name="connsiteX1224" fmla="*/ 3717826 w 5794893"/>
              <a:gd name="connsiteY1224" fmla="*/ 3034534 h 6858000"/>
              <a:gd name="connsiteX1225" fmla="*/ 3717826 w 5794893"/>
              <a:gd name="connsiteY1225" fmla="*/ 3035764 h 6858000"/>
              <a:gd name="connsiteX1226" fmla="*/ 3599839 w 5794893"/>
              <a:gd name="connsiteY1226" fmla="*/ 3033306 h 6858000"/>
              <a:gd name="connsiteX1227" fmla="*/ 3599839 w 5794893"/>
              <a:gd name="connsiteY1227" fmla="*/ 3036992 h 6858000"/>
              <a:gd name="connsiteX1228" fmla="*/ 3481852 w 5794893"/>
              <a:gd name="connsiteY1228" fmla="*/ 3033306 h 6858000"/>
              <a:gd name="connsiteX1229" fmla="*/ 3481852 w 5794893"/>
              <a:gd name="connsiteY1229" fmla="*/ 3039450 h 6858000"/>
              <a:gd name="connsiteX1230" fmla="*/ 3363865 w 5794893"/>
              <a:gd name="connsiteY1230" fmla="*/ 3033306 h 6858000"/>
              <a:gd name="connsiteX1231" fmla="*/ 3363865 w 5794893"/>
              <a:gd name="connsiteY1231" fmla="*/ 3041908 h 6858000"/>
              <a:gd name="connsiteX1232" fmla="*/ 3245877 w 5794893"/>
              <a:gd name="connsiteY1232" fmla="*/ 3033306 h 6858000"/>
              <a:gd name="connsiteX1233" fmla="*/ 3245877 w 5794893"/>
              <a:gd name="connsiteY1233" fmla="*/ 3044366 h 6858000"/>
              <a:gd name="connsiteX1234" fmla="*/ 3127890 w 5794893"/>
              <a:gd name="connsiteY1234" fmla="*/ 3033306 h 6858000"/>
              <a:gd name="connsiteX1235" fmla="*/ 3126662 w 5794893"/>
              <a:gd name="connsiteY1235" fmla="*/ 3048054 h 6858000"/>
              <a:gd name="connsiteX1236" fmla="*/ 3008674 w 5794893"/>
              <a:gd name="connsiteY1236" fmla="*/ 3033306 h 6858000"/>
              <a:gd name="connsiteX1237" fmla="*/ 3007445 w 5794893"/>
              <a:gd name="connsiteY1237" fmla="*/ 3050512 h 6858000"/>
              <a:gd name="connsiteX1238" fmla="*/ 2890687 w 5794893"/>
              <a:gd name="connsiteY1238" fmla="*/ 3033306 h 6858000"/>
              <a:gd name="connsiteX1239" fmla="*/ 2888229 w 5794893"/>
              <a:gd name="connsiteY1239" fmla="*/ 3054199 h 6858000"/>
              <a:gd name="connsiteX1240" fmla="*/ 2772700 w 5794893"/>
              <a:gd name="connsiteY1240" fmla="*/ 3033306 h 6858000"/>
              <a:gd name="connsiteX1241" fmla="*/ 2769012 w 5794893"/>
              <a:gd name="connsiteY1241" fmla="*/ 3056657 h 6858000"/>
              <a:gd name="connsiteX1242" fmla="*/ 2654713 w 5794893"/>
              <a:gd name="connsiteY1242" fmla="*/ 3033306 h 6858000"/>
              <a:gd name="connsiteX1243" fmla="*/ 2649797 w 5794893"/>
              <a:gd name="connsiteY1243" fmla="*/ 3060344 h 6858000"/>
              <a:gd name="connsiteX1244" fmla="*/ 2536726 w 5794893"/>
              <a:gd name="connsiteY1244" fmla="*/ 3033306 h 6858000"/>
              <a:gd name="connsiteX1245" fmla="*/ 2530580 w 5794893"/>
              <a:gd name="connsiteY1245" fmla="*/ 3064031 h 6858000"/>
              <a:gd name="connsiteX1246" fmla="*/ 2418738 w 5794893"/>
              <a:gd name="connsiteY1246" fmla="*/ 3033306 h 6858000"/>
              <a:gd name="connsiteX1247" fmla="*/ 2411364 w 5794893"/>
              <a:gd name="connsiteY1247" fmla="*/ 3068947 h 6858000"/>
              <a:gd name="connsiteX1248" fmla="*/ 2300751 w 5794893"/>
              <a:gd name="connsiteY1248" fmla="*/ 3033306 h 6858000"/>
              <a:gd name="connsiteX1249" fmla="*/ 2290919 w 5794893"/>
              <a:gd name="connsiteY1249" fmla="*/ 3072635 h 6858000"/>
              <a:gd name="connsiteX1250" fmla="*/ 2182764 w 5794893"/>
              <a:gd name="connsiteY1250" fmla="*/ 3033306 h 6858000"/>
              <a:gd name="connsiteX1251" fmla="*/ 2170474 w 5794893"/>
              <a:gd name="connsiteY1251" fmla="*/ 3077551 h 6858000"/>
              <a:gd name="connsiteX1252" fmla="*/ 2064777 w 5794893"/>
              <a:gd name="connsiteY1252" fmla="*/ 3033306 h 6858000"/>
              <a:gd name="connsiteX1253" fmla="*/ 2048799 w 5794893"/>
              <a:gd name="connsiteY1253" fmla="*/ 3082467 h 6858000"/>
              <a:gd name="connsiteX1254" fmla="*/ 1946789 w 5794893"/>
              <a:gd name="connsiteY1254" fmla="*/ 3033306 h 6858000"/>
              <a:gd name="connsiteX1255" fmla="*/ 1927125 w 5794893"/>
              <a:gd name="connsiteY1255" fmla="*/ 3086153 h 6858000"/>
              <a:gd name="connsiteX1256" fmla="*/ 1828802 w 5794893"/>
              <a:gd name="connsiteY1256" fmla="*/ 3033306 h 6858000"/>
              <a:gd name="connsiteX1257" fmla="*/ 1804221 w 5794893"/>
              <a:gd name="connsiteY1257" fmla="*/ 3091070 h 6858000"/>
              <a:gd name="connsiteX1258" fmla="*/ 1710815 w 5794893"/>
              <a:gd name="connsiteY1258" fmla="*/ 3033306 h 6858000"/>
              <a:gd name="connsiteX1259" fmla="*/ 1681318 w 5794893"/>
              <a:gd name="connsiteY1259" fmla="*/ 3094757 h 6858000"/>
              <a:gd name="connsiteX1260" fmla="*/ 1592828 w 5794893"/>
              <a:gd name="connsiteY1260" fmla="*/ 3033306 h 6858000"/>
              <a:gd name="connsiteX1261" fmla="*/ 1557806 w 5794893"/>
              <a:gd name="connsiteY1261" fmla="*/ 3096101 h 6858000"/>
              <a:gd name="connsiteX1262" fmla="*/ 1477299 w 5794893"/>
              <a:gd name="connsiteY1262" fmla="*/ 3030848 h 6858000"/>
              <a:gd name="connsiteX1263" fmla="*/ 1440428 w 5794893"/>
              <a:gd name="connsiteY1263" fmla="*/ 3089841 h 6858000"/>
              <a:gd name="connsiteX1264" fmla="*/ 1557185 w 5794893"/>
              <a:gd name="connsiteY1264" fmla="*/ 3184476 h 6858000"/>
              <a:gd name="connsiteX1265" fmla="*/ 1594056 w 5794893"/>
              <a:gd name="connsiteY1265" fmla="*/ 3125482 h 6858000"/>
              <a:gd name="connsiteX1266" fmla="*/ 1571695 w 5794893"/>
              <a:gd name="connsiteY1266" fmla="*/ 3107358 h 6858000"/>
              <a:gd name="connsiteX1267" fmla="*/ 1683776 w 5794893"/>
              <a:gd name="connsiteY1267" fmla="*/ 3185706 h 6858000"/>
              <a:gd name="connsiteX1268" fmla="*/ 1716959 w 5794893"/>
              <a:gd name="connsiteY1268" fmla="*/ 3125482 h 6858000"/>
              <a:gd name="connsiteX1269" fmla="*/ 1814054 w 5794893"/>
              <a:gd name="connsiteY1269" fmla="*/ 3185706 h 6858000"/>
              <a:gd name="connsiteX1270" fmla="*/ 1841092 w 5794893"/>
              <a:gd name="connsiteY1270" fmla="*/ 3130399 h 6858000"/>
              <a:gd name="connsiteX1271" fmla="*/ 1944331 w 5794893"/>
              <a:gd name="connsiteY1271" fmla="*/ 3185706 h 6858000"/>
              <a:gd name="connsiteX1272" fmla="*/ 1966454 w 5794893"/>
              <a:gd name="connsiteY1272" fmla="*/ 3134086 h 6858000"/>
              <a:gd name="connsiteX1273" fmla="*/ 2074609 w 5794893"/>
              <a:gd name="connsiteY1273" fmla="*/ 3185706 h 6858000"/>
              <a:gd name="connsiteX1274" fmla="*/ 2091815 w 5794893"/>
              <a:gd name="connsiteY1274" fmla="*/ 3139003 h 6858000"/>
              <a:gd name="connsiteX1275" fmla="*/ 2203657 w 5794893"/>
              <a:gd name="connsiteY1275" fmla="*/ 3185706 h 6858000"/>
              <a:gd name="connsiteX1276" fmla="*/ 2217177 w 5794893"/>
              <a:gd name="connsiteY1276" fmla="*/ 3142689 h 6858000"/>
              <a:gd name="connsiteX1277" fmla="*/ 2332706 w 5794893"/>
              <a:gd name="connsiteY1277" fmla="*/ 3185706 h 6858000"/>
              <a:gd name="connsiteX1278" fmla="*/ 2343767 w 5794893"/>
              <a:gd name="connsiteY1278" fmla="*/ 3147605 h 6858000"/>
              <a:gd name="connsiteX1279" fmla="*/ 2462984 w 5794893"/>
              <a:gd name="connsiteY1279" fmla="*/ 3185706 h 6858000"/>
              <a:gd name="connsiteX1280" fmla="*/ 2471586 w 5794893"/>
              <a:gd name="connsiteY1280" fmla="*/ 3151293 h 6858000"/>
              <a:gd name="connsiteX1281" fmla="*/ 2593261 w 5794893"/>
              <a:gd name="connsiteY1281" fmla="*/ 3185706 h 6858000"/>
              <a:gd name="connsiteX1282" fmla="*/ 2599406 w 5794893"/>
              <a:gd name="connsiteY1282" fmla="*/ 3156209 h 6858000"/>
              <a:gd name="connsiteX1283" fmla="*/ 2722309 w 5794893"/>
              <a:gd name="connsiteY1283" fmla="*/ 3185706 h 6858000"/>
              <a:gd name="connsiteX1284" fmla="*/ 2727225 w 5794893"/>
              <a:gd name="connsiteY1284" fmla="*/ 3159895 h 6858000"/>
              <a:gd name="connsiteX1285" fmla="*/ 2852587 w 5794893"/>
              <a:gd name="connsiteY1285" fmla="*/ 3185706 h 6858000"/>
              <a:gd name="connsiteX1286" fmla="*/ 2856274 w 5794893"/>
              <a:gd name="connsiteY1286" fmla="*/ 3163583 h 6858000"/>
              <a:gd name="connsiteX1287" fmla="*/ 2982864 w 5794893"/>
              <a:gd name="connsiteY1287" fmla="*/ 3185706 h 6858000"/>
              <a:gd name="connsiteX1288" fmla="*/ 2985322 w 5794893"/>
              <a:gd name="connsiteY1288" fmla="*/ 3167270 h 6858000"/>
              <a:gd name="connsiteX1289" fmla="*/ 3111913 w 5794893"/>
              <a:gd name="connsiteY1289" fmla="*/ 3185706 h 6858000"/>
              <a:gd name="connsiteX1290" fmla="*/ 3113142 w 5794893"/>
              <a:gd name="connsiteY1290" fmla="*/ 3169728 h 6858000"/>
              <a:gd name="connsiteX1291" fmla="*/ 3240961 w 5794893"/>
              <a:gd name="connsiteY1291" fmla="*/ 3185706 h 6858000"/>
              <a:gd name="connsiteX1292" fmla="*/ 3242191 w 5794893"/>
              <a:gd name="connsiteY1292" fmla="*/ 3173415 h 6858000"/>
              <a:gd name="connsiteX1293" fmla="*/ 3371239 w 5794893"/>
              <a:gd name="connsiteY1293" fmla="*/ 3185706 h 6858000"/>
              <a:gd name="connsiteX1294" fmla="*/ 3372468 w 5794893"/>
              <a:gd name="connsiteY1294" fmla="*/ 3175874 h 6858000"/>
              <a:gd name="connsiteX1295" fmla="*/ 3501516 w 5794893"/>
              <a:gd name="connsiteY1295" fmla="*/ 3185706 h 6858000"/>
              <a:gd name="connsiteX1296" fmla="*/ 3501516 w 5794893"/>
              <a:gd name="connsiteY1296" fmla="*/ 3178332 h 6858000"/>
              <a:gd name="connsiteX1297" fmla="*/ 3630565 w 5794893"/>
              <a:gd name="connsiteY1297" fmla="*/ 3185706 h 6858000"/>
              <a:gd name="connsiteX1298" fmla="*/ 3630565 w 5794893"/>
              <a:gd name="connsiteY1298" fmla="*/ 3180790 h 6858000"/>
              <a:gd name="connsiteX1299" fmla="*/ 3639168 w 5794893"/>
              <a:gd name="connsiteY1299" fmla="*/ 3180790 h 6858000"/>
              <a:gd name="connsiteX1300" fmla="*/ 3719056 w 5794893"/>
              <a:gd name="connsiteY1300" fmla="*/ 3183248 h 6858000"/>
              <a:gd name="connsiteX1301" fmla="*/ 3719056 w 5794893"/>
              <a:gd name="connsiteY1301" fmla="*/ 3184476 h 6858000"/>
              <a:gd name="connsiteX1302" fmla="*/ 5703946 w 5794893"/>
              <a:gd name="connsiteY1302" fmla="*/ 3226263 h 6858000"/>
              <a:gd name="connsiteX1303" fmla="*/ 3719056 w 5794893"/>
              <a:gd name="connsiteY1303" fmla="*/ 3226263 h 6858000"/>
              <a:gd name="connsiteX1304" fmla="*/ 3720284 w 5794893"/>
              <a:gd name="connsiteY1304" fmla="*/ 3228721 h 6858000"/>
              <a:gd name="connsiteX1305" fmla="*/ 3602297 w 5794893"/>
              <a:gd name="connsiteY1305" fmla="*/ 3226263 h 6858000"/>
              <a:gd name="connsiteX1306" fmla="*/ 3602297 w 5794893"/>
              <a:gd name="connsiteY1306" fmla="*/ 3229951 h 6858000"/>
              <a:gd name="connsiteX1307" fmla="*/ 3484310 w 5794893"/>
              <a:gd name="connsiteY1307" fmla="*/ 3226263 h 6858000"/>
              <a:gd name="connsiteX1308" fmla="*/ 3484310 w 5794893"/>
              <a:gd name="connsiteY1308" fmla="*/ 3232409 h 6858000"/>
              <a:gd name="connsiteX1309" fmla="*/ 3366323 w 5794893"/>
              <a:gd name="connsiteY1309" fmla="*/ 3226263 h 6858000"/>
              <a:gd name="connsiteX1310" fmla="*/ 3366323 w 5794893"/>
              <a:gd name="connsiteY1310" fmla="*/ 3234867 h 6858000"/>
              <a:gd name="connsiteX1311" fmla="*/ 3248335 w 5794893"/>
              <a:gd name="connsiteY1311" fmla="*/ 3226263 h 6858000"/>
              <a:gd name="connsiteX1312" fmla="*/ 3248335 w 5794893"/>
              <a:gd name="connsiteY1312" fmla="*/ 3237325 h 6858000"/>
              <a:gd name="connsiteX1313" fmla="*/ 3131578 w 5794893"/>
              <a:gd name="connsiteY1313" fmla="*/ 3226263 h 6858000"/>
              <a:gd name="connsiteX1314" fmla="*/ 3130348 w 5794893"/>
              <a:gd name="connsiteY1314" fmla="*/ 3241012 h 6858000"/>
              <a:gd name="connsiteX1315" fmla="*/ 3011133 w 5794893"/>
              <a:gd name="connsiteY1315" fmla="*/ 3226263 h 6858000"/>
              <a:gd name="connsiteX1316" fmla="*/ 3009903 w 5794893"/>
              <a:gd name="connsiteY1316" fmla="*/ 3243470 h 6858000"/>
              <a:gd name="connsiteX1317" fmla="*/ 2893145 w 5794893"/>
              <a:gd name="connsiteY1317" fmla="*/ 3226263 h 6858000"/>
              <a:gd name="connsiteX1318" fmla="*/ 2890687 w 5794893"/>
              <a:gd name="connsiteY1318" fmla="*/ 3247157 h 6858000"/>
              <a:gd name="connsiteX1319" fmla="*/ 2775158 w 5794893"/>
              <a:gd name="connsiteY1319" fmla="*/ 3226263 h 6858000"/>
              <a:gd name="connsiteX1320" fmla="*/ 2771470 w 5794893"/>
              <a:gd name="connsiteY1320" fmla="*/ 3249616 h 6858000"/>
              <a:gd name="connsiteX1321" fmla="*/ 2657171 w 5794893"/>
              <a:gd name="connsiteY1321" fmla="*/ 3226263 h 6858000"/>
              <a:gd name="connsiteX1322" fmla="*/ 2652255 w 5794893"/>
              <a:gd name="connsiteY1322" fmla="*/ 3253302 h 6858000"/>
              <a:gd name="connsiteX1323" fmla="*/ 2539184 w 5794893"/>
              <a:gd name="connsiteY1323" fmla="*/ 3226263 h 6858000"/>
              <a:gd name="connsiteX1324" fmla="*/ 2533038 w 5794893"/>
              <a:gd name="connsiteY1324" fmla="*/ 3256990 h 6858000"/>
              <a:gd name="connsiteX1325" fmla="*/ 2421196 w 5794893"/>
              <a:gd name="connsiteY1325" fmla="*/ 3226263 h 6858000"/>
              <a:gd name="connsiteX1326" fmla="*/ 2413822 w 5794893"/>
              <a:gd name="connsiteY1326" fmla="*/ 3261906 h 6858000"/>
              <a:gd name="connsiteX1327" fmla="*/ 2303209 w 5794893"/>
              <a:gd name="connsiteY1327" fmla="*/ 3226263 h 6858000"/>
              <a:gd name="connsiteX1328" fmla="*/ 2293377 w 5794893"/>
              <a:gd name="connsiteY1328" fmla="*/ 3265592 h 6858000"/>
              <a:gd name="connsiteX1329" fmla="*/ 2185222 w 5794893"/>
              <a:gd name="connsiteY1329" fmla="*/ 3226263 h 6858000"/>
              <a:gd name="connsiteX1330" fmla="*/ 2172932 w 5794893"/>
              <a:gd name="connsiteY1330" fmla="*/ 3270508 h 6858000"/>
              <a:gd name="connsiteX1331" fmla="*/ 2067235 w 5794893"/>
              <a:gd name="connsiteY1331" fmla="*/ 3226263 h 6858000"/>
              <a:gd name="connsiteX1332" fmla="*/ 2051257 w 5794893"/>
              <a:gd name="connsiteY1332" fmla="*/ 3275425 h 6858000"/>
              <a:gd name="connsiteX1333" fmla="*/ 1949247 w 5794893"/>
              <a:gd name="connsiteY1333" fmla="*/ 3226263 h 6858000"/>
              <a:gd name="connsiteX1334" fmla="*/ 1929583 w 5794893"/>
              <a:gd name="connsiteY1334" fmla="*/ 3279112 h 6858000"/>
              <a:gd name="connsiteX1335" fmla="*/ 1831260 w 5794893"/>
              <a:gd name="connsiteY1335" fmla="*/ 3226263 h 6858000"/>
              <a:gd name="connsiteX1336" fmla="*/ 1806680 w 5794893"/>
              <a:gd name="connsiteY1336" fmla="*/ 3284028 h 6858000"/>
              <a:gd name="connsiteX1337" fmla="*/ 1713273 w 5794893"/>
              <a:gd name="connsiteY1337" fmla="*/ 3226263 h 6858000"/>
              <a:gd name="connsiteX1338" fmla="*/ 1683776 w 5794893"/>
              <a:gd name="connsiteY1338" fmla="*/ 3287715 h 6858000"/>
              <a:gd name="connsiteX1339" fmla="*/ 1595286 w 5794893"/>
              <a:gd name="connsiteY1339" fmla="*/ 3226263 h 6858000"/>
              <a:gd name="connsiteX1340" fmla="*/ 1559643 w 5794893"/>
              <a:gd name="connsiteY1340" fmla="*/ 3290173 h 6858000"/>
              <a:gd name="connsiteX1341" fmla="*/ 1686234 w 5794893"/>
              <a:gd name="connsiteY1341" fmla="*/ 3378663 h 6858000"/>
              <a:gd name="connsiteX1342" fmla="*/ 1719418 w 5794893"/>
              <a:gd name="connsiteY1342" fmla="*/ 3318441 h 6858000"/>
              <a:gd name="connsiteX1343" fmla="*/ 1816512 w 5794893"/>
              <a:gd name="connsiteY1343" fmla="*/ 3378663 h 6858000"/>
              <a:gd name="connsiteX1344" fmla="*/ 1843551 w 5794893"/>
              <a:gd name="connsiteY1344" fmla="*/ 3323358 h 6858000"/>
              <a:gd name="connsiteX1345" fmla="*/ 1938186 w 5794893"/>
              <a:gd name="connsiteY1345" fmla="*/ 3386038 h 6858000"/>
              <a:gd name="connsiteX1346" fmla="*/ 1960308 w 5794893"/>
              <a:gd name="connsiteY1346" fmla="*/ 3334418 h 6858000"/>
              <a:gd name="connsiteX1347" fmla="*/ 2068463 w 5794893"/>
              <a:gd name="connsiteY1347" fmla="*/ 3386038 h 6858000"/>
              <a:gd name="connsiteX1348" fmla="*/ 2085670 w 5794893"/>
              <a:gd name="connsiteY1348" fmla="*/ 3339334 h 6858000"/>
              <a:gd name="connsiteX1349" fmla="*/ 2197512 w 5794893"/>
              <a:gd name="connsiteY1349" fmla="*/ 3386038 h 6858000"/>
              <a:gd name="connsiteX1350" fmla="*/ 2211031 w 5794893"/>
              <a:gd name="connsiteY1350" fmla="*/ 3343022 h 6858000"/>
              <a:gd name="connsiteX1351" fmla="*/ 2326560 w 5794893"/>
              <a:gd name="connsiteY1351" fmla="*/ 3386038 h 6858000"/>
              <a:gd name="connsiteX1352" fmla="*/ 2337622 w 5794893"/>
              <a:gd name="connsiteY1352" fmla="*/ 3347938 h 6858000"/>
              <a:gd name="connsiteX1353" fmla="*/ 2456838 w 5794893"/>
              <a:gd name="connsiteY1353" fmla="*/ 3386038 h 6858000"/>
              <a:gd name="connsiteX1354" fmla="*/ 2465442 w 5794893"/>
              <a:gd name="connsiteY1354" fmla="*/ 3351625 h 6858000"/>
              <a:gd name="connsiteX1355" fmla="*/ 2587115 w 5794893"/>
              <a:gd name="connsiteY1355" fmla="*/ 3386038 h 6858000"/>
              <a:gd name="connsiteX1356" fmla="*/ 2593261 w 5794893"/>
              <a:gd name="connsiteY1356" fmla="*/ 3356541 h 6858000"/>
              <a:gd name="connsiteX1357" fmla="*/ 2716164 w 5794893"/>
              <a:gd name="connsiteY1357" fmla="*/ 3386038 h 6858000"/>
              <a:gd name="connsiteX1358" fmla="*/ 2721081 w 5794893"/>
              <a:gd name="connsiteY1358" fmla="*/ 3360229 h 6858000"/>
              <a:gd name="connsiteX1359" fmla="*/ 2846442 w 5794893"/>
              <a:gd name="connsiteY1359" fmla="*/ 3386038 h 6858000"/>
              <a:gd name="connsiteX1360" fmla="*/ 2850129 w 5794893"/>
              <a:gd name="connsiteY1360" fmla="*/ 3363915 h 6858000"/>
              <a:gd name="connsiteX1361" fmla="*/ 2976720 w 5794893"/>
              <a:gd name="connsiteY1361" fmla="*/ 3386038 h 6858000"/>
              <a:gd name="connsiteX1362" fmla="*/ 2979178 w 5794893"/>
              <a:gd name="connsiteY1362" fmla="*/ 3367603 h 6858000"/>
              <a:gd name="connsiteX1363" fmla="*/ 3105768 w 5794893"/>
              <a:gd name="connsiteY1363" fmla="*/ 3386038 h 6858000"/>
              <a:gd name="connsiteX1364" fmla="*/ 3106997 w 5794893"/>
              <a:gd name="connsiteY1364" fmla="*/ 3370061 h 6858000"/>
              <a:gd name="connsiteX1365" fmla="*/ 3234817 w 5794893"/>
              <a:gd name="connsiteY1365" fmla="*/ 3386038 h 6858000"/>
              <a:gd name="connsiteX1366" fmla="*/ 3236045 w 5794893"/>
              <a:gd name="connsiteY1366" fmla="*/ 3373747 h 6858000"/>
              <a:gd name="connsiteX1367" fmla="*/ 3365094 w 5794893"/>
              <a:gd name="connsiteY1367" fmla="*/ 3386038 h 6858000"/>
              <a:gd name="connsiteX1368" fmla="*/ 3366323 w 5794893"/>
              <a:gd name="connsiteY1368" fmla="*/ 3376205 h 6858000"/>
              <a:gd name="connsiteX1369" fmla="*/ 3495372 w 5794893"/>
              <a:gd name="connsiteY1369" fmla="*/ 3386038 h 6858000"/>
              <a:gd name="connsiteX1370" fmla="*/ 3495372 w 5794893"/>
              <a:gd name="connsiteY1370" fmla="*/ 3378663 h 6858000"/>
              <a:gd name="connsiteX1371" fmla="*/ 3624420 w 5794893"/>
              <a:gd name="connsiteY1371" fmla="*/ 3386038 h 6858000"/>
              <a:gd name="connsiteX1372" fmla="*/ 3624420 w 5794893"/>
              <a:gd name="connsiteY1372" fmla="*/ 3381121 h 6858000"/>
              <a:gd name="connsiteX1373" fmla="*/ 3633024 w 5794893"/>
              <a:gd name="connsiteY1373" fmla="*/ 3381121 h 6858000"/>
              <a:gd name="connsiteX1374" fmla="*/ 3712910 w 5794893"/>
              <a:gd name="connsiteY1374" fmla="*/ 3383580 h 6858000"/>
              <a:gd name="connsiteX1375" fmla="*/ 3712910 w 5794893"/>
              <a:gd name="connsiteY1375" fmla="*/ 3384809 h 6858000"/>
              <a:gd name="connsiteX1376" fmla="*/ 5733441 w 5794893"/>
              <a:gd name="connsiteY1376" fmla="*/ 3426596 h 6858000"/>
              <a:gd name="connsiteX1377" fmla="*/ 3712910 w 5794893"/>
              <a:gd name="connsiteY1377" fmla="*/ 3426596 h 6858000"/>
              <a:gd name="connsiteX1378" fmla="*/ 3712910 w 5794893"/>
              <a:gd name="connsiteY1378" fmla="*/ 3427825 h 6858000"/>
              <a:gd name="connsiteX1379" fmla="*/ 3594923 w 5794893"/>
              <a:gd name="connsiteY1379" fmla="*/ 3425367 h 6858000"/>
              <a:gd name="connsiteX1380" fmla="*/ 3594923 w 5794893"/>
              <a:gd name="connsiteY1380" fmla="*/ 3429054 h 6858000"/>
              <a:gd name="connsiteX1381" fmla="*/ 3476936 w 5794893"/>
              <a:gd name="connsiteY1381" fmla="*/ 3425367 h 6858000"/>
              <a:gd name="connsiteX1382" fmla="*/ 3476936 w 5794893"/>
              <a:gd name="connsiteY1382" fmla="*/ 3431513 h 6858000"/>
              <a:gd name="connsiteX1383" fmla="*/ 3358948 w 5794893"/>
              <a:gd name="connsiteY1383" fmla="*/ 3425367 h 6858000"/>
              <a:gd name="connsiteX1384" fmla="*/ 3358948 w 5794893"/>
              <a:gd name="connsiteY1384" fmla="*/ 3433971 h 6858000"/>
              <a:gd name="connsiteX1385" fmla="*/ 3240961 w 5794893"/>
              <a:gd name="connsiteY1385" fmla="*/ 3425367 h 6858000"/>
              <a:gd name="connsiteX1386" fmla="*/ 3240961 w 5794893"/>
              <a:gd name="connsiteY1386" fmla="*/ 3436429 h 6858000"/>
              <a:gd name="connsiteX1387" fmla="*/ 3122974 w 5794893"/>
              <a:gd name="connsiteY1387" fmla="*/ 3425367 h 6858000"/>
              <a:gd name="connsiteX1388" fmla="*/ 3121746 w 5794893"/>
              <a:gd name="connsiteY1388" fmla="*/ 3440115 h 6858000"/>
              <a:gd name="connsiteX1389" fmla="*/ 3003758 w 5794893"/>
              <a:gd name="connsiteY1389" fmla="*/ 3425367 h 6858000"/>
              <a:gd name="connsiteX1390" fmla="*/ 3002529 w 5794893"/>
              <a:gd name="connsiteY1390" fmla="*/ 3442573 h 6858000"/>
              <a:gd name="connsiteX1391" fmla="*/ 2885771 w 5794893"/>
              <a:gd name="connsiteY1391" fmla="*/ 3425367 h 6858000"/>
              <a:gd name="connsiteX1392" fmla="*/ 2883313 w 5794893"/>
              <a:gd name="connsiteY1392" fmla="*/ 3446261 h 6858000"/>
              <a:gd name="connsiteX1393" fmla="*/ 2767784 w 5794893"/>
              <a:gd name="connsiteY1393" fmla="*/ 3425367 h 6858000"/>
              <a:gd name="connsiteX1394" fmla="*/ 2764096 w 5794893"/>
              <a:gd name="connsiteY1394" fmla="*/ 3449947 h 6858000"/>
              <a:gd name="connsiteX1395" fmla="*/ 2649797 w 5794893"/>
              <a:gd name="connsiteY1395" fmla="*/ 3425367 h 6858000"/>
              <a:gd name="connsiteX1396" fmla="*/ 2644881 w 5794893"/>
              <a:gd name="connsiteY1396" fmla="*/ 3452405 h 6858000"/>
              <a:gd name="connsiteX1397" fmla="*/ 2531809 w 5794893"/>
              <a:gd name="connsiteY1397" fmla="*/ 3425367 h 6858000"/>
              <a:gd name="connsiteX1398" fmla="*/ 2525664 w 5794893"/>
              <a:gd name="connsiteY1398" fmla="*/ 3457322 h 6858000"/>
              <a:gd name="connsiteX1399" fmla="*/ 2413822 w 5794893"/>
              <a:gd name="connsiteY1399" fmla="*/ 3425367 h 6858000"/>
              <a:gd name="connsiteX1400" fmla="*/ 2406448 w 5794893"/>
              <a:gd name="connsiteY1400" fmla="*/ 3461009 h 6858000"/>
              <a:gd name="connsiteX1401" fmla="*/ 2295835 w 5794893"/>
              <a:gd name="connsiteY1401" fmla="*/ 3425367 h 6858000"/>
              <a:gd name="connsiteX1402" fmla="*/ 2286003 w 5794893"/>
              <a:gd name="connsiteY1402" fmla="*/ 3464696 h 6858000"/>
              <a:gd name="connsiteX1403" fmla="*/ 2177848 w 5794893"/>
              <a:gd name="connsiteY1403" fmla="*/ 3425367 h 6858000"/>
              <a:gd name="connsiteX1404" fmla="*/ 2165557 w 5794893"/>
              <a:gd name="connsiteY1404" fmla="*/ 3469612 h 6858000"/>
              <a:gd name="connsiteX1405" fmla="*/ 2059860 w 5794893"/>
              <a:gd name="connsiteY1405" fmla="*/ 3425367 h 6858000"/>
              <a:gd name="connsiteX1406" fmla="*/ 2043882 w 5794893"/>
              <a:gd name="connsiteY1406" fmla="*/ 3474528 h 6858000"/>
              <a:gd name="connsiteX1407" fmla="*/ 1941873 w 5794893"/>
              <a:gd name="connsiteY1407" fmla="*/ 3425367 h 6858000"/>
              <a:gd name="connsiteX1408" fmla="*/ 1922209 w 5794893"/>
              <a:gd name="connsiteY1408" fmla="*/ 3478216 h 6858000"/>
              <a:gd name="connsiteX1409" fmla="*/ 1823886 w 5794893"/>
              <a:gd name="connsiteY1409" fmla="*/ 3425367 h 6858000"/>
              <a:gd name="connsiteX1410" fmla="*/ 1799305 w 5794893"/>
              <a:gd name="connsiteY1410" fmla="*/ 3483132 h 6858000"/>
              <a:gd name="connsiteX1411" fmla="*/ 1705899 w 5794893"/>
              <a:gd name="connsiteY1411" fmla="*/ 3425367 h 6858000"/>
              <a:gd name="connsiteX1412" fmla="*/ 1676402 w 5794893"/>
              <a:gd name="connsiteY1412" fmla="*/ 3488048 h 6858000"/>
              <a:gd name="connsiteX1413" fmla="*/ 1587912 w 5794893"/>
              <a:gd name="connsiteY1413" fmla="*/ 3425367 h 6858000"/>
              <a:gd name="connsiteX1414" fmla="*/ 1555303 w 5794893"/>
              <a:gd name="connsiteY1414" fmla="*/ 3483837 h 6858000"/>
              <a:gd name="connsiteX1415" fmla="*/ 1476069 w 5794893"/>
              <a:gd name="connsiteY1415" fmla="*/ 3420451 h 6858000"/>
              <a:gd name="connsiteX1416" fmla="*/ 1439198 w 5794893"/>
              <a:gd name="connsiteY1416" fmla="*/ 3479444 h 6858000"/>
              <a:gd name="connsiteX1417" fmla="*/ 1555957 w 5794893"/>
              <a:gd name="connsiteY1417" fmla="*/ 3572851 h 6858000"/>
              <a:gd name="connsiteX1418" fmla="*/ 1591188 w 5794893"/>
              <a:gd name="connsiteY1418" fmla="*/ 3516482 h 6858000"/>
              <a:gd name="connsiteX1419" fmla="*/ 1678860 w 5794893"/>
              <a:gd name="connsiteY1419" fmla="*/ 3577767 h 6858000"/>
              <a:gd name="connsiteX1420" fmla="*/ 1712043 w 5794893"/>
              <a:gd name="connsiteY1420" fmla="*/ 3517545 h 6858000"/>
              <a:gd name="connsiteX1421" fmla="*/ 1809138 w 5794893"/>
              <a:gd name="connsiteY1421" fmla="*/ 3577767 h 6858000"/>
              <a:gd name="connsiteX1422" fmla="*/ 1836176 w 5794893"/>
              <a:gd name="connsiteY1422" fmla="*/ 3522461 h 6858000"/>
              <a:gd name="connsiteX1423" fmla="*/ 1939415 w 5794893"/>
              <a:gd name="connsiteY1423" fmla="*/ 3577767 h 6858000"/>
              <a:gd name="connsiteX1424" fmla="*/ 1961538 w 5794893"/>
              <a:gd name="connsiteY1424" fmla="*/ 3526147 h 6858000"/>
              <a:gd name="connsiteX1425" fmla="*/ 2069693 w 5794893"/>
              <a:gd name="connsiteY1425" fmla="*/ 3577767 h 6858000"/>
              <a:gd name="connsiteX1426" fmla="*/ 2086899 w 5794893"/>
              <a:gd name="connsiteY1426" fmla="*/ 3531064 h 6858000"/>
              <a:gd name="connsiteX1427" fmla="*/ 2198741 w 5794893"/>
              <a:gd name="connsiteY1427" fmla="*/ 3577767 h 6858000"/>
              <a:gd name="connsiteX1428" fmla="*/ 2212261 w 5794893"/>
              <a:gd name="connsiteY1428" fmla="*/ 3534751 h 6858000"/>
              <a:gd name="connsiteX1429" fmla="*/ 2327790 w 5794893"/>
              <a:gd name="connsiteY1429" fmla="*/ 3577767 h 6858000"/>
              <a:gd name="connsiteX1430" fmla="*/ 2338851 w 5794893"/>
              <a:gd name="connsiteY1430" fmla="*/ 3539667 h 6858000"/>
              <a:gd name="connsiteX1431" fmla="*/ 2458067 w 5794893"/>
              <a:gd name="connsiteY1431" fmla="*/ 3577767 h 6858000"/>
              <a:gd name="connsiteX1432" fmla="*/ 2466670 w 5794893"/>
              <a:gd name="connsiteY1432" fmla="*/ 3543354 h 6858000"/>
              <a:gd name="connsiteX1433" fmla="*/ 2588345 w 5794893"/>
              <a:gd name="connsiteY1433" fmla="*/ 3577767 h 6858000"/>
              <a:gd name="connsiteX1434" fmla="*/ 2594490 w 5794893"/>
              <a:gd name="connsiteY1434" fmla="*/ 3548270 h 6858000"/>
              <a:gd name="connsiteX1435" fmla="*/ 2717393 w 5794893"/>
              <a:gd name="connsiteY1435" fmla="*/ 3577767 h 6858000"/>
              <a:gd name="connsiteX1436" fmla="*/ 2722309 w 5794893"/>
              <a:gd name="connsiteY1436" fmla="*/ 3551958 h 6858000"/>
              <a:gd name="connsiteX1437" fmla="*/ 2847670 w 5794893"/>
              <a:gd name="connsiteY1437" fmla="*/ 3577767 h 6858000"/>
              <a:gd name="connsiteX1438" fmla="*/ 2851358 w 5794893"/>
              <a:gd name="connsiteY1438" fmla="*/ 3555644 h 6858000"/>
              <a:gd name="connsiteX1439" fmla="*/ 2977948 w 5794893"/>
              <a:gd name="connsiteY1439" fmla="*/ 3577767 h 6858000"/>
              <a:gd name="connsiteX1440" fmla="*/ 2980406 w 5794893"/>
              <a:gd name="connsiteY1440" fmla="*/ 3559332 h 6858000"/>
              <a:gd name="connsiteX1441" fmla="*/ 3106997 w 5794893"/>
              <a:gd name="connsiteY1441" fmla="*/ 3577767 h 6858000"/>
              <a:gd name="connsiteX1442" fmla="*/ 3108226 w 5794893"/>
              <a:gd name="connsiteY1442" fmla="*/ 3561790 h 6858000"/>
              <a:gd name="connsiteX1443" fmla="*/ 3236045 w 5794893"/>
              <a:gd name="connsiteY1443" fmla="*/ 3577767 h 6858000"/>
              <a:gd name="connsiteX1444" fmla="*/ 3237275 w 5794893"/>
              <a:gd name="connsiteY1444" fmla="*/ 3565477 h 6858000"/>
              <a:gd name="connsiteX1445" fmla="*/ 3366323 w 5794893"/>
              <a:gd name="connsiteY1445" fmla="*/ 3577767 h 6858000"/>
              <a:gd name="connsiteX1446" fmla="*/ 3367552 w 5794893"/>
              <a:gd name="connsiteY1446" fmla="*/ 3567935 h 6858000"/>
              <a:gd name="connsiteX1447" fmla="*/ 3496600 w 5794893"/>
              <a:gd name="connsiteY1447" fmla="*/ 3577767 h 6858000"/>
              <a:gd name="connsiteX1448" fmla="*/ 3496600 w 5794893"/>
              <a:gd name="connsiteY1448" fmla="*/ 3570393 h 6858000"/>
              <a:gd name="connsiteX1449" fmla="*/ 3625649 w 5794893"/>
              <a:gd name="connsiteY1449" fmla="*/ 3577767 h 6858000"/>
              <a:gd name="connsiteX1450" fmla="*/ 3625649 w 5794893"/>
              <a:gd name="connsiteY1450" fmla="*/ 3572851 h 6858000"/>
              <a:gd name="connsiteX1451" fmla="*/ 3634252 w 5794893"/>
              <a:gd name="connsiteY1451" fmla="*/ 3572851 h 6858000"/>
              <a:gd name="connsiteX1452" fmla="*/ 3714140 w 5794893"/>
              <a:gd name="connsiteY1452" fmla="*/ 3575309 h 6858000"/>
              <a:gd name="connsiteX1453" fmla="*/ 3714140 w 5794893"/>
              <a:gd name="connsiteY1453" fmla="*/ 3576538 h 6858000"/>
              <a:gd name="connsiteX1454" fmla="*/ 5530652 w 5794893"/>
              <a:gd name="connsiteY1454" fmla="*/ 3610951 h 6858000"/>
              <a:gd name="connsiteX1455" fmla="*/ 3715368 w 5794893"/>
              <a:gd name="connsiteY1455" fmla="*/ 3610951 h 6858000"/>
              <a:gd name="connsiteX1456" fmla="*/ 3715368 w 5794893"/>
              <a:gd name="connsiteY1456" fmla="*/ 3613409 h 6858000"/>
              <a:gd name="connsiteX1457" fmla="*/ 3597381 w 5794893"/>
              <a:gd name="connsiteY1457" fmla="*/ 3610951 h 6858000"/>
              <a:gd name="connsiteX1458" fmla="*/ 3597381 w 5794893"/>
              <a:gd name="connsiteY1458" fmla="*/ 3614638 h 6858000"/>
              <a:gd name="connsiteX1459" fmla="*/ 3479394 w 5794893"/>
              <a:gd name="connsiteY1459" fmla="*/ 3610951 h 6858000"/>
              <a:gd name="connsiteX1460" fmla="*/ 3479394 w 5794893"/>
              <a:gd name="connsiteY1460" fmla="*/ 3617096 h 6858000"/>
              <a:gd name="connsiteX1461" fmla="*/ 3361406 w 5794893"/>
              <a:gd name="connsiteY1461" fmla="*/ 3610951 h 6858000"/>
              <a:gd name="connsiteX1462" fmla="*/ 3361406 w 5794893"/>
              <a:gd name="connsiteY1462" fmla="*/ 3619554 h 6858000"/>
              <a:gd name="connsiteX1463" fmla="*/ 3243419 w 5794893"/>
              <a:gd name="connsiteY1463" fmla="*/ 3610951 h 6858000"/>
              <a:gd name="connsiteX1464" fmla="*/ 3243419 w 5794893"/>
              <a:gd name="connsiteY1464" fmla="*/ 3622012 h 6858000"/>
              <a:gd name="connsiteX1465" fmla="*/ 3125432 w 5794893"/>
              <a:gd name="connsiteY1465" fmla="*/ 3610951 h 6858000"/>
              <a:gd name="connsiteX1466" fmla="*/ 3124204 w 5794893"/>
              <a:gd name="connsiteY1466" fmla="*/ 3625700 h 6858000"/>
              <a:gd name="connsiteX1467" fmla="*/ 3006216 w 5794893"/>
              <a:gd name="connsiteY1467" fmla="*/ 3610951 h 6858000"/>
              <a:gd name="connsiteX1468" fmla="*/ 3004987 w 5794893"/>
              <a:gd name="connsiteY1468" fmla="*/ 3628158 h 6858000"/>
              <a:gd name="connsiteX1469" fmla="*/ 2888229 w 5794893"/>
              <a:gd name="connsiteY1469" fmla="*/ 3610951 h 6858000"/>
              <a:gd name="connsiteX1470" fmla="*/ 2885771 w 5794893"/>
              <a:gd name="connsiteY1470" fmla="*/ 3631844 h 6858000"/>
              <a:gd name="connsiteX1471" fmla="*/ 2770242 w 5794893"/>
              <a:gd name="connsiteY1471" fmla="*/ 3610951 h 6858000"/>
              <a:gd name="connsiteX1472" fmla="*/ 2766554 w 5794893"/>
              <a:gd name="connsiteY1472" fmla="*/ 3635532 h 6858000"/>
              <a:gd name="connsiteX1473" fmla="*/ 2652255 w 5794893"/>
              <a:gd name="connsiteY1473" fmla="*/ 3610951 h 6858000"/>
              <a:gd name="connsiteX1474" fmla="*/ 2647339 w 5794893"/>
              <a:gd name="connsiteY1474" fmla="*/ 3637990 h 6858000"/>
              <a:gd name="connsiteX1475" fmla="*/ 2534268 w 5794893"/>
              <a:gd name="connsiteY1475" fmla="*/ 3610951 h 6858000"/>
              <a:gd name="connsiteX1476" fmla="*/ 2528122 w 5794893"/>
              <a:gd name="connsiteY1476" fmla="*/ 3642906 h 6858000"/>
              <a:gd name="connsiteX1477" fmla="*/ 2416280 w 5794893"/>
              <a:gd name="connsiteY1477" fmla="*/ 3610951 h 6858000"/>
              <a:gd name="connsiteX1478" fmla="*/ 2408906 w 5794893"/>
              <a:gd name="connsiteY1478" fmla="*/ 3646593 h 6858000"/>
              <a:gd name="connsiteX1479" fmla="*/ 2298293 w 5794893"/>
              <a:gd name="connsiteY1479" fmla="*/ 3610951 h 6858000"/>
              <a:gd name="connsiteX1480" fmla="*/ 2288461 w 5794893"/>
              <a:gd name="connsiteY1480" fmla="*/ 3650280 h 6858000"/>
              <a:gd name="connsiteX1481" fmla="*/ 2180306 w 5794893"/>
              <a:gd name="connsiteY1481" fmla="*/ 3610951 h 6858000"/>
              <a:gd name="connsiteX1482" fmla="*/ 2168015 w 5794893"/>
              <a:gd name="connsiteY1482" fmla="*/ 3655197 h 6858000"/>
              <a:gd name="connsiteX1483" fmla="*/ 2062319 w 5794893"/>
              <a:gd name="connsiteY1483" fmla="*/ 3610951 h 6858000"/>
              <a:gd name="connsiteX1484" fmla="*/ 2046340 w 5794893"/>
              <a:gd name="connsiteY1484" fmla="*/ 3660113 h 6858000"/>
              <a:gd name="connsiteX1485" fmla="*/ 1944331 w 5794893"/>
              <a:gd name="connsiteY1485" fmla="*/ 3610951 h 6858000"/>
              <a:gd name="connsiteX1486" fmla="*/ 1924667 w 5794893"/>
              <a:gd name="connsiteY1486" fmla="*/ 3663799 h 6858000"/>
              <a:gd name="connsiteX1487" fmla="*/ 1826344 w 5794893"/>
              <a:gd name="connsiteY1487" fmla="*/ 3610951 h 6858000"/>
              <a:gd name="connsiteX1488" fmla="*/ 1801763 w 5794893"/>
              <a:gd name="connsiteY1488" fmla="*/ 3668715 h 6858000"/>
              <a:gd name="connsiteX1489" fmla="*/ 1708357 w 5794893"/>
              <a:gd name="connsiteY1489" fmla="*/ 3610951 h 6858000"/>
              <a:gd name="connsiteX1490" fmla="*/ 1678860 w 5794893"/>
              <a:gd name="connsiteY1490" fmla="*/ 3673631 h 6858000"/>
              <a:gd name="connsiteX1491" fmla="*/ 1590370 w 5794893"/>
              <a:gd name="connsiteY1491" fmla="*/ 3610951 h 6858000"/>
              <a:gd name="connsiteX1492" fmla="*/ 1556054 w 5794893"/>
              <a:gd name="connsiteY1492" fmla="*/ 3672481 h 6858000"/>
              <a:gd name="connsiteX1493" fmla="*/ 1476069 w 5794893"/>
              <a:gd name="connsiteY1493" fmla="*/ 3608493 h 6858000"/>
              <a:gd name="connsiteX1494" fmla="*/ 1439198 w 5794893"/>
              <a:gd name="connsiteY1494" fmla="*/ 3667487 h 6858000"/>
              <a:gd name="connsiteX1495" fmla="*/ 1555957 w 5794893"/>
              <a:gd name="connsiteY1495" fmla="*/ 3760894 h 6858000"/>
              <a:gd name="connsiteX1496" fmla="*/ 1592828 w 5794893"/>
              <a:gd name="connsiteY1496" fmla="*/ 3701900 h 6858000"/>
              <a:gd name="connsiteX1497" fmla="*/ 1588815 w 5794893"/>
              <a:gd name="connsiteY1497" fmla="*/ 3698689 h 6858000"/>
              <a:gd name="connsiteX1498" fmla="*/ 1681318 w 5794893"/>
              <a:gd name="connsiteY1498" fmla="*/ 3763352 h 6858000"/>
              <a:gd name="connsiteX1499" fmla="*/ 1714501 w 5794893"/>
              <a:gd name="connsiteY1499" fmla="*/ 3703128 h 6858000"/>
              <a:gd name="connsiteX1500" fmla="*/ 1811596 w 5794893"/>
              <a:gd name="connsiteY1500" fmla="*/ 3763352 h 6858000"/>
              <a:gd name="connsiteX1501" fmla="*/ 1838634 w 5794893"/>
              <a:gd name="connsiteY1501" fmla="*/ 3708044 h 6858000"/>
              <a:gd name="connsiteX1502" fmla="*/ 1941873 w 5794893"/>
              <a:gd name="connsiteY1502" fmla="*/ 3763352 h 6858000"/>
              <a:gd name="connsiteX1503" fmla="*/ 1963996 w 5794893"/>
              <a:gd name="connsiteY1503" fmla="*/ 3711732 h 6858000"/>
              <a:gd name="connsiteX1504" fmla="*/ 2072151 w 5794893"/>
              <a:gd name="connsiteY1504" fmla="*/ 3763352 h 6858000"/>
              <a:gd name="connsiteX1505" fmla="*/ 2089357 w 5794893"/>
              <a:gd name="connsiteY1505" fmla="*/ 3716648 h 6858000"/>
              <a:gd name="connsiteX1506" fmla="*/ 2201199 w 5794893"/>
              <a:gd name="connsiteY1506" fmla="*/ 3763352 h 6858000"/>
              <a:gd name="connsiteX1507" fmla="*/ 2214719 w 5794893"/>
              <a:gd name="connsiteY1507" fmla="*/ 3720335 h 6858000"/>
              <a:gd name="connsiteX1508" fmla="*/ 2330248 w 5794893"/>
              <a:gd name="connsiteY1508" fmla="*/ 3763352 h 6858000"/>
              <a:gd name="connsiteX1509" fmla="*/ 2341309 w 5794893"/>
              <a:gd name="connsiteY1509" fmla="*/ 3725251 h 6858000"/>
              <a:gd name="connsiteX1510" fmla="*/ 2460525 w 5794893"/>
              <a:gd name="connsiteY1510" fmla="*/ 3763352 h 6858000"/>
              <a:gd name="connsiteX1511" fmla="*/ 2469128 w 5794893"/>
              <a:gd name="connsiteY1511" fmla="*/ 3728939 h 6858000"/>
              <a:gd name="connsiteX1512" fmla="*/ 2590803 w 5794893"/>
              <a:gd name="connsiteY1512" fmla="*/ 3763352 h 6858000"/>
              <a:gd name="connsiteX1513" fmla="*/ 2596948 w 5794893"/>
              <a:gd name="connsiteY1513" fmla="*/ 3733855 h 6858000"/>
              <a:gd name="connsiteX1514" fmla="*/ 2719851 w 5794893"/>
              <a:gd name="connsiteY1514" fmla="*/ 3763352 h 6858000"/>
              <a:gd name="connsiteX1515" fmla="*/ 2724767 w 5794893"/>
              <a:gd name="connsiteY1515" fmla="*/ 3737541 h 6858000"/>
              <a:gd name="connsiteX1516" fmla="*/ 2850129 w 5794893"/>
              <a:gd name="connsiteY1516" fmla="*/ 3763352 h 6858000"/>
              <a:gd name="connsiteX1517" fmla="*/ 2853816 w 5794893"/>
              <a:gd name="connsiteY1517" fmla="*/ 3741229 h 6858000"/>
              <a:gd name="connsiteX1518" fmla="*/ 2980406 w 5794893"/>
              <a:gd name="connsiteY1518" fmla="*/ 3763352 h 6858000"/>
              <a:gd name="connsiteX1519" fmla="*/ 2982864 w 5794893"/>
              <a:gd name="connsiteY1519" fmla="*/ 3744915 h 6858000"/>
              <a:gd name="connsiteX1520" fmla="*/ 3109455 w 5794893"/>
              <a:gd name="connsiteY1520" fmla="*/ 3763352 h 6858000"/>
              <a:gd name="connsiteX1521" fmla="*/ 3110684 w 5794893"/>
              <a:gd name="connsiteY1521" fmla="*/ 3747373 h 6858000"/>
              <a:gd name="connsiteX1522" fmla="*/ 3238503 w 5794893"/>
              <a:gd name="connsiteY1522" fmla="*/ 3763352 h 6858000"/>
              <a:gd name="connsiteX1523" fmla="*/ 3239733 w 5794893"/>
              <a:gd name="connsiteY1523" fmla="*/ 3751061 h 6858000"/>
              <a:gd name="connsiteX1524" fmla="*/ 3368781 w 5794893"/>
              <a:gd name="connsiteY1524" fmla="*/ 3763352 h 6858000"/>
              <a:gd name="connsiteX1525" fmla="*/ 3370010 w 5794893"/>
              <a:gd name="connsiteY1525" fmla="*/ 3753519 h 6858000"/>
              <a:gd name="connsiteX1526" fmla="*/ 3499058 w 5794893"/>
              <a:gd name="connsiteY1526" fmla="*/ 3763352 h 6858000"/>
              <a:gd name="connsiteX1527" fmla="*/ 3499058 w 5794893"/>
              <a:gd name="connsiteY1527" fmla="*/ 3755977 h 6858000"/>
              <a:gd name="connsiteX1528" fmla="*/ 3628107 w 5794893"/>
              <a:gd name="connsiteY1528" fmla="*/ 3763352 h 6858000"/>
              <a:gd name="connsiteX1529" fmla="*/ 3628107 w 5794893"/>
              <a:gd name="connsiteY1529" fmla="*/ 3759664 h 6858000"/>
              <a:gd name="connsiteX1530" fmla="*/ 3636710 w 5794893"/>
              <a:gd name="connsiteY1530" fmla="*/ 3759664 h 6858000"/>
              <a:gd name="connsiteX1531" fmla="*/ 3716598 w 5794893"/>
              <a:gd name="connsiteY1531" fmla="*/ 3762122 h 6858000"/>
              <a:gd name="connsiteX1532" fmla="*/ 3716598 w 5794893"/>
              <a:gd name="connsiteY1532" fmla="*/ 3763352 h 6858000"/>
              <a:gd name="connsiteX1533" fmla="*/ 5577355 w 5794893"/>
              <a:gd name="connsiteY1533" fmla="*/ 3802681 h 6858000"/>
              <a:gd name="connsiteX1534" fmla="*/ 3716598 w 5794893"/>
              <a:gd name="connsiteY1534" fmla="*/ 3802681 h 6858000"/>
              <a:gd name="connsiteX1535" fmla="*/ 3717826 w 5794893"/>
              <a:gd name="connsiteY1535" fmla="*/ 3805139 h 6858000"/>
              <a:gd name="connsiteX1536" fmla="*/ 3599839 w 5794893"/>
              <a:gd name="connsiteY1536" fmla="*/ 3802681 h 6858000"/>
              <a:gd name="connsiteX1537" fmla="*/ 3599839 w 5794893"/>
              <a:gd name="connsiteY1537" fmla="*/ 3806367 h 6858000"/>
              <a:gd name="connsiteX1538" fmla="*/ 3481852 w 5794893"/>
              <a:gd name="connsiteY1538" fmla="*/ 3802681 h 6858000"/>
              <a:gd name="connsiteX1539" fmla="*/ 3481852 w 5794893"/>
              <a:gd name="connsiteY1539" fmla="*/ 3808825 h 6858000"/>
              <a:gd name="connsiteX1540" fmla="*/ 3363865 w 5794893"/>
              <a:gd name="connsiteY1540" fmla="*/ 3802681 h 6858000"/>
              <a:gd name="connsiteX1541" fmla="*/ 3363865 w 5794893"/>
              <a:gd name="connsiteY1541" fmla="*/ 3811283 h 6858000"/>
              <a:gd name="connsiteX1542" fmla="*/ 3245877 w 5794893"/>
              <a:gd name="connsiteY1542" fmla="*/ 3802681 h 6858000"/>
              <a:gd name="connsiteX1543" fmla="*/ 3245877 w 5794893"/>
              <a:gd name="connsiteY1543" fmla="*/ 3813741 h 6858000"/>
              <a:gd name="connsiteX1544" fmla="*/ 3127890 w 5794893"/>
              <a:gd name="connsiteY1544" fmla="*/ 3802681 h 6858000"/>
              <a:gd name="connsiteX1545" fmla="*/ 3126662 w 5794893"/>
              <a:gd name="connsiteY1545" fmla="*/ 3817429 h 6858000"/>
              <a:gd name="connsiteX1546" fmla="*/ 3008674 w 5794893"/>
              <a:gd name="connsiteY1546" fmla="*/ 3802681 h 6858000"/>
              <a:gd name="connsiteX1547" fmla="*/ 3007445 w 5794893"/>
              <a:gd name="connsiteY1547" fmla="*/ 3819887 h 6858000"/>
              <a:gd name="connsiteX1548" fmla="*/ 2890687 w 5794893"/>
              <a:gd name="connsiteY1548" fmla="*/ 3802681 h 6858000"/>
              <a:gd name="connsiteX1549" fmla="*/ 2888229 w 5794893"/>
              <a:gd name="connsiteY1549" fmla="*/ 3823574 h 6858000"/>
              <a:gd name="connsiteX1550" fmla="*/ 2772700 w 5794893"/>
              <a:gd name="connsiteY1550" fmla="*/ 3802681 h 6858000"/>
              <a:gd name="connsiteX1551" fmla="*/ 2769012 w 5794893"/>
              <a:gd name="connsiteY1551" fmla="*/ 3826032 h 6858000"/>
              <a:gd name="connsiteX1552" fmla="*/ 2654713 w 5794893"/>
              <a:gd name="connsiteY1552" fmla="*/ 3802681 h 6858000"/>
              <a:gd name="connsiteX1553" fmla="*/ 2649797 w 5794893"/>
              <a:gd name="connsiteY1553" fmla="*/ 3829719 h 6858000"/>
              <a:gd name="connsiteX1554" fmla="*/ 2536726 w 5794893"/>
              <a:gd name="connsiteY1554" fmla="*/ 3802681 h 6858000"/>
              <a:gd name="connsiteX1555" fmla="*/ 2530580 w 5794893"/>
              <a:gd name="connsiteY1555" fmla="*/ 3833406 h 6858000"/>
              <a:gd name="connsiteX1556" fmla="*/ 2418738 w 5794893"/>
              <a:gd name="connsiteY1556" fmla="*/ 3802681 h 6858000"/>
              <a:gd name="connsiteX1557" fmla="*/ 2411364 w 5794893"/>
              <a:gd name="connsiteY1557" fmla="*/ 3838322 h 6858000"/>
              <a:gd name="connsiteX1558" fmla="*/ 2300751 w 5794893"/>
              <a:gd name="connsiteY1558" fmla="*/ 3802681 h 6858000"/>
              <a:gd name="connsiteX1559" fmla="*/ 2290919 w 5794893"/>
              <a:gd name="connsiteY1559" fmla="*/ 3842010 h 6858000"/>
              <a:gd name="connsiteX1560" fmla="*/ 2182764 w 5794893"/>
              <a:gd name="connsiteY1560" fmla="*/ 3802681 h 6858000"/>
              <a:gd name="connsiteX1561" fmla="*/ 2170474 w 5794893"/>
              <a:gd name="connsiteY1561" fmla="*/ 3846926 h 6858000"/>
              <a:gd name="connsiteX1562" fmla="*/ 2064777 w 5794893"/>
              <a:gd name="connsiteY1562" fmla="*/ 3802681 h 6858000"/>
              <a:gd name="connsiteX1563" fmla="*/ 2048799 w 5794893"/>
              <a:gd name="connsiteY1563" fmla="*/ 3851842 h 6858000"/>
              <a:gd name="connsiteX1564" fmla="*/ 1946789 w 5794893"/>
              <a:gd name="connsiteY1564" fmla="*/ 3802681 h 6858000"/>
              <a:gd name="connsiteX1565" fmla="*/ 1927125 w 5794893"/>
              <a:gd name="connsiteY1565" fmla="*/ 3855528 h 6858000"/>
              <a:gd name="connsiteX1566" fmla="*/ 1828802 w 5794893"/>
              <a:gd name="connsiteY1566" fmla="*/ 3802681 h 6858000"/>
              <a:gd name="connsiteX1567" fmla="*/ 1804221 w 5794893"/>
              <a:gd name="connsiteY1567" fmla="*/ 3860445 h 6858000"/>
              <a:gd name="connsiteX1568" fmla="*/ 1710815 w 5794893"/>
              <a:gd name="connsiteY1568" fmla="*/ 3802681 h 6858000"/>
              <a:gd name="connsiteX1569" fmla="*/ 1681318 w 5794893"/>
              <a:gd name="connsiteY1569" fmla="*/ 3864132 h 6858000"/>
              <a:gd name="connsiteX1570" fmla="*/ 1592828 w 5794893"/>
              <a:gd name="connsiteY1570" fmla="*/ 3802681 h 6858000"/>
              <a:gd name="connsiteX1571" fmla="*/ 1557754 w 5794893"/>
              <a:gd name="connsiteY1571" fmla="*/ 3865570 h 6858000"/>
              <a:gd name="connsiteX1572" fmla="*/ 1476069 w 5794893"/>
              <a:gd name="connsiteY1572" fmla="*/ 3800223 h 6858000"/>
              <a:gd name="connsiteX1573" fmla="*/ 1439198 w 5794893"/>
              <a:gd name="connsiteY1573" fmla="*/ 3859216 h 6858000"/>
              <a:gd name="connsiteX1574" fmla="*/ 1555957 w 5794893"/>
              <a:gd name="connsiteY1574" fmla="*/ 3952623 h 6858000"/>
              <a:gd name="connsiteX1575" fmla="*/ 1592828 w 5794893"/>
              <a:gd name="connsiteY1575" fmla="*/ 3893629 h 6858000"/>
              <a:gd name="connsiteX1576" fmla="*/ 1571795 w 5794893"/>
              <a:gd name="connsiteY1576" fmla="*/ 3876803 h 6858000"/>
              <a:gd name="connsiteX1577" fmla="*/ 1683776 w 5794893"/>
              <a:gd name="connsiteY1577" fmla="*/ 3955081 h 6858000"/>
              <a:gd name="connsiteX1578" fmla="*/ 1716959 w 5794893"/>
              <a:gd name="connsiteY1578" fmla="*/ 3894858 h 6858000"/>
              <a:gd name="connsiteX1579" fmla="*/ 1814054 w 5794893"/>
              <a:gd name="connsiteY1579" fmla="*/ 3955081 h 6858000"/>
              <a:gd name="connsiteX1580" fmla="*/ 1841092 w 5794893"/>
              <a:gd name="connsiteY1580" fmla="*/ 3899774 h 6858000"/>
              <a:gd name="connsiteX1581" fmla="*/ 1944331 w 5794893"/>
              <a:gd name="connsiteY1581" fmla="*/ 3955081 h 6858000"/>
              <a:gd name="connsiteX1582" fmla="*/ 1966454 w 5794893"/>
              <a:gd name="connsiteY1582" fmla="*/ 3903461 h 6858000"/>
              <a:gd name="connsiteX1583" fmla="*/ 2074609 w 5794893"/>
              <a:gd name="connsiteY1583" fmla="*/ 3955081 h 6858000"/>
              <a:gd name="connsiteX1584" fmla="*/ 2091815 w 5794893"/>
              <a:gd name="connsiteY1584" fmla="*/ 3908378 h 6858000"/>
              <a:gd name="connsiteX1585" fmla="*/ 2203657 w 5794893"/>
              <a:gd name="connsiteY1585" fmla="*/ 3955081 h 6858000"/>
              <a:gd name="connsiteX1586" fmla="*/ 2217177 w 5794893"/>
              <a:gd name="connsiteY1586" fmla="*/ 3912064 h 6858000"/>
              <a:gd name="connsiteX1587" fmla="*/ 2332706 w 5794893"/>
              <a:gd name="connsiteY1587" fmla="*/ 3955081 h 6858000"/>
              <a:gd name="connsiteX1588" fmla="*/ 2343767 w 5794893"/>
              <a:gd name="connsiteY1588" fmla="*/ 3916980 h 6858000"/>
              <a:gd name="connsiteX1589" fmla="*/ 2462984 w 5794893"/>
              <a:gd name="connsiteY1589" fmla="*/ 3955081 h 6858000"/>
              <a:gd name="connsiteX1590" fmla="*/ 2471586 w 5794893"/>
              <a:gd name="connsiteY1590" fmla="*/ 3920668 h 6858000"/>
              <a:gd name="connsiteX1591" fmla="*/ 2593261 w 5794893"/>
              <a:gd name="connsiteY1591" fmla="*/ 3955081 h 6858000"/>
              <a:gd name="connsiteX1592" fmla="*/ 2599406 w 5794893"/>
              <a:gd name="connsiteY1592" fmla="*/ 3925584 h 6858000"/>
              <a:gd name="connsiteX1593" fmla="*/ 2722309 w 5794893"/>
              <a:gd name="connsiteY1593" fmla="*/ 3955081 h 6858000"/>
              <a:gd name="connsiteX1594" fmla="*/ 2727225 w 5794893"/>
              <a:gd name="connsiteY1594" fmla="*/ 3929270 h 6858000"/>
              <a:gd name="connsiteX1595" fmla="*/ 2851358 w 5794893"/>
              <a:gd name="connsiteY1595" fmla="*/ 3955081 h 6858000"/>
              <a:gd name="connsiteX1596" fmla="*/ 2855045 w 5794893"/>
              <a:gd name="connsiteY1596" fmla="*/ 3932958 h 6858000"/>
              <a:gd name="connsiteX1597" fmla="*/ 2981636 w 5794893"/>
              <a:gd name="connsiteY1597" fmla="*/ 3955081 h 6858000"/>
              <a:gd name="connsiteX1598" fmla="*/ 2984094 w 5794893"/>
              <a:gd name="connsiteY1598" fmla="*/ 3936645 h 6858000"/>
              <a:gd name="connsiteX1599" fmla="*/ 3110684 w 5794893"/>
              <a:gd name="connsiteY1599" fmla="*/ 3955081 h 6858000"/>
              <a:gd name="connsiteX1600" fmla="*/ 3111913 w 5794893"/>
              <a:gd name="connsiteY1600" fmla="*/ 3939103 h 6858000"/>
              <a:gd name="connsiteX1601" fmla="*/ 3239733 w 5794893"/>
              <a:gd name="connsiteY1601" fmla="*/ 3955081 h 6858000"/>
              <a:gd name="connsiteX1602" fmla="*/ 3240961 w 5794893"/>
              <a:gd name="connsiteY1602" fmla="*/ 3942790 h 6858000"/>
              <a:gd name="connsiteX1603" fmla="*/ 3370010 w 5794893"/>
              <a:gd name="connsiteY1603" fmla="*/ 3955081 h 6858000"/>
              <a:gd name="connsiteX1604" fmla="*/ 3371239 w 5794893"/>
              <a:gd name="connsiteY1604" fmla="*/ 3945249 h 6858000"/>
              <a:gd name="connsiteX1605" fmla="*/ 3500288 w 5794893"/>
              <a:gd name="connsiteY1605" fmla="*/ 3955081 h 6858000"/>
              <a:gd name="connsiteX1606" fmla="*/ 3500288 w 5794893"/>
              <a:gd name="connsiteY1606" fmla="*/ 3947707 h 6858000"/>
              <a:gd name="connsiteX1607" fmla="*/ 3629336 w 5794893"/>
              <a:gd name="connsiteY1607" fmla="*/ 3955081 h 6858000"/>
              <a:gd name="connsiteX1608" fmla="*/ 3629336 w 5794893"/>
              <a:gd name="connsiteY1608" fmla="*/ 3950165 h 6858000"/>
              <a:gd name="connsiteX1609" fmla="*/ 3637940 w 5794893"/>
              <a:gd name="connsiteY1609" fmla="*/ 3950165 h 6858000"/>
              <a:gd name="connsiteX1610" fmla="*/ 3717826 w 5794893"/>
              <a:gd name="connsiteY1610" fmla="*/ 3952623 h 6858000"/>
              <a:gd name="connsiteX1611" fmla="*/ 3717826 w 5794893"/>
              <a:gd name="connsiteY1611" fmla="*/ 3953851 h 6858000"/>
              <a:gd name="connsiteX1612" fmla="*/ 5794893 w 5794893"/>
              <a:gd name="connsiteY1612" fmla="*/ 3996868 h 6858000"/>
              <a:gd name="connsiteX1613" fmla="*/ 3719056 w 5794893"/>
              <a:gd name="connsiteY1613" fmla="*/ 3996868 h 6858000"/>
              <a:gd name="connsiteX1614" fmla="*/ 3719056 w 5794893"/>
              <a:gd name="connsiteY1614" fmla="*/ 3999326 h 6858000"/>
              <a:gd name="connsiteX1615" fmla="*/ 3601069 w 5794893"/>
              <a:gd name="connsiteY1615" fmla="*/ 3996868 h 6858000"/>
              <a:gd name="connsiteX1616" fmla="*/ 3601069 w 5794893"/>
              <a:gd name="connsiteY1616" fmla="*/ 4000554 h 6858000"/>
              <a:gd name="connsiteX1617" fmla="*/ 3483081 w 5794893"/>
              <a:gd name="connsiteY1617" fmla="*/ 3996868 h 6858000"/>
              <a:gd name="connsiteX1618" fmla="*/ 3483081 w 5794893"/>
              <a:gd name="connsiteY1618" fmla="*/ 4003012 h 6858000"/>
              <a:gd name="connsiteX1619" fmla="*/ 3365094 w 5794893"/>
              <a:gd name="connsiteY1619" fmla="*/ 3996868 h 6858000"/>
              <a:gd name="connsiteX1620" fmla="*/ 3365094 w 5794893"/>
              <a:gd name="connsiteY1620" fmla="*/ 4005471 h 6858000"/>
              <a:gd name="connsiteX1621" fmla="*/ 3247107 w 5794893"/>
              <a:gd name="connsiteY1621" fmla="*/ 3996868 h 6858000"/>
              <a:gd name="connsiteX1622" fmla="*/ 3247107 w 5794893"/>
              <a:gd name="connsiteY1622" fmla="*/ 4007929 h 6858000"/>
              <a:gd name="connsiteX1623" fmla="*/ 3129120 w 5794893"/>
              <a:gd name="connsiteY1623" fmla="*/ 3996868 h 6858000"/>
              <a:gd name="connsiteX1624" fmla="*/ 3127890 w 5794893"/>
              <a:gd name="connsiteY1624" fmla="*/ 4011616 h 6858000"/>
              <a:gd name="connsiteX1625" fmla="*/ 3009903 w 5794893"/>
              <a:gd name="connsiteY1625" fmla="*/ 3998096 h 6858000"/>
              <a:gd name="connsiteX1626" fmla="*/ 3008674 w 5794893"/>
              <a:gd name="connsiteY1626" fmla="*/ 4015303 h 6858000"/>
              <a:gd name="connsiteX1627" fmla="*/ 2891916 w 5794893"/>
              <a:gd name="connsiteY1627" fmla="*/ 3998096 h 6858000"/>
              <a:gd name="connsiteX1628" fmla="*/ 2889458 w 5794893"/>
              <a:gd name="connsiteY1628" fmla="*/ 4018991 h 6858000"/>
              <a:gd name="connsiteX1629" fmla="*/ 2773928 w 5794893"/>
              <a:gd name="connsiteY1629" fmla="*/ 3998096 h 6858000"/>
              <a:gd name="connsiteX1630" fmla="*/ 2770242 w 5794893"/>
              <a:gd name="connsiteY1630" fmla="*/ 4022677 h 6858000"/>
              <a:gd name="connsiteX1631" fmla="*/ 2655941 w 5794893"/>
              <a:gd name="connsiteY1631" fmla="*/ 3998096 h 6858000"/>
              <a:gd name="connsiteX1632" fmla="*/ 2651025 w 5794893"/>
              <a:gd name="connsiteY1632" fmla="*/ 4025135 h 6858000"/>
              <a:gd name="connsiteX1633" fmla="*/ 2537954 w 5794893"/>
              <a:gd name="connsiteY1633" fmla="*/ 3998096 h 6858000"/>
              <a:gd name="connsiteX1634" fmla="*/ 2531809 w 5794893"/>
              <a:gd name="connsiteY1634" fmla="*/ 4028823 h 6858000"/>
              <a:gd name="connsiteX1635" fmla="*/ 2419967 w 5794893"/>
              <a:gd name="connsiteY1635" fmla="*/ 3998096 h 6858000"/>
              <a:gd name="connsiteX1636" fmla="*/ 2412593 w 5794893"/>
              <a:gd name="connsiteY1636" fmla="*/ 4033739 h 6858000"/>
              <a:gd name="connsiteX1637" fmla="*/ 2301980 w 5794893"/>
              <a:gd name="connsiteY1637" fmla="*/ 3998096 h 6858000"/>
              <a:gd name="connsiteX1638" fmla="*/ 2292147 w 5794893"/>
              <a:gd name="connsiteY1638" fmla="*/ 4037425 h 6858000"/>
              <a:gd name="connsiteX1639" fmla="*/ 2183992 w 5794893"/>
              <a:gd name="connsiteY1639" fmla="*/ 3998096 h 6858000"/>
              <a:gd name="connsiteX1640" fmla="*/ 2171702 w 5794893"/>
              <a:gd name="connsiteY1640" fmla="*/ 4042342 h 6858000"/>
              <a:gd name="connsiteX1641" fmla="*/ 2066005 w 5794893"/>
              <a:gd name="connsiteY1641" fmla="*/ 3998096 h 6858000"/>
              <a:gd name="connsiteX1642" fmla="*/ 2050028 w 5794893"/>
              <a:gd name="connsiteY1642" fmla="*/ 4047258 h 6858000"/>
              <a:gd name="connsiteX1643" fmla="*/ 1948018 w 5794893"/>
              <a:gd name="connsiteY1643" fmla="*/ 3998096 h 6858000"/>
              <a:gd name="connsiteX1644" fmla="*/ 1928353 w 5794893"/>
              <a:gd name="connsiteY1644" fmla="*/ 4050945 h 6858000"/>
              <a:gd name="connsiteX1645" fmla="*/ 1830031 w 5794893"/>
              <a:gd name="connsiteY1645" fmla="*/ 3998096 h 6858000"/>
              <a:gd name="connsiteX1646" fmla="*/ 1805450 w 5794893"/>
              <a:gd name="connsiteY1646" fmla="*/ 4055862 h 6858000"/>
              <a:gd name="connsiteX1647" fmla="*/ 1712043 w 5794893"/>
              <a:gd name="connsiteY1647" fmla="*/ 3998096 h 6858000"/>
              <a:gd name="connsiteX1648" fmla="*/ 1682547 w 5794893"/>
              <a:gd name="connsiteY1648" fmla="*/ 4060778 h 6858000"/>
              <a:gd name="connsiteX1649" fmla="*/ 1594056 w 5794893"/>
              <a:gd name="connsiteY1649" fmla="*/ 3998096 h 6858000"/>
              <a:gd name="connsiteX1650" fmla="*/ 1559643 w 5794893"/>
              <a:gd name="connsiteY1650" fmla="*/ 4060778 h 6858000"/>
              <a:gd name="connsiteX1651" fmla="*/ 1476069 w 5794893"/>
              <a:gd name="connsiteY1651" fmla="*/ 3993180 h 6858000"/>
              <a:gd name="connsiteX1652" fmla="*/ 1439198 w 5794893"/>
              <a:gd name="connsiteY1652" fmla="*/ 4052174 h 6858000"/>
              <a:gd name="connsiteX1653" fmla="*/ 1441656 w 5794893"/>
              <a:gd name="connsiteY1653" fmla="*/ 4054632 h 6858000"/>
              <a:gd name="connsiteX1654" fmla="*/ 1440428 w 5794893"/>
              <a:gd name="connsiteY1654" fmla="*/ 4057090 h 6858000"/>
              <a:gd name="connsiteX1655" fmla="*/ 1557185 w 5794893"/>
              <a:gd name="connsiteY1655" fmla="*/ 4150497 h 6858000"/>
              <a:gd name="connsiteX1656" fmla="*/ 1594056 w 5794893"/>
              <a:gd name="connsiteY1656" fmla="*/ 4091503 h 6858000"/>
              <a:gd name="connsiteX1657" fmla="*/ 1591598 w 5794893"/>
              <a:gd name="connsiteY1657" fmla="*/ 4090275 h 6858000"/>
              <a:gd name="connsiteX1658" fmla="*/ 1592828 w 5794893"/>
              <a:gd name="connsiteY1658" fmla="*/ 4087816 h 6858000"/>
              <a:gd name="connsiteX1659" fmla="*/ 1580537 w 5794893"/>
              <a:gd name="connsiteY1659" fmla="*/ 4077984 h 6858000"/>
              <a:gd name="connsiteX1660" fmla="*/ 1686234 w 5794893"/>
              <a:gd name="connsiteY1660" fmla="*/ 4151726 h 6858000"/>
              <a:gd name="connsiteX1661" fmla="*/ 1719418 w 5794893"/>
              <a:gd name="connsiteY1661" fmla="*/ 4091503 h 6858000"/>
              <a:gd name="connsiteX1662" fmla="*/ 1816512 w 5794893"/>
              <a:gd name="connsiteY1662" fmla="*/ 4151726 h 6858000"/>
              <a:gd name="connsiteX1663" fmla="*/ 1843551 w 5794893"/>
              <a:gd name="connsiteY1663" fmla="*/ 4096419 h 6858000"/>
              <a:gd name="connsiteX1664" fmla="*/ 1946789 w 5794893"/>
              <a:gd name="connsiteY1664" fmla="*/ 4151726 h 6858000"/>
              <a:gd name="connsiteX1665" fmla="*/ 1968912 w 5794893"/>
              <a:gd name="connsiteY1665" fmla="*/ 4100107 h 6858000"/>
              <a:gd name="connsiteX1666" fmla="*/ 2077067 w 5794893"/>
              <a:gd name="connsiteY1666" fmla="*/ 4151726 h 6858000"/>
              <a:gd name="connsiteX1667" fmla="*/ 2094273 w 5794893"/>
              <a:gd name="connsiteY1667" fmla="*/ 4105023 h 6858000"/>
              <a:gd name="connsiteX1668" fmla="*/ 2206115 w 5794893"/>
              <a:gd name="connsiteY1668" fmla="*/ 4151726 h 6858000"/>
              <a:gd name="connsiteX1669" fmla="*/ 2219635 w 5794893"/>
              <a:gd name="connsiteY1669" fmla="*/ 4108709 h 6858000"/>
              <a:gd name="connsiteX1670" fmla="*/ 2335164 w 5794893"/>
              <a:gd name="connsiteY1670" fmla="*/ 4151726 h 6858000"/>
              <a:gd name="connsiteX1671" fmla="*/ 2346225 w 5794893"/>
              <a:gd name="connsiteY1671" fmla="*/ 4113625 h 6858000"/>
              <a:gd name="connsiteX1672" fmla="*/ 2465442 w 5794893"/>
              <a:gd name="connsiteY1672" fmla="*/ 4151726 h 6858000"/>
              <a:gd name="connsiteX1673" fmla="*/ 2474044 w 5794893"/>
              <a:gd name="connsiteY1673" fmla="*/ 4117313 h 6858000"/>
              <a:gd name="connsiteX1674" fmla="*/ 2595719 w 5794893"/>
              <a:gd name="connsiteY1674" fmla="*/ 4151726 h 6858000"/>
              <a:gd name="connsiteX1675" fmla="*/ 2601864 w 5794893"/>
              <a:gd name="connsiteY1675" fmla="*/ 4122229 h 6858000"/>
              <a:gd name="connsiteX1676" fmla="*/ 2724767 w 5794893"/>
              <a:gd name="connsiteY1676" fmla="*/ 4151726 h 6858000"/>
              <a:gd name="connsiteX1677" fmla="*/ 2729683 w 5794893"/>
              <a:gd name="connsiteY1677" fmla="*/ 4125916 h 6858000"/>
              <a:gd name="connsiteX1678" fmla="*/ 2853816 w 5794893"/>
              <a:gd name="connsiteY1678" fmla="*/ 4151726 h 6858000"/>
              <a:gd name="connsiteX1679" fmla="*/ 2857503 w 5794893"/>
              <a:gd name="connsiteY1679" fmla="*/ 4129604 h 6858000"/>
              <a:gd name="connsiteX1680" fmla="*/ 2984094 w 5794893"/>
              <a:gd name="connsiteY1680" fmla="*/ 4151726 h 6858000"/>
              <a:gd name="connsiteX1681" fmla="*/ 2986552 w 5794893"/>
              <a:gd name="connsiteY1681" fmla="*/ 4133290 h 6858000"/>
              <a:gd name="connsiteX1682" fmla="*/ 3113142 w 5794893"/>
              <a:gd name="connsiteY1682" fmla="*/ 4151726 h 6858000"/>
              <a:gd name="connsiteX1683" fmla="*/ 3114371 w 5794893"/>
              <a:gd name="connsiteY1683" fmla="*/ 4135748 h 6858000"/>
              <a:gd name="connsiteX1684" fmla="*/ 3242191 w 5794893"/>
              <a:gd name="connsiteY1684" fmla="*/ 4151726 h 6858000"/>
              <a:gd name="connsiteX1685" fmla="*/ 3243419 w 5794893"/>
              <a:gd name="connsiteY1685" fmla="*/ 4139436 h 6858000"/>
              <a:gd name="connsiteX1686" fmla="*/ 3372468 w 5794893"/>
              <a:gd name="connsiteY1686" fmla="*/ 4151726 h 6858000"/>
              <a:gd name="connsiteX1687" fmla="*/ 3373697 w 5794893"/>
              <a:gd name="connsiteY1687" fmla="*/ 4141894 h 6858000"/>
              <a:gd name="connsiteX1688" fmla="*/ 3502746 w 5794893"/>
              <a:gd name="connsiteY1688" fmla="*/ 4151726 h 6858000"/>
              <a:gd name="connsiteX1689" fmla="*/ 3502746 w 5794893"/>
              <a:gd name="connsiteY1689" fmla="*/ 4144352 h 6858000"/>
              <a:gd name="connsiteX1690" fmla="*/ 3631794 w 5794893"/>
              <a:gd name="connsiteY1690" fmla="*/ 4151726 h 6858000"/>
              <a:gd name="connsiteX1691" fmla="*/ 3631794 w 5794893"/>
              <a:gd name="connsiteY1691" fmla="*/ 4146810 h 6858000"/>
              <a:gd name="connsiteX1692" fmla="*/ 3640398 w 5794893"/>
              <a:gd name="connsiteY1692" fmla="*/ 4146810 h 6858000"/>
              <a:gd name="connsiteX1693" fmla="*/ 3720284 w 5794893"/>
              <a:gd name="connsiteY1693" fmla="*/ 4149268 h 6858000"/>
              <a:gd name="connsiteX1694" fmla="*/ 3720284 w 5794893"/>
              <a:gd name="connsiteY1694" fmla="*/ 4150497 h 6858000"/>
              <a:gd name="connsiteX1695" fmla="*/ 5696570 w 5794893"/>
              <a:gd name="connsiteY1695" fmla="*/ 4195972 h 6858000"/>
              <a:gd name="connsiteX1696" fmla="*/ 3720284 w 5794893"/>
              <a:gd name="connsiteY1696" fmla="*/ 4191055 h 6858000"/>
              <a:gd name="connsiteX1697" fmla="*/ 3720284 w 5794893"/>
              <a:gd name="connsiteY1697" fmla="*/ 4193513 h 6858000"/>
              <a:gd name="connsiteX1698" fmla="*/ 3602297 w 5794893"/>
              <a:gd name="connsiteY1698" fmla="*/ 4191055 h 6858000"/>
              <a:gd name="connsiteX1699" fmla="*/ 3602297 w 5794893"/>
              <a:gd name="connsiteY1699" fmla="*/ 4194742 h 6858000"/>
              <a:gd name="connsiteX1700" fmla="*/ 3484310 w 5794893"/>
              <a:gd name="connsiteY1700" fmla="*/ 4191055 h 6858000"/>
              <a:gd name="connsiteX1701" fmla="*/ 3484310 w 5794893"/>
              <a:gd name="connsiteY1701" fmla="*/ 4197200 h 6858000"/>
              <a:gd name="connsiteX1702" fmla="*/ 3366323 w 5794893"/>
              <a:gd name="connsiteY1702" fmla="*/ 4191055 h 6858000"/>
              <a:gd name="connsiteX1703" fmla="*/ 3366323 w 5794893"/>
              <a:gd name="connsiteY1703" fmla="*/ 4199658 h 6858000"/>
              <a:gd name="connsiteX1704" fmla="*/ 3248335 w 5794893"/>
              <a:gd name="connsiteY1704" fmla="*/ 4191055 h 6858000"/>
              <a:gd name="connsiteX1705" fmla="*/ 3248335 w 5794893"/>
              <a:gd name="connsiteY1705" fmla="*/ 4202116 h 6858000"/>
              <a:gd name="connsiteX1706" fmla="*/ 3130348 w 5794893"/>
              <a:gd name="connsiteY1706" fmla="*/ 4191055 h 6858000"/>
              <a:gd name="connsiteX1707" fmla="*/ 3129120 w 5794893"/>
              <a:gd name="connsiteY1707" fmla="*/ 4205804 h 6858000"/>
              <a:gd name="connsiteX1708" fmla="*/ 3011133 w 5794893"/>
              <a:gd name="connsiteY1708" fmla="*/ 4191055 h 6858000"/>
              <a:gd name="connsiteX1709" fmla="*/ 3009903 w 5794893"/>
              <a:gd name="connsiteY1709" fmla="*/ 4208262 h 6858000"/>
              <a:gd name="connsiteX1710" fmla="*/ 2893145 w 5794893"/>
              <a:gd name="connsiteY1710" fmla="*/ 4191055 h 6858000"/>
              <a:gd name="connsiteX1711" fmla="*/ 2890687 w 5794893"/>
              <a:gd name="connsiteY1711" fmla="*/ 4211948 h 6858000"/>
              <a:gd name="connsiteX1712" fmla="*/ 2775158 w 5794893"/>
              <a:gd name="connsiteY1712" fmla="*/ 4191055 h 6858000"/>
              <a:gd name="connsiteX1713" fmla="*/ 2771470 w 5794893"/>
              <a:gd name="connsiteY1713" fmla="*/ 4215636 h 6858000"/>
              <a:gd name="connsiteX1714" fmla="*/ 2657171 w 5794893"/>
              <a:gd name="connsiteY1714" fmla="*/ 4191055 h 6858000"/>
              <a:gd name="connsiteX1715" fmla="*/ 2652255 w 5794893"/>
              <a:gd name="connsiteY1715" fmla="*/ 4218094 h 6858000"/>
              <a:gd name="connsiteX1716" fmla="*/ 2539184 w 5794893"/>
              <a:gd name="connsiteY1716" fmla="*/ 4191055 h 6858000"/>
              <a:gd name="connsiteX1717" fmla="*/ 2533038 w 5794893"/>
              <a:gd name="connsiteY1717" fmla="*/ 4223010 h 6858000"/>
              <a:gd name="connsiteX1718" fmla="*/ 2421196 w 5794893"/>
              <a:gd name="connsiteY1718" fmla="*/ 4191055 h 6858000"/>
              <a:gd name="connsiteX1719" fmla="*/ 2413822 w 5794893"/>
              <a:gd name="connsiteY1719" fmla="*/ 4226697 h 6858000"/>
              <a:gd name="connsiteX1720" fmla="*/ 2303209 w 5794893"/>
              <a:gd name="connsiteY1720" fmla="*/ 4191055 h 6858000"/>
              <a:gd name="connsiteX1721" fmla="*/ 2293377 w 5794893"/>
              <a:gd name="connsiteY1721" fmla="*/ 4230384 h 6858000"/>
              <a:gd name="connsiteX1722" fmla="*/ 2185222 w 5794893"/>
              <a:gd name="connsiteY1722" fmla="*/ 4191055 h 6858000"/>
              <a:gd name="connsiteX1723" fmla="*/ 2172932 w 5794893"/>
              <a:gd name="connsiteY1723" fmla="*/ 4235301 h 6858000"/>
              <a:gd name="connsiteX1724" fmla="*/ 2067235 w 5794893"/>
              <a:gd name="connsiteY1724" fmla="*/ 4191055 h 6858000"/>
              <a:gd name="connsiteX1725" fmla="*/ 2051257 w 5794893"/>
              <a:gd name="connsiteY1725" fmla="*/ 4240217 h 6858000"/>
              <a:gd name="connsiteX1726" fmla="*/ 1949247 w 5794893"/>
              <a:gd name="connsiteY1726" fmla="*/ 4191055 h 6858000"/>
              <a:gd name="connsiteX1727" fmla="*/ 1929583 w 5794893"/>
              <a:gd name="connsiteY1727" fmla="*/ 4243903 h 6858000"/>
              <a:gd name="connsiteX1728" fmla="*/ 1831260 w 5794893"/>
              <a:gd name="connsiteY1728" fmla="*/ 4191055 h 6858000"/>
              <a:gd name="connsiteX1729" fmla="*/ 1806680 w 5794893"/>
              <a:gd name="connsiteY1729" fmla="*/ 4248819 h 6858000"/>
              <a:gd name="connsiteX1730" fmla="*/ 1713273 w 5794893"/>
              <a:gd name="connsiteY1730" fmla="*/ 4191055 h 6858000"/>
              <a:gd name="connsiteX1731" fmla="*/ 1683776 w 5794893"/>
              <a:gd name="connsiteY1731" fmla="*/ 4253735 h 6858000"/>
              <a:gd name="connsiteX1732" fmla="*/ 1595286 w 5794893"/>
              <a:gd name="connsiteY1732" fmla="*/ 4191055 h 6858000"/>
              <a:gd name="connsiteX1733" fmla="*/ 1559643 w 5794893"/>
              <a:gd name="connsiteY1733" fmla="*/ 4254965 h 6858000"/>
              <a:gd name="connsiteX1734" fmla="*/ 1685005 w 5794893"/>
              <a:gd name="connsiteY1734" fmla="*/ 4343456 h 6858000"/>
              <a:gd name="connsiteX1735" fmla="*/ 1718189 w 5794893"/>
              <a:gd name="connsiteY1735" fmla="*/ 4283232 h 6858000"/>
              <a:gd name="connsiteX1736" fmla="*/ 1815282 w 5794893"/>
              <a:gd name="connsiteY1736" fmla="*/ 4343456 h 6858000"/>
              <a:gd name="connsiteX1737" fmla="*/ 1842321 w 5794893"/>
              <a:gd name="connsiteY1737" fmla="*/ 4288148 h 6858000"/>
              <a:gd name="connsiteX1738" fmla="*/ 1945560 w 5794893"/>
              <a:gd name="connsiteY1738" fmla="*/ 4343456 h 6858000"/>
              <a:gd name="connsiteX1739" fmla="*/ 1967682 w 5794893"/>
              <a:gd name="connsiteY1739" fmla="*/ 4291836 h 6858000"/>
              <a:gd name="connsiteX1740" fmla="*/ 2075837 w 5794893"/>
              <a:gd name="connsiteY1740" fmla="*/ 4343456 h 6858000"/>
              <a:gd name="connsiteX1741" fmla="*/ 2093044 w 5794893"/>
              <a:gd name="connsiteY1741" fmla="*/ 4296752 h 6858000"/>
              <a:gd name="connsiteX1742" fmla="*/ 2204887 w 5794893"/>
              <a:gd name="connsiteY1742" fmla="*/ 4343456 h 6858000"/>
              <a:gd name="connsiteX1743" fmla="*/ 2218405 w 5794893"/>
              <a:gd name="connsiteY1743" fmla="*/ 4300439 h 6858000"/>
              <a:gd name="connsiteX1744" fmla="*/ 2333934 w 5794893"/>
              <a:gd name="connsiteY1744" fmla="*/ 4343456 h 6858000"/>
              <a:gd name="connsiteX1745" fmla="*/ 2344996 w 5794893"/>
              <a:gd name="connsiteY1745" fmla="*/ 4305355 h 6858000"/>
              <a:gd name="connsiteX1746" fmla="*/ 2464212 w 5794893"/>
              <a:gd name="connsiteY1746" fmla="*/ 4343456 h 6858000"/>
              <a:gd name="connsiteX1747" fmla="*/ 2472816 w 5794893"/>
              <a:gd name="connsiteY1747" fmla="*/ 4309043 h 6858000"/>
              <a:gd name="connsiteX1748" fmla="*/ 2593261 w 5794893"/>
              <a:gd name="connsiteY1748" fmla="*/ 4343456 h 6858000"/>
              <a:gd name="connsiteX1749" fmla="*/ 2598177 w 5794893"/>
              <a:gd name="connsiteY1749" fmla="*/ 4315187 h 6858000"/>
              <a:gd name="connsiteX1750" fmla="*/ 2721081 w 5794893"/>
              <a:gd name="connsiteY1750" fmla="*/ 4344684 h 6858000"/>
              <a:gd name="connsiteX1751" fmla="*/ 2725997 w 5794893"/>
              <a:gd name="connsiteY1751" fmla="*/ 4318875 h 6858000"/>
              <a:gd name="connsiteX1752" fmla="*/ 2851358 w 5794893"/>
              <a:gd name="connsiteY1752" fmla="*/ 4344684 h 6858000"/>
              <a:gd name="connsiteX1753" fmla="*/ 2855045 w 5794893"/>
              <a:gd name="connsiteY1753" fmla="*/ 4322561 h 6858000"/>
              <a:gd name="connsiteX1754" fmla="*/ 2981636 w 5794893"/>
              <a:gd name="connsiteY1754" fmla="*/ 4344684 h 6858000"/>
              <a:gd name="connsiteX1755" fmla="*/ 2984094 w 5794893"/>
              <a:gd name="connsiteY1755" fmla="*/ 4326249 h 6858000"/>
              <a:gd name="connsiteX1756" fmla="*/ 3110684 w 5794893"/>
              <a:gd name="connsiteY1756" fmla="*/ 4344684 h 6858000"/>
              <a:gd name="connsiteX1757" fmla="*/ 3113142 w 5794893"/>
              <a:gd name="connsiteY1757" fmla="*/ 4328707 h 6858000"/>
              <a:gd name="connsiteX1758" fmla="*/ 3240961 w 5794893"/>
              <a:gd name="connsiteY1758" fmla="*/ 4344684 h 6858000"/>
              <a:gd name="connsiteX1759" fmla="*/ 3242191 w 5794893"/>
              <a:gd name="connsiteY1759" fmla="*/ 4332394 h 6858000"/>
              <a:gd name="connsiteX1760" fmla="*/ 3371239 w 5794893"/>
              <a:gd name="connsiteY1760" fmla="*/ 4344684 h 6858000"/>
              <a:gd name="connsiteX1761" fmla="*/ 3372468 w 5794893"/>
              <a:gd name="connsiteY1761" fmla="*/ 4334852 h 6858000"/>
              <a:gd name="connsiteX1762" fmla="*/ 3501516 w 5794893"/>
              <a:gd name="connsiteY1762" fmla="*/ 4344684 h 6858000"/>
              <a:gd name="connsiteX1763" fmla="*/ 3501516 w 5794893"/>
              <a:gd name="connsiteY1763" fmla="*/ 4337310 h 6858000"/>
              <a:gd name="connsiteX1764" fmla="*/ 3630565 w 5794893"/>
              <a:gd name="connsiteY1764" fmla="*/ 4344684 h 6858000"/>
              <a:gd name="connsiteX1765" fmla="*/ 3630565 w 5794893"/>
              <a:gd name="connsiteY1765" fmla="*/ 4339768 h 6858000"/>
              <a:gd name="connsiteX1766" fmla="*/ 3639168 w 5794893"/>
              <a:gd name="connsiteY1766" fmla="*/ 4339768 h 6858000"/>
              <a:gd name="connsiteX1767" fmla="*/ 3719056 w 5794893"/>
              <a:gd name="connsiteY1767" fmla="*/ 4342226 h 6858000"/>
              <a:gd name="connsiteX1768" fmla="*/ 3719056 w 5794893"/>
              <a:gd name="connsiteY1768" fmla="*/ 4343456 h 6858000"/>
              <a:gd name="connsiteX1769" fmla="*/ 5728527 w 5794893"/>
              <a:gd name="connsiteY1769" fmla="*/ 4387701 h 6858000"/>
              <a:gd name="connsiteX1770" fmla="*/ 3712910 w 5794893"/>
              <a:gd name="connsiteY1770" fmla="*/ 4387701 h 6858000"/>
              <a:gd name="connsiteX1771" fmla="*/ 3712910 w 5794893"/>
              <a:gd name="connsiteY1771" fmla="*/ 4388929 h 6858000"/>
              <a:gd name="connsiteX1772" fmla="*/ 3594923 w 5794893"/>
              <a:gd name="connsiteY1772" fmla="*/ 4386471 h 6858000"/>
              <a:gd name="connsiteX1773" fmla="*/ 3594923 w 5794893"/>
              <a:gd name="connsiteY1773" fmla="*/ 4390159 h 6858000"/>
              <a:gd name="connsiteX1774" fmla="*/ 3476936 w 5794893"/>
              <a:gd name="connsiteY1774" fmla="*/ 4386471 h 6858000"/>
              <a:gd name="connsiteX1775" fmla="*/ 3476936 w 5794893"/>
              <a:gd name="connsiteY1775" fmla="*/ 4392617 h 6858000"/>
              <a:gd name="connsiteX1776" fmla="*/ 3358948 w 5794893"/>
              <a:gd name="connsiteY1776" fmla="*/ 4386471 h 6858000"/>
              <a:gd name="connsiteX1777" fmla="*/ 3358948 w 5794893"/>
              <a:gd name="connsiteY1777" fmla="*/ 4395075 h 6858000"/>
              <a:gd name="connsiteX1778" fmla="*/ 3240961 w 5794893"/>
              <a:gd name="connsiteY1778" fmla="*/ 4386471 h 6858000"/>
              <a:gd name="connsiteX1779" fmla="*/ 3240961 w 5794893"/>
              <a:gd name="connsiteY1779" fmla="*/ 4397533 h 6858000"/>
              <a:gd name="connsiteX1780" fmla="*/ 3122974 w 5794893"/>
              <a:gd name="connsiteY1780" fmla="*/ 4386471 h 6858000"/>
              <a:gd name="connsiteX1781" fmla="*/ 3121746 w 5794893"/>
              <a:gd name="connsiteY1781" fmla="*/ 4401219 h 6858000"/>
              <a:gd name="connsiteX1782" fmla="*/ 3003758 w 5794893"/>
              <a:gd name="connsiteY1782" fmla="*/ 4386471 h 6858000"/>
              <a:gd name="connsiteX1783" fmla="*/ 3002529 w 5794893"/>
              <a:gd name="connsiteY1783" fmla="*/ 4403678 h 6858000"/>
              <a:gd name="connsiteX1784" fmla="*/ 2885771 w 5794893"/>
              <a:gd name="connsiteY1784" fmla="*/ 4386471 h 6858000"/>
              <a:gd name="connsiteX1785" fmla="*/ 2883313 w 5794893"/>
              <a:gd name="connsiteY1785" fmla="*/ 4407365 h 6858000"/>
              <a:gd name="connsiteX1786" fmla="*/ 2767784 w 5794893"/>
              <a:gd name="connsiteY1786" fmla="*/ 4386471 h 6858000"/>
              <a:gd name="connsiteX1787" fmla="*/ 2764096 w 5794893"/>
              <a:gd name="connsiteY1787" fmla="*/ 4409823 h 6858000"/>
              <a:gd name="connsiteX1788" fmla="*/ 2649797 w 5794893"/>
              <a:gd name="connsiteY1788" fmla="*/ 4386471 h 6858000"/>
              <a:gd name="connsiteX1789" fmla="*/ 2644881 w 5794893"/>
              <a:gd name="connsiteY1789" fmla="*/ 4413510 h 6858000"/>
              <a:gd name="connsiteX1790" fmla="*/ 2531809 w 5794893"/>
              <a:gd name="connsiteY1790" fmla="*/ 4386471 h 6858000"/>
              <a:gd name="connsiteX1791" fmla="*/ 2525664 w 5794893"/>
              <a:gd name="connsiteY1791" fmla="*/ 4417198 h 6858000"/>
              <a:gd name="connsiteX1792" fmla="*/ 2413822 w 5794893"/>
              <a:gd name="connsiteY1792" fmla="*/ 4386471 h 6858000"/>
              <a:gd name="connsiteX1793" fmla="*/ 2406448 w 5794893"/>
              <a:gd name="connsiteY1793" fmla="*/ 4422114 h 6858000"/>
              <a:gd name="connsiteX1794" fmla="*/ 2295835 w 5794893"/>
              <a:gd name="connsiteY1794" fmla="*/ 4386471 h 6858000"/>
              <a:gd name="connsiteX1795" fmla="*/ 2286003 w 5794893"/>
              <a:gd name="connsiteY1795" fmla="*/ 4425800 h 6858000"/>
              <a:gd name="connsiteX1796" fmla="*/ 2177848 w 5794893"/>
              <a:gd name="connsiteY1796" fmla="*/ 4386471 h 6858000"/>
              <a:gd name="connsiteX1797" fmla="*/ 2165557 w 5794893"/>
              <a:gd name="connsiteY1797" fmla="*/ 4430716 h 6858000"/>
              <a:gd name="connsiteX1798" fmla="*/ 2059860 w 5794893"/>
              <a:gd name="connsiteY1798" fmla="*/ 4386471 h 6858000"/>
              <a:gd name="connsiteX1799" fmla="*/ 2043882 w 5794893"/>
              <a:gd name="connsiteY1799" fmla="*/ 4435632 h 6858000"/>
              <a:gd name="connsiteX1800" fmla="*/ 1941873 w 5794893"/>
              <a:gd name="connsiteY1800" fmla="*/ 4386471 h 6858000"/>
              <a:gd name="connsiteX1801" fmla="*/ 1922209 w 5794893"/>
              <a:gd name="connsiteY1801" fmla="*/ 4439320 h 6858000"/>
              <a:gd name="connsiteX1802" fmla="*/ 1823886 w 5794893"/>
              <a:gd name="connsiteY1802" fmla="*/ 4386471 h 6858000"/>
              <a:gd name="connsiteX1803" fmla="*/ 1799305 w 5794893"/>
              <a:gd name="connsiteY1803" fmla="*/ 4444236 h 6858000"/>
              <a:gd name="connsiteX1804" fmla="*/ 1705899 w 5794893"/>
              <a:gd name="connsiteY1804" fmla="*/ 4386471 h 6858000"/>
              <a:gd name="connsiteX1805" fmla="*/ 1676402 w 5794893"/>
              <a:gd name="connsiteY1805" fmla="*/ 4447923 h 6858000"/>
              <a:gd name="connsiteX1806" fmla="*/ 1587912 w 5794893"/>
              <a:gd name="connsiteY1806" fmla="*/ 4386471 h 6858000"/>
              <a:gd name="connsiteX1807" fmla="*/ 1554260 w 5794893"/>
              <a:gd name="connsiteY1807" fmla="*/ 4446812 h 6858000"/>
              <a:gd name="connsiteX1808" fmla="*/ 1477299 w 5794893"/>
              <a:gd name="connsiteY1808" fmla="*/ 4385243 h 6858000"/>
              <a:gd name="connsiteX1809" fmla="*/ 1440428 w 5794893"/>
              <a:gd name="connsiteY1809" fmla="*/ 4444236 h 6858000"/>
              <a:gd name="connsiteX1810" fmla="*/ 1557185 w 5794893"/>
              <a:gd name="connsiteY1810" fmla="*/ 4537643 h 6858000"/>
              <a:gd name="connsiteX1811" fmla="*/ 1593646 w 5794893"/>
              <a:gd name="connsiteY1811" fmla="*/ 4479305 h 6858000"/>
              <a:gd name="connsiteX1812" fmla="*/ 1678860 w 5794893"/>
              <a:gd name="connsiteY1812" fmla="*/ 4538871 h 6858000"/>
              <a:gd name="connsiteX1813" fmla="*/ 1712043 w 5794893"/>
              <a:gd name="connsiteY1813" fmla="*/ 4478649 h 6858000"/>
              <a:gd name="connsiteX1814" fmla="*/ 1809138 w 5794893"/>
              <a:gd name="connsiteY1814" fmla="*/ 4538871 h 6858000"/>
              <a:gd name="connsiteX1815" fmla="*/ 1836176 w 5794893"/>
              <a:gd name="connsiteY1815" fmla="*/ 4483565 h 6858000"/>
              <a:gd name="connsiteX1816" fmla="*/ 1939415 w 5794893"/>
              <a:gd name="connsiteY1816" fmla="*/ 4538871 h 6858000"/>
              <a:gd name="connsiteX1817" fmla="*/ 1961538 w 5794893"/>
              <a:gd name="connsiteY1817" fmla="*/ 4487252 h 6858000"/>
              <a:gd name="connsiteX1818" fmla="*/ 2069693 w 5794893"/>
              <a:gd name="connsiteY1818" fmla="*/ 4538871 h 6858000"/>
              <a:gd name="connsiteX1819" fmla="*/ 2086899 w 5794893"/>
              <a:gd name="connsiteY1819" fmla="*/ 4492168 h 6858000"/>
              <a:gd name="connsiteX1820" fmla="*/ 2198741 w 5794893"/>
              <a:gd name="connsiteY1820" fmla="*/ 4538871 h 6858000"/>
              <a:gd name="connsiteX1821" fmla="*/ 2212261 w 5794893"/>
              <a:gd name="connsiteY1821" fmla="*/ 4495856 h 6858000"/>
              <a:gd name="connsiteX1822" fmla="*/ 2327790 w 5794893"/>
              <a:gd name="connsiteY1822" fmla="*/ 4538871 h 6858000"/>
              <a:gd name="connsiteX1823" fmla="*/ 2338851 w 5794893"/>
              <a:gd name="connsiteY1823" fmla="*/ 4500772 h 6858000"/>
              <a:gd name="connsiteX1824" fmla="*/ 2458067 w 5794893"/>
              <a:gd name="connsiteY1824" fmla="*/ 4538871 h 6858000"/>
              <a:gd name="connsiteX1825" fmla="*/ 2466670 w 5794893"/>
              <a:gd name="connsiteY1825" fmla="*/ 4504458 h 6858000"/>
              <a:gd name="connsiteX1826" fmla="*/ 2588345 w 5794893"/>
              <a:gd name="connsiteY1826" fmla="*/ 4538871 h 6858000"/>
              <a:gd name="connsiteX1827" fmla="*/ 2594490 w 5794893"/>
              <a:gd name="connsiteY1827" fmla="*/ 4509374 h 6858000"/>
              <a:gd name="connsiteX1828" fmla="*/ 2717393 w 5794893"/>
              <a:gd name="connsiteY1828" fmla="*/ 4538871 h 6858000"/>
              <a:gd name="connsiteX1829" fmla="*/ 2722309 w 5794893"/>
              <a:gd name="connsiteY1829" fmla="*/ 4513062 h 6858000"/>
              <a:gd name="connsiteX1830" fmla="*/ 2847670 w 5794893"/>
              <a:gd name="connsiteY1830" fmla="*/ 4538871 h 6858000"/>
              <a:gd name="connsiteX1831" fmla="*/ 2851358 w 5794893"/>
              <a:gd name="connsiteY1831" fmla="*/ 4516749 h 6858000"/>
              <a:gd name="connsiteX1832" fmla="*/ 2977948 w 5794893"/>
              <a:gd name="connsiteY1832" fmla="*/ 4538871 h 6858000"/>
              <a:gd name="connsiteX1833" fmla="*/ 2980406 w 5794893"/>
              <a:gd name="connsiteY1833" fmla="*/ 4520436 h 6858000"/>
              <a:gd name="connsiteX1834" fmla="*/ 3106997 w 5794893"/>
              <a:gd name="connsiteY1834" fmla="*/ 4538871 h 6858000"/>
              <a:gd name="connsiteX1835" fmla="*/ 3108226 w 5794893"/>
              <a:gd name="connsiteY1835" fmla="*/ 4522894 h 6858000"/>
              <a:gd name="connsiteX1836" fmla="*/ 3236045 w 5794893"/>
              <a:gd name="connsiteY1836" fmla="*/ 4538871 h 6858000"/>
              <a:gd name="connsiteX1837" fmla="*/ 3237275 w 5794893"/>
              <a:gd name="connsiteY1837" fmla="*/ 4526581 h 6858000"/>
              <a:gd name="connsiteX1838" fmla="*/ 3366323 w 5794893"/>
              <a:gd name="connsiteY1838" fmla="*/ 4538871 h 6858000"/>
              <a:gd name="connsiteX1839" fmla="*/ 3367552 w 5794893"/>
              <a:gd name="connsiteY1839" fmla="*/ 4529039 h 6858000"/>
              <a:gd name="connsiteX1840" fmla="*/ 3496600 w 5794893"/>
              <a:gd name="connsiteY1840" fmla="*/ 4538871 h 6858000"/>
              <a:gd name="connsiteX1841" fmla="*/ 3496600 w 5794893"/>
              <a:gd name="connsiteY1841" fmla="*/ 4531497 h 6858000"/>
              <a:gd name="connsiteX1842" fmla="*/ 3625649 w 5794893"/>
              <a:gd name="connsiteY1842" fmla="*/ 4538871 h 6858000"/>
              <a:gd name="connsiteX1843" fmla="*/ 3625649 w 5794893"/>
              <a:gd name="connsiteY1843" fmla="*/ 4533955 h 6858000"/>
              <a:gd name="connsiteX1844" fmla="*/ 3634252 w 5794893"/>
              <a:gd name="connsiteY1844" fmla="*/ 4533955 h 6858000"/>
              <a:gd name="connsiteX1845" fmla="*/ 3714140 w 5794893"/>
              <a:gd name="connsiteY1845" fmla="*/ 4536413 h 6858000"/>
              <a:gd name="connsiteX1846" fmla="*/ 3714140 w 5794893"/>
              <a:gd name="connsiteY1846" fmla="*/ 4537643 h 6858000"/>
              <a:gd name="connsiteX1847" fmla="*/ 5699030 w 5794893"/>
              <a:gd name="connsiteY1847" fmla="*/ 4579430 h 6858000"/>
              <a:gd name="connsiteX1848" fmla="*/ 3714140 w 5794893"/>
              <a:gd name="connsiteY1848" fmla="*/ 4579430 h 6858000"/>
              <a:gd name="connsiteX1849" fmla="*/ 3714140 w 5794893"/>
              <a:gd name="connsiteY1849" fmla="*/ 4581888 h 6858000"/>
              <a:gd name="connsiteX1850" fmla="*/ 3596153 w 5794893"/>
              <a:gd name="connsiteY1850" fmla="*/ 4579430 h 6858000"/>
              <a:gd name="connsiteX1851" fmla="*/ 3596153 w 5794893"/>
              <a:gd name="connsiteY1851" fmla="*/ 4583116 h 6858000"/>
              <a:gd name="connsiteX1852" fmla="*/ 3478165 w 5794893"/>
              <a:gd name="connsiteY1852" fmla="*/ 4579430 h 6858000"/>
              <a:gd name="connsiteX1853" fmla="*/ 3478165 w 5794893"/>
              <a:gd name="connsiteY1853" fmla="*/ 4585575 h 6858000"/>
              <a:gd name="connsiteX1854" fmla="*/ 3360178 w 5794893"/>
              <a:gd name="connsiteY1854" fmla="*/ 4579430 h 6858000"/>
              <a:gd name="connsiteX1855" fmla="*/ 3360178 w 5794893"/>
              <a:gd name="connsiteY1855" fmla="*/ 4588033 h 6858000"/>
              <a:gd name="connsiteX1856" fmla="*/ 3242191 w 5794893"/>
              <a:gd name="connsiteY1856" fmla="*/ 4579430 h 6858000"/>
              <a:gd name="connsiteX1857" fmla="*/ 3242191 w 5794893"/>
              <a:gd name="connsiteY1857" fmla="*/ 4590491 h 6858000"/>
              <a:gd name="connsiteX1858" fmla="*/ 3124204 w 5794893"/>
              <a:gd name="connsiteY1858" fmla="*/ 4579430 h 6858000"/>
              <a:gd name="connsiteX1859" fmla="*/ 3122974 w 5794893"/>
              <a:gd name="connsiteY1859" fmla="*/ 4594178 h 6858000"/>
              <a:gd name="connsiteX1860" fmla="*/ 3004987 w 5794893"/>
              <a:gd name="connsiteY1860" fmla="*/ 4579430 h 6858000"/>
              <a:gd name="connsiteX1861" fmla="*/ 3003758 w 5794893"/>
              <a:gd name="connsiteY1861" fmla="*/ 4596636 h 6858000"/>
              <a:gd name="connsiteX1862" fmla="*/ 2887000 w 5794893"/>
              <a:gd name="connsiteY1862" fmla="*/ 4579430 h 6858000"/>
              <a:gd name="connsiteX1863" fmla="*/ 2884541 w 5794893"/>
              <a:gd name="connsiteY1863" fmla="*/ 4600323 h 6858000"/>
              <a:gd name="connsiteX1864" fmla="*/ 2769012 w 5794893"/>
              <a:gd name="connsiteY1864" fmla="*/ 4579430 h 6858000"/>
              <a:gd name="connsiteX1865" fmla="*/ 2765326 w 5794893"/>
              <a:gd name="connsiteY1865" fmla="*/ 4602781 h 6858000"/>
              <a:gd name="connsiteX1866" fmla="*/ 2651025 w 5794893"/>
              <a:gd name="connsiteY1866" fmla="*/ 4579430 h 6858000"/>
              <a:gd name="connsiteX1867" fmla="*/ 2646109 w 5794893"/>
              <a:gd name="connsiteY1867" fmla="*/ 4606469 h 6858000"/>
              <a:gd name="connsiteX1868" fmla="*/ 2533038 w 5794893"/>
              <a:gd name="connsiteY1868" fmla="*/ 4579430 h 6858000"/>
              <a:gd name="connsiteX1869" fmla="*/ 2526893 w 5794893"/>
              <a:gd name="connsiteY1869" fmla="*/ 4610155 h 6858000"/>
              <a:gd name="connsiteX1870" fmla="*/ 2415051 w 5794893"/>
              <a:gd name="connsiteY1870" fmla="*/ 4579430 h 6858000"/>
              <a:gd name="connsiteX1871" fmla="*/ 2407676 w 5794893"/>
              <a:gd name="connsiteY1871" fmla="*/ 4615071 h 6858000"/>
              <a:gd name="connsiteX1872" fmla="*/ 2297063 w 5794893"/>
              <a:gd name="connsiteY1872" fmla="*/ 4579430 h 6858000"/>
              <a:gd name="connsiteX1873" fmla="*/ 2287231 w 5794893"/>
              <a:gd name="connsiteY1873" fmla="*/ 4618759 h 6858000"/>
              <a:gd name="connsiteX1874" fmla="*/ 2179076 w 5794893"/>
              <a:gd name="connsiteY1874" fmla="*/ 4579430 h 6858000"/>
              <a:gd name="connsiteX1875" fmla="*/ 2166786 w 5794893"/>
              <a:gd name="connsiteY1875" fmla="*/ 4623675 h 6858000"/>
              <a:gd name="connsiteX1876" fmla="*/ 2061089 w 5794893"/>
              <a:gd name="connsiteY1876" fmla="*/ 4579430 h 6858000"/>
              <a:gd name="connsiteX1877" fmla="*/ 2045112 w 5794893"/>
              <a:gd name="connsiteY1877" fmla="*/ 4628591 h 6858000"/>
              <a:gd name="connsiteX1878" fmla="*/ 1943102 w 5794893"/>
              <a:gd name="connsiteY1878" fmla="*/ 4579430 h 6858000"/>
              <a:gd name="connsiteX1879" fmla="*/ 1923437 w 5794893"/>
              <a:gd name="connsiteY1879" fmla="*/ 4632278 h 6858000"/>
              <a:gd name="connsiteX1880" fmla="*/ 1825114 w 5794893"/>
              <a:gd name="connsiteY1880" fmla="*/ 4579430 h 6858000"/>
              <a:gd name="connsiteX1881" fmla="*/ 1800534 w 5794893"/>
              <a:gd name="connsiteY1881" fmla="*/ 4637194 h 6858000"/>
              <a:gd name="connsiteX1882" fmla="*/ 1707127 w 5794893"/>
              <a:gd name="connsiteY1882" fmla="*/ 4579430 h 6858000"/>
              <a:gd name="connsiteX1883" fmla="*/ 1677630 w 5794893"/>
              <a:gd name="connsiteY1883" fmla="*/ 4642110 h 6858000"/>
              <a:gd name="connsiteX1884" fmla="*/ 1589140 w 5794893"/>
              <a:gd name="connsiteY1884" fmla="*/ 4580658 h 6858000"/>
              <a:gd name="connsiteX1885" fmla="*/ 1554636 w 5794893"/>
              <a:gd name="connsiteY1885" fmla="*/ 4642529 h 6858000"/>
              <a:gd name="connsiteX1886" fmla="*/ 1477299 w 5794893"/>
              <a:gd name="connsiteY1886" fmla="*/ 4580658 h 6858000"/>
              <a:gd name="connsiteX1887" fmla="*/ 1440428 w 5794893"/>
              <a:gd name="connsiteY1887" fmla="*/ 4639652 h 6858000"/>
              <a:gd name="connsiteX1888" fmla="*/ 1557185 w 5794893"/>
              <a:gd name="connsiteY1888" fmla="*/ 4733059 h 6858000"/>
              <a:gd name="connsiteX1889" fmla="*/ 1594056 w 5794893"/>
              <a:gd name="connsiteY1889" fmla="*/ 4674065 h 6858000"/>
              <a:gd name="connsiteX1890" fmla="*/ 1582707 w 5794893"/>
              <a:gd name="connsiteY1890" fmla="*/ 4664986 h 6858000"/>
              <a:gd name="connsiteX1891" fmla="*/ 1680088 w 5794893"/>
              <a:gd name="connsiteY1891" fmla="*/ 4733059 h 6858000"/>
              <a:gd name="connsiteX1892" fmla="*/ 1713273 w 5794893"/>
              <a:gd name="connsiteY1892" fmla="*/ 4672837 h 6858000"/>
              <a:gd name="connsiteX1893" fmla="*/ 1810366 w 5794893"/>
              <a:gd name="connsiteY1893" fmla="*/ 4733059 h 6858000"/>
              <a:gd name="connsiteX1894" fmla="*/ 1837405 w 5794893"/>
              <a:gd name="connsiteY1894" fmla="*/ 4677753 h 6858000"/>
              <a:gd name="connsiteX1895" fmla="*/ 1940644 w 5794893"/>
              <a:gd name="connsiteY1895" fmla="*/ 4733059 h 6858000"/>
              <a:gd name="connsiteX1896" fmla="*/ 1962766 w 5794893"/>
              <a:gd name="connsiteY1896" fmla="*/ 4681439 h 6858000"/>
              <a:gd name="connsiteX1897" fmla="*/ 2070921 w 5794893"/>
              <a:gd name="connsiteY1897" fmla="*/ 4733059 h 6858000"/>
              <a:gd name="connsiteX1898" fmla="*/ 2088128 w 5794893"/>
              <a:gd name="connsiteY1898" fmla="*/ 4686355 h 6858000"/>
              <a:gd name="connsiteX1899" fmla="*/ 2199970 w 5794893"/>
              <a:gd name="connsiteY1899" fmla="*/ 4733059 h 6858000"/>
              <a:gd name="connsiteX1900" fmla="*/ 2213489 w 5794893"/>
              <a:gd name="connsiteY1900" fmla="*/ 4690043 h 6858000"/>
              <a:gd name="connsiteX1901" fmla="*/ 2329018 w 5794893"/>
              <a:gd name="connsiteY1901" fmla="*/ 4733059 h 6858000"/>
              <a:gd name="connsiteX1902" fmla="*/ 2340080 w 5794893"/>
              <a:gd name="connsiteY1902" fmla="*/ 4694959 h 6858000"/>
              <a:gd name="connsiteX1903" fmla="*/ 2459296 w 5794893"/>
              <a:gd name="connsiteY1903" fmla="*/ 4733059 h 6858000"/>
              <a:gd name="connsiteX1904" fmla="*/ 2467900 w 5794893"/>
              <a:gd name="connsiteY1904" fmla="*/ 4698646 h 6858000"/>
              <a:gd name="connsiteX1905" fmla="*/ 2589573 w 5794893"/>
              <a:gd name="connsiteY1905" fmla="*/ 4733059 h 6858000"/>
              <a:gd name="connsiteX1906" fmla="*/ 2595719 w 5794893"/>
              <a:gd name="connsiteY1906" fmla="*/ 4703562 h 6858000"/>
              <a:gd name="connsiteX1907" fmla="*/ 2718623 w 5794893"/>
              <a:gd name="connsiteY1907" fmla="*/ 4733059 h 6858000"/>
              <a:gd name="connsiteX1908" fmla="*/ 2723539 w 5794893"/>
              <a:gd name="connsiteY1908" fmla="*/ 4707249 h 6858000"/>
              <a:gd name="connsiteX1909" fmla="*/ 2848900 w 5794893"/>
              <a:gd name="connsiteY1909" fmla="*/ 4733059 h 6858000"/>
              <a:gd name="connsiteX1910" fmla="*/ 2852587 w 5794893"/>
              <a:gd name="connsiteY1910" fmla="*/ 4710936 h 6858000"/>
              <a:gd name="connsiteX1911" fmla="*/ 2979178 w 5794893"/>
              <a:gd name="connsiteY1911" fmla="*/ 4733059 h 6858000"/>
              <a:gd name="connsiteX1912" fmla="*/ 2981636 w 5794893"/>
              <a:gd name="connsiteY1912" fmla="*/ 4714624 h 6858000"/>
              <a:gd name="connsiteX1913" fmla="*/ 3108226 w 5794893"/>
              <a:gd name="connsiteY1913" fmla="*/ 4733059 h 6858000"/>
              <a:gd name="connsiteX1914" fmla="*/ 3109455 w 5794893"/>
              <a:gd name="connsiteY1914" fmla="*/ 4717082 h 6858000"/>
              <a:gd name="connsiteX1915" fmla="*/ 3237275 w 5794893"/>
              <a:gd name="connsiteY1915" fmla="*/ 4733059 h 6858000"/>
              <a:gd name="connsiteX1916" fmla="*/ 3238503 w 5794893"/>
              <a:gd name="connsiteY1916" fmla="*/ 4720768 h 6858000"/>
              <a:gd name="connsiteX1917" fmla="*/ 3367552 w 5794893"/>
              <a:gd name="connsiteY1917" fmla="*/ 4733059 h 6858000"/>
              <a:gd name="connsiteX1918" fmla="*/ 3368781 w 5794893"/>
              <a:gd name="connsiteY1918" fmla="*/ 4723226 h 6858000"/>
              <a:gd name="connsiteX1919" fmla="*/ 3497830 w 5794893"/>
              <a:gd name="connsiteY1919" fmla="*/ 4733059 h 6858000"/>
              <a:gd name="connsiteX1920" fmla="*/ 3497830 w 5794893"/>
              <a:gd name="connsiteY1920" fmla="*/ 4725684 h 6858000"/>
              <a:gd name="connsiteX1921" fmla="*/ 3626878 w 5794893"/>
              <a:gd name="connsiteY1921" fmla="*/ 4733059 h 6858000"/>
              <a:gd name="connsiteX1922" fmla="*/ 3626878 w 5794893"/>
              <a:gd name="connsiteY1922" fmla="*/ 4728142 h 6858000"/>
              <a:gd name="connsiteX1923" fmla="*/ 3635482 w 5794893"/>
              <a:gd name="connsiteY1923" fmla="*/ 4728142 h 6858000"/>
              <a:gd name="connsiteX1924" fmla="*/ 3715368 w 5794893"/>
              <a:gd name="connsiteY1924" fmla="*/ 4730600 h 6858000"/>
              <a:gd name="connsiteX1925" fmla="*/ 3715368 w 5794893"/>
              <a:gd name="connsiteY1925" fmla="*/ 4731830 h 6858000"/>
              <a:gd name="connsiteX1926" fmla="*/ 5694112 w 5794893"/>
              <a:gd name="connsiteY1926" fmla="*/ 4773617 h 6858000"/>
              <a:gd name="connsiteX1927" fmla="*/ 3715368 w 5794893"/>
              <a:gd name="connsiteY1927" fmla="*/ 4773617 h 6858000"/>
              <a:gd name="connsiteX1928" fmla="*/ 3715368 w 5794893"/>
              <a:gd name="connsiteY1928" fmla="*/ 4776075 h 6858000"/>
              <a:gd name="connsiteX1929" fmla="*/ 3597381 w 5794893"/>
              <a:gd name="connsiteY1929" fmla="*/ 4773617 h 6858000"/>
              <a:gd name="connsiteX1930" fmla="*/ 3597381 w 5794893"/>
              <a:gd name="connsiteY1930" fmla="*/ 4777304 h 6858000"/>
              <a:gd name="connsiteX1931" fmla="*/ 3479394 w 5794893"/>
              <a:gd name="connsiteY1931" fmla="*/ 4773617 h 6858000"/>
              <a:gd name="connsiteX1932" fmla="*/ 3479394 w 5794893"/>
              <a:gd name="connsiteY1932" fmla="*/ 4779762 h 6858000"/>
              <a:gd name="connsiteX1933" fmla="*/ 3361406 w 5794893"/>
              <a:gd name="connsiteY1933" fmla="*/ 4773617 h 6858000"/>
              <a:gd name="connsiteX1934" fmla="*/ 3361406 w 5794893"/>
              <a:gd name="connsiteY1934" fmla="*/ 4782220 h 6858000"/>
              <a:gd name="connsiteX1935" fmla="*/ 3243419 w 5794893"/>
              <a:gd name="connsiteY1935" fmla="*/ 4773617 h 6858000"/>
              <a:gd name="connsiteX1936" fmla="*/ 3243419 w 5794893"/>
              <a:gd name="connsiteY1936" fmla="*/ 4789594 h 6858000"/>
              <a:gd name="connsiteX1937" fmla="*/ 3126662 w 5794893"/>
              <a:gd name="connsiteY1937" fmla="*/ 4778533 h 6858000"/>
              <a:gd name="connsiteX1938" fmla="*/ 3125432 w 5794893"/>
              <a:gd name="connsiteY1938" fmla="*/ 4793282 h 6858000"/>
              <a:gd name="connsiteX1939" fmla="*/ 3007445 w 5794893"/>
              <a:gd name="connsiteY1939" fmla="*/ 4778533 h 6858000"/>
              <a:gd name="connsiteX1940" fmla="*/ 3006216 w 5794893"/>
              <a:gd name="connsiteY1940" fmla="*/ 4795740 h 6858000"/>
              <a:gd name="connsiteX1941" fmla="*/ 2889458 w 5794893"/>
              <a:gd name="connsiteY1941" fmla="*/ 4778533 h 6858000"/>
              <a:gd name="connsiteX1942" fmla="*/ 2887000 w 5794893"/>
              <a:gd name="connsiteY1942" fmla="*/ 4799426 h 6858000"/>
              <a:gd name="connsiteX1943" fmla="*/ 2771470 w 5794893"/>
              <a:gd name="connsiteY1943" fmla="*/ 4778533 h 6858000"/>
              <a:gd name="connsiteX1944" fmla="*/ 2767784 w 5794893"/>
              <a:gd name="connsiteY1944" fmla="*/ 4801884 h 6858000"/>
              <a:gd name="connsiteX1945" fmla="*/ 2653483 w 5794893"/>
              <a:gd name="connsiteY1945" fmla="*/ 4778533 h 6858000"/>
              <a:gd name="connsiteX1946" fmla="*/ 2648567 w 5794893"/>
              <a:gd name="connsiteY1946" fmla="*/ 4805572 h 6858000"/>
              <a:gd name="connsiteX1947" fmla="*/ 2535496 w 5794893"/>
              <a:gd name="connsiteY1947" fmla="*/ 4778533 h 6858000"/>
              <a:gd name="connsiteX1948" fmla="*/ 2529351 w 5794893"/>
              <a:gd name="connsiteY1948" fmla="*/ 4809259 h 6858000"/>
              <a:gd name="connsiteX1949" fmla="*/ 2417509 w 5794893"/>
              <a:gd name="connsiteY1949" fmla="*/ 4778533 h 6858000"/>
              <a:gd name="connsiteX1950" fmla="*/ 2410134 w 5794893"/>
              <a:gd name="connsiteY1950" fmla="*/ 4814175 h 6858000"/>
              <a:gd name="connsiteX1951" fmla="*/ 2299521 w 5794893"/>
              <a:gd name="connsiteY1951" fmla="*/ 4778533 h 6858000"/>
              <a:gd name="connsiteX1952" fmla="*/ 2289689 w 5794893"/>
              <a:gd name="connsiteY1952" fmla="*/ 4817863 h 6858000"/>
              <a:gd name="connsiteX1953" fmla="*/ 2181534 w 5794893"/>
              <a:gd name="connsiteY1953" fmla="*/ 4778533 h 6858000"/>
              <a:gd name="connsiteX1954" fmla="*/ 2169244 w 5794893"/>
              <a:gd name="connsiteY1954" fmla="*/ 4822779 h 6858000"/>
              <a:gd name="connsiteX1955" fmla="*/ 2063547 w 5794893"/>
              <a:gd name="connsiteY1955" fmla="*/ 4778533 h 6858000"/>
              <a:gd name="connsiteX1956" fmla="*/ 2047570 w 5794893"/>
              <a:gd name="connsiteY1956" fmla="*/ 4827695 h 6858000"/>
              <a:gd name="connsiteX1957" fmla="*/ 1945560 w 5794893"/>
              <a:gd name="connsiteY1957" fmla="*/ 4778533 h 6858000"/>
              <a:gd name="connsiteX1958" fmla="*/ 1925895 w 5794893"/>
              <a:gd name="connsiteY1958" fmla="*/ 4832611 h 6858000"/>
              <a:gd name="connsiteX1959" fmla="*/ 1827572 w 5794893"/>
              <a:gd name="connsiteY1959" fmla="*/ 4778533 h 6858000"/>
              <a:gd name="connsiteX1960" fmla="*/ 1802992 w 5794893"/>
              <a:gd name="connsiteY1960" fmla="*/ 4836297 h 6858000"/>
              <a:gd name="connsiteX1961" fmla="*/ 1709585 w 5794893"/>
              <a:gd name="connsiteY1961" fmla="*/ 4778533 h 6858000"/>
              <a:gd name="connsiteX1962" fmla="*/ 1680088 w 5794893"/>
              <a:gd name="connsiteY1962" fmla="*/ 4841213 h 6858000"/>
              <a:gd name="connsiteX1963" fmla="*/ 1591598 w 5794893"/>
              <a:gd name="connsiteY1963" fmla="*/ 4778533 h 6858000"/>
              <a:gd name="connsiteX1964" fmla="*/ 1557758 w 5794893"/>
              <a:gd name="connsiteY1964" fmla="*/ 4839214 h 6858000"/>
              <a:gd name="connsiteX1965" fmla="*/ 1477299 w 5794893"/>
              <a:gd name="connsiteY1965" fmla="*/ 4774846 h 6858000"/>
              <a:gd name="connsiteX1966" fmla="*/ 1440428 w 5794893"/>
              <a:gd name="connsiteY1966" fmla="*/ 4833839 h 6858000"/>
              <a:gd name="connsiteX1967" fmla="*/ 1557185 w 5794893"/>
              <a:gd name="connsiteY1967" fmla="*/ 4927246 h 6858000"/>
              <a:gd name="connsiteX1968" fmla="*/ 1593698 w 5794893"/>
              <a:gd name="connsiteY1968" fmla="*/ 4868825 h 6858000"/>
              <a:gd name="connsiteX1969" fmla="*/ 1682547 w 5794893"/>
              <a:gd name="connsiteY1969" fmla="*/ 4930934 h 6858000"/>
              <a:gd name="connsiteX1970" fmla="*/ 1715731 w 5794893"/>
              <a:gd name="connsiteY1970" fmla="*/ 4870710 h 6858000"/>
              <a:gd name="connsiteX1971" fmla="*/ 1812824 w 5794893"/>
              <a:gd name="connsiteY1971" fmla="*/ 4930934 h 6858000"/>
              <a:gd name="connsiteX1972" fmla="*/ 1839863 w 5794893"/>
              <a:gd name="connsiteY1972" fmla="*/ 4875626 h 6858000"/>
              <a:gd name="connsiteX1973" fmla="*/ 1943102 w 5794893"/>
              <a:gd name="connsiteY1973" fmla="*/ 4930934 h 6858000"/>
              <a:gd name="connsiteX1974" fmla="*/ 1965224 w 5794893"/>
              <a:gd name="connsiteY1974" fmla="*/ 4879314 h 6858000"/>
              <a:gd name="connsiteX1975" fmla="*/ 2073379 w 5794893"/>
              <a:gd name="connsiteY1975" fmla="*/ 4930934 h 6858000"/>
              <a:gd name="connsiteX1976" fmla="*/ 2090586 w 5794893"/>
              <a:gd name="connsiteY1976" fmla="*/ 4884230 h 6858000"/>
              <a:gd name="connsiteX1977" fmla="*/ 2202428 w 5794893"/>
              <a:gd name="connsiteY1977" fmla="*/ 4930934 h 6858000"/>
              <a:gd name="connsiteX1978" fmla="*/ 2215947 w 5794893"/>
              <a:gd name="connsiteY1978" fmla="*/ 4887917 h 6858000"/>
              <a:gd name="connsiteX1979" fmla="*/ 2331476 w 5794893"/>
              <a:gd name="connsiteY1979" fmla="*/ 4930934 h 6858000"/>
              <a:gd name="connsiteX1980" fmla="*/ 2342538 w 5794893"/>
              <a:gd name="connsiteY1980" fmla="*/ 4892833 h 6858000"/>
              <a:gd name="connsiteX1981" fmla="*/ 2461754 w 5794893"/>
              <a:gd name="connsiteY1981" fmla="*/ 4930934 h 6858000"/>
              <a:gd name="connsiteX1982" fmla="*/ 2470358 w 5794893"/>
              <a:gd name="connsiteY1982" fmla="*/ 4896521 h 6858000"/>
              <a:gd name="connsiteX1983" fmla="*/ 2590803 w 5794893"/>
              <a:gd name="connsiteY1983" fmla="*/ 4930934 h 6858000"/>
              <a:gd name="connsiteX1984" fmla="*/ 2596948 w 5794893"/>
              <a:gd name="connsiteY1984" fmla="*/ 4901437 h 6858000"/>
              <a:gd name="connsiteX1985" fmla="*/ 2719851 w 5794893"/>
              <a:gd name="connsiteY1985" fmla="*/ 4930934 h 6858000"/>
              <a:gd name="connsiteX1986" fmla="*/ 2724767 w 5794893"/>
              <a:gd name="connsiteY1986" fmla="*/ 4905123 h 6858000"/>
              <a:gd name="connsiteX1987" fmla="*/ 2850129 w 5794893"/>
              <a:gd name="connsiteY1987" fmla="*/ 4930934 h 6858000"/>
              <a:gd name="connsiteX1988" fmla="*/ 2853816 w 5794893"/>
              <a:gd name="connsiteY1988" fmla="*/ 4908811 h 6858000"/>
              <a:gd name="connsiteX1989" fmla="*/ 2980406 w 5794893"/>
              <a:gd name="connsiteY1989" fmla="*/ 4930934 h 6858000"/>
              <a:gd name="connsiteX1990" fmla="*/ 2982864 w 5794893"/>
              <a:gd name="connsiteY1990" fmla="*/ 4912497 h 6858000"/>
              <a:gd name="connsiteX1991" fmla="*/ 3109455 w 5794893"/>
              <a:gd name="connsiteY1991" fmla="*/ 4930934 h 6858000"/>
              <a:gd name="connsiteX1992" fmla="*/ 3110684 w 5794893"/>
              <a:gd name="connsiteY1992" fmla="*/ 4914956 h 6858000"/>
              <a:gd name="connsiteX1993" fmla="*/ 3238503 w 5794893"/>
              <a:gd name="connsiteY1993" fmla="*/ 4930934 h 6858000"/>
              <a:gd name="connsiteX1994" fmla="*/ 3239733 w 5794893"/>
              <a:gd name="connsiteY1994" fmla="*/ 4918643 h 6858000"/>
              <a:gd name="connsiteX1995" fmla="*/ 3368781 w 5794893"/>
              <a:gd name="connsiteY1995" fmla="*/ 4930934 h 6858000"/>
              <a:gd name="connsiteX1996" fmla="*/ 3370010 w 5794893"/>
              <a:gd name="connsiteY1996" fmla="*/ 4921101 h 6858000"/>
              <a:gd name="connsiteX1997" fmla="*/ 3499058 w 5794893"/>
              <a:gd name="connsiteY1997" fmla="*/ 4930934 h 6858000"/>
              <a:gd name="connsiteX1998" fmla="*/ 3499058 w 5794893"/>
              <a:gd name="connsiteY1998" fmla="*/ 4923559 h 6858000"/>
              <a:gd name="connsiteX1999" fmla="*/ 3628107 w 5794893"/>
              <a:gd name="connsiteY1999" fmla="*/ 4930934 h 6858000"/>
              <a:gd name="connsiteX2000" fmla="*/ 3628107 w 5794893"/>
              <a:gd name="connsiteY2000" fmla="*/ 4926017 h 6858000"/>
              <a:gd name="connsiteX2001" fmla="*/ 3636710 w 5794893"/>
              <a:gd name="connsiteY2001" fmla="*/ 4926017 h 6858000"/>
              <a:gd name="connsiteX2002" fmla="*/ 3716598 w 5794893"/>
              <a:gd name="connsiteY2002" fmla="*/ 4928476 h 6858000"/>
              <a:gd name="connsiteX2003" fmla="*/ 3716598 w 5794893"/>
              <a:gd name="connsiteY2003" fmla="*/ 4929704 h 6858000"/>
              <a:gd name="connsiteX2004" fmla="*/ 5721151 w 5794893"/>
              <a:gd name="connsiteY2004" fmla="*/ 4971491 h 6858000"/>
              <a:gd name="connsiteX2005" fmla="*/ 3717826 w 5794893"/>
              <a:gd name="connsiteY2005" fmla="*/ 4971491 h 6858000"/>
              <a:gd name="connsiteX2006" fmla="*/ 3717826 w 5794893"/>
              <a:gd name="connsiteY2006" fmla="*/ 4972721 h 6858000"/>
              <a:gd name="connsiteX2007" fmla="*/ 3599839 w 5794893"/>
              <a:gd name="connsiteY2007" fmla="*/ 4970263 h 6858000"/>
              <a:gd name="connsiteX2008" fmla="*/ 3599839 w 5794893"/>
              <a:gd name="connsiteY2008" fmla="*/ 4973949 h 6858000"/>
              <a:gd name="connsiteX2009" fmla="*/ 3481852 w 5794893"/>
              <a:gd name="connsiteY2009" fmla="*/ 4970263 h 6858000"/>
              <a:gd name="connsiteX2010" fmla="*/ 3481852 w 5794893"/>
              <a:gd name="connsiteY2010" fmla="*/ 4976407 h 6858000"/>
              <a:gd name="connsiteX2011" fmla="*/ 3363865 w 5794893"/>
              <a:gd name="connsiteY2011" fmla="*/ 4970263 h 6858000"/>
              <a:gd name="connsiteX2012" fmla="*/ 3363865 w 5794893"/>
              <a:gd name="connsiteY2012" fmla="*/ 4978865 h 6858000"/>
              <a:gd name="connsiteX2013" fmla="*/ 3245877 w 5794893"/>
              <a:gd name="connsiteY2013" fmla="*/ 4970263 h 6858000"/>
              <a:gd name="connsiteX2014" fmla="*/ 3245877 w 5794893"/>
              <a:gd name="connsiteY2014" fmla="*/ 4981323 h 6858000"/>
              <a:gd name="connsiteX2015" fmla="*/ 3127890 w 5794893"/>
              <a:gd name="connsiteY2015" fmla="*/ 4970263 h 6858000"/>
              <a:gd name="connsiteX2016" fmla="*/ 3126662 w 5794893"/>
              <a:gd name="connsiteY2016" fmla="*/ 4985011 h 6858000"/>
              <a:gd name="connsiteX2017" fmla="*/ 3008674 w 5794893"/>
              <a:gd name="connsiteY2017" fmla="*/ 4970263 h 6858000"/>
              <a:gd name="connsiteX2018" fmla="*/ 3007445 w 5794893"/>
              <a:gd name="connsiteY2018" fmla="*/ 4987469 h 6858000"/>
              <a:gd name="connsiteX2019" fmla="*/ 2890687 w 5794893"/>
              <a:gd name="connsiteY2019" fmla="*/ 4970263 h 6858000"/>
              <a:gd name="connsiteX2020" fmla="*/ 2888229 w 5794893"/>
              <a:gd name="connsiteY2020" fmla="*/ 4991156 h 6858000"/>
              <a:gd name="connsiteX2021" fmla="*/ 2772700 w 5794893"/>
              <a:gd name="connsiteY2021" fmla="*/ 4970263 h 6858000"/>
              <a:gd name="connsiteX2022" fmla="*/ 2769012 w 5794893"/>
              <a:gd name="connsiteY2022" fmla="*/ 4994843 h 6858000"/>
              <a:gd name="connsiteX2023" fmla="*/ 2654713 w 5794893"/>
              <a:gd name="connsiteY2023" fmla="*/ 4970263 h 6858000"/>
              <a:gd name="connsiteX2024" fmla="*/ 2649797 w 5794893"/>
              <a:gd name="connsiteY2024" fmla="*/ 4997301 h 6858000"/>
              <a:gd name="connsiteX2025" fmla="*/ 2536726 w 5794893"/>
              <a:gd name="connsiteY2025" fmla="*/ 4970263 h 6858000"/>
              <a:gd name="connsiteX2026" fmla="*/ 2530580 w 5794893"/>
              <a:gd name="connsiteY2026" fmla="*/ 5002218 h 6858000"/>
              <a:gd name="connsiteX2027" fmla="*/ 2418738 w 5794893"/>
              <a:gd name="connsiteY2027" fmla="*/ 4970263 h 6858000"/>
              <a:gd name="connsiteX2028" fmla="*/ 2411364 w 5794893"/>
              <a:gd name="connsiteY2028" fmla="*/ 5005904 h 6858000"/>
              <a:gd name="connsiteX2029" fmla="*/ 2300751 w 5794893"/>
              <a:gd name="connsiteY2029" fmla="*/ 4970263 h 6858000"/>
              <a:gd name="connsiteX2030" fmla="*/ 2290919 w 5794893"/>
              <a:gd name="connsiteY2030" fmla="*/ 5009592 h 6858000"/>
              <a:gd name="connsiteX2031" fmla="*/ 2182764 w 5794893"/>
              <a:gd name="connsiteY2031" fmla="*/ 4970263 h 6858000"/>
              <a:gd name="connsiteX2032" fmla="*/ 2170474 w 5794893"/>
              <a:gd name="connsiteY2032" fmla="*/ 5014508 h 6858000"/>
              <a:gd name="connsiteX2033" fmla="*/ 2064777 w 5794893"/>
              <a:gd name="connsiteY2033" fmla="*/ 4970263 h 6858000"/>
              <a:gd name="connsiteX2034" fmla="*/ 2048799 w 5794893"/>
              <a:gd name="connsiteY2034" fmla="*/ 5019424 h 6858000"/>
              <a:gd name="connsiteX2035" fmla="*/ 1946789 w 5794893"/>
              <a:gd name="connsiteY2035" fmla="*/ 4970263 h 6858000"/>
              <a:gd name="connsiteX2036" fmla="*/ 1927125 w 5794893"/>
              <a:gd name="connsiteY2036" fmla="*/ 5023110 h 6858000"/>
              <a:gd name="connsiteX2037" fmla="*/ 1828802 w 5794893"/>
              <a:gd name="connsiteY2037" fmla="*/ 4970263 h 6858000"/>
              <a:gd name="connsiteX2038" fmla="*/ 1804221 w 5794893"/>
              <a:gd name="connsiteY2038" fmla="*/ 5028027 h 6858000"/>
              <a:gd name="connsiteX2039" fmla="*/ 1710815 w 5794893"/>
              <a:gd name="connsiteY2039" fmla="*/ 4970263 h 6858000"/>
              <a:gd name="connsiteX2040" fmla="*/ 1681318 w 5794893"/>
              <a:gd name="connsiteY2040" fmla="*/ 5032943 h 6858000"/>
              <a:gd name="connsiteX2041" fmla="*/ 1592828 w 5794893"/>
              <a:gd name="connsiteY2041" fmla="*/ 4970263 h 6858000"/>
              <a:gd name="connsiteX2042" fmla="*/ 1557659 w 5794893"/>
              <a:gd name="connsiteY2042" fmla="*/ 5033322 h 6858000"/>
              <a:gd name="connsiteX2043" fmla="*/ 1477299 w 5794893"/>
              <a:gd name="connsiteY2043" fmla="*/ 4969033 h 6858000"/>
              <a:gd name="connsiteX2044" fmla="*/ 1440428 w 5794893"/>
              <a:gd name="connsiteY2044" fmla="*/ 5028027 h 6858000"/>
              <a:gd name="connsiteX2045" fmla="*/ 1557185 w 5794893"/>
              <a:gd name="connsiteY2045" fmla="*/ 5121433 h 6858000"/>
              <a:gd name="connsiteX2046" fmla="*/ 1594056 w 5794893"/>
              <a:gd name="connsiteY2046" fmla="*/ 5062440 h 6858000"/>
              <a:gd name="connsiteX2047" fmla="*/ 1569358 w 5794893"/>
              <a:gd name="connsiteY2047" fmla="*/ 5042682 h 6858000"/>
              <a:gd name="connsiteX2048" fmla="*/ 1683776 w 5794893"/>
              <a:gd name="connsiteY2048" fmla="*/ 5122663 h 6858000"/>
              <a:gd name="connsiteX2049" fmla="*/ 1716959 w 5794893"/>
              <a:gd name="connsiteY2049" fmla="*/ 5062440 h 6858000"/>
              <a:gd name="connsiteX2050" fmla="*/ 1814054 w 5794893"/>
              <a:gd name="connsiteY2050" fmla="*/ 5122663 h 6858000"/>
              <a:gd name="connsiteX2051" fmla="*/ 1841092 w 5794893"/>
              <a:gd name="connsiteY2051" fmla="*/ 5067356 h 6858000"/>
              <a:gd name="connsiteX2052" fmla="*/ 1944331 w 5794893"/>
              <a:gd name="connsiteY2052" fmla="*/ 5122663 h 6858000"/>
              <a:gd name="connsiteX2053" fmla="*/ 1966454 w 5794893"/>
              <a:gd name="connsiteY2053" fmla="*/ 5071043 h 6858000"/>
              <a:gd name="connsiteX2054" fmla="*/ 2074609 w 5794893"/>
              <a:gd name="connsiteY2054" fmla="*/ 5122663 h 6858000"/>
              <a:gd name="connsiteX2055" fmla="*/ 2091815 w 5794893"/>
              <a:gd name="connsiteY2055" fmla="*/ 5075960 h 6858000"/>
              <a:gd name="connsiteX2056" fmla="*/ 2203657 w 5794893"/>
              <a:gd name="connsiteY2056" fmla="*/ 5122663 h 6858000"/>
              <a:gd name="connsiteX2057" fmla="*/ 2217177 w 5794893"/>
              <a:gd name="connsiteY2057" fmla="*/ 5079646 h 6858000"/>
              <a:gd name="connsiteX2058" fmla="*/ 2332706 w 5794893"/>
              <a:gd name="connsiteY2058" fmla="*/ 5122663 h 6858000"/>
              <a:gd name="connsiteX2059" fmla="*/ 2343767 w 5794893"/>
              <a:gd name="connsiteY2059" fmla="*/ 5084562 h 6858000"/>
              <a:gd name="connsiteX2060" fmla="*/ 2462984 w 5794893"/>
              <a:gd name="connsiteY2060" fmla="*/ 5122663 h 6858000"/>
              <a:gd name="connsiteX2061" fmla="*/ 2471586 w 5794893"/>
              <a:gd name="connsiteY2061" fmla="*/ 5088250 h 6858000"/>
              <a:gd name="connsiteX2062" fmla="*/ 2593261 w 5794893"/>
              <a:gd name="connsiteY2062" fmla="*/ 5122663 h 6858000"/>
              <a:gd name="connsiteX2063" fmla="*/ 2599406 w 5794893"/>
              <a:gd name="connsiteY2063" fmla="*/ 5093166 h 6858000"/>
              <a:gd name="connsiteX2064" fmla="*/ 2722309 w 5794893"/>
              <a:gd name="connsiteY2064" fmla="*/ 5122663 h 6858000"/>
              <a:gd name="connsiteX2065" fmla="*/ 2727225 w 5794893"/>
              <a:gd name="connsiteY2065" fmla="*/ 5096852 h 6858000"/>
              <a:gd name="connsiteX2066" fmla="*/ 2852587 w 5794893"/>
              <a:gd name="connsiteY2066" fmla="*/ 5122663 h 6858000"/>
              <a:gd name="connsiteX2067" fmla="*/ 2856274 w 5794893"/>
              <a:gd name="connsiteY2067" fmla="*/ 5100540 h 6858000"/>
              <a:gd name="connsiteX2068" fmla="*/ 2982864 w 5794893"/>
              <a:gd name="connsiteY2068" fmla="*/ 5122663 h 6858000"/>
              <a:gd name="connsiteX2069" fmla="*/ 2985322 w 5794893"/>
              <a:gd name="connsiteY2069" fmla="*/ 5104227 h 6858000"/>
              <a:gd name="connsiteX2070" fmla="*/ 3111913 w 5794893"/>
              <a:gd name="connsiteY2070" fmla="*/ 5122663 h 6858000"/>
              <a:gd name="connsiteX2071" fmla="*/ 3113142 w 5794893"/>
              <a:gd name="connsiteY2071" fmla="*/ 5106685 h 6858000"/>
              <a:gd name="connsiteX2072" fmla="*/ 3240961 w 5794893"/>
              <a:gd name="connsiteY2072" fmla="*/ 5122663 h 6858000"/>
              <a:gd name="connsiteX2073" fmla="*/ 3242191 w 5794893"/>
              <a:gd name="connsiteY2073" fmla="*/ 5110372 h 6858000"/>
              <a:gd name="connsiteX2074" fmla="*/ 3371239 w 5794893"/>
              <a:gd name="connsiteY2074" fmla="*/ 5122663 h 6858000"/>
              <a:gd name="connsiteX2075" fmla="*/ 3372468 w 5794893"/>
              <a:gd name="connsiteY2075" fmla="*/ 5112831 h 6858000"/>
              <a:gd name="connsiteX2076" fmla="*/ 3501516 w 5794893"/>
              <a:gd name="connsiteY2076" fmla="*/ 5122663 h 6858000"/>
              <a:gd name="connsiteX2077" fmla="*/ 3501516 w 5794893"/>
              <a:gd name="connsiteY2077" fmla="*/ 5115289 h 6858000"/>
              <a:gd name="connsiteX2078" fmla="*/ 3630565 w 5794893"/>
              <a:gd name="connsiteY2078" fmla="*/ 5122663 h 6858000"/>
              <a:gd name="connsiteX2079" fmla="*/ 3630565 w 5794893"/>
              <a:gd name="connsiteY2079" fmla="*/ 5117747 h 6858000"/>
              <a:gd name="connsiteX2080" fmla="*/ 3639168 w 5794893"/>
              <a:gd name="connsiteY2080" fmla="*/ 5117747 h 6858000"/>
              <a:gd name="connsiteX2081" fmla="*/ 3719056 w 5794893"/>
              <a:gd name="connsiteY2081" fmla="*/ 5120205 h 6858000"/>
              <a:gd name="connsiteX2082" fmla="*/ 3719056 w 5794893"/>
              <a:gd name="connsiteY2082" fmla="*/ 5121433 h 6858000"/>
              <a:gd name="connsiteX2083" fmla="*/ 5716236 w 5794893"/>
              <a:gd name="connsiteY2083" fmla="*/ 5163220 h 6858000"/>
              <a:gd name="connsiteX2084" fmla="*/ 3719056 w 5794893"/>
              <a:gd name="connsiteY2084" fmla="*/ 5163220 h 6858000"/>
              <a:gd name="connsiteX2085" fmla="*/ 3719056 w 5794893"/>
              <a:gd name="connsiteY2085" fmla="*/ 5165678 h 6858000"/>
              <a:gd name="connsiteX2086" fmla="*/ 3601069 w 5794893"/>
              <a:gd name="connsiteY2086" fmla="*/ 5163220 h 6858000"/>
              <a:gd name="connsiteX2087" fmla="*/ 3601069 w 5794893"/>
              <a:gd name="connsiteY2087" fmla="*/ 5166908 h 6858000"/>
              <a:gd name="connsiteX2088" fmla="*/ 3483081 w 5794893"/>
              <a:gd name="connsiteY2088" fmla="*/ 5163220 h 6858000"/>
              <a:gd name="connsiteX2089" fmla="*/ 3483081 w 5794893"/>
              <a:gd name="connsiteY2089" fmla="*/ 5169366 h 6858000"/>
              <a:gd name="connsiteX2090" fmla="*/ 3365094 w 5794893"/>
              <a:gd name="connsiteY2090" fmla="*/ 5163220 h 6858000"/>
              <a:gd name="connsiteX2091" fmla="*/ 3365094 w 5794893"/>
              <a:gd name="connsiteY2091" fmla="*/ 5171824 h 6858000"/>
              <a:gd name="connsiteX2092" fmla="*/ 3247107 w 5794893"/>
              <a:gd name="connsiteY2092" fmla="*/ 5163220 h 6858000"/>
              <a:gd name="connsiteX2093" fmla="*/ 3247107 w 5794893"/>
              <a:gd name="connsiteY2093" fmla="*/ 5174282 h 6858000"/>
              <a:gd name="connsiteX2094" fmla="*/ 3129120 w 5794893"/>
              <a:gd name="connsiteY2094" fmla="*/ 5163220 h 6858000"/>
              <a:gd name="connsiteX2095" fmla="*/ 3127890 w 5794893"/>
              <a:gd name="connsiteY2095" fmla="*/ 5177969 h 6858000"/>
              <a:gd name="connsiteX2096" fmla="*/ 3009903 w 5794893"/>
              <a:gd name="connsiteY2096" fmla="*/ 5163220 h 6858000"/>
              <a:gd name="connsiteX2097" fmla="*/ 3008674 w 5794893"/>
              <a:gd name="connsiteY2097" fmla="*/ 5180427 h 6858000"/>
              <a:gd name="connsiteX2098" fmla="*/ 2891916 w 5794893"/>
              <a:gd name="connsiteY2098" fmla="*/ 5163220 h 6858000"/>
              <a:gd name="connsiteX2099" fmla="*/ 2889458 w 5794893"/>
              <a:gd name="connsiteY2099" fmla="*/ 5184115 h 6858000"/>
              <a:gd name="connsiteX2100" fmla="*/ 2773928 w 5794893"/>
              <a:gd name="connsiteY2100" fmla="*/ 5163220 h 6858000"/>
              <a:gd name="connsiteX2101" fmla="*/ 2770242 w 5794893"/>
              <a:gd name="connsiteY2101" fmla="*/ 5187801 h 6858000"/>
              <a:gd name="connsiteX2102" fmla="*/ 2655941 w 5794893"/>
              <a:gd name="connsiteY2102" fmla="*/ 5163220 h 6858000"/>
              <a:gd name="connsiteX2103" fmla="*/ 2651025 w 5794893"/>
              <a:gd name="connsiteY2103" fmla="*/ 5190259 h 6858000"/>
              <a:gd name="connsiteX2104" fmla="*/ 2537954 w 5794893"/>
              <a:gd name="connsiteY2104" fmla="*/ 5163220 h 6858000"/>
              <a:gd name="connsiteX2105" fmla="*/ 2531809 w 5794893"/>
              <a:gd name="connsiteY2105" fmla="*/ 5195175 h 6858000"/>
              <a:gd name="connsiteX2106" fmla="*/ 2419967 w 5794893"/>
              <a:gd name="connsiteY2106" fmla="*/ 5163220 h 6858000"/>
              <a:gd name="connsiteX2107" fmla="*/ 2412593 w 5794893"/>
              <a:gd name="connsiteY2107" fmla="*/ 5198863 h 6858000"/>
              <a:gd name="connsiteX2108" fmla="*/ 2301980 w 5794893"/>
              <a:gd name="connsiteY2108" fmla="*/ 5163220 h 6858000"/>
              <a:gd name="connsiteX2109" fmla="*/ 2292147 w 5794893"/>
              <a:gd name="connsiteY2109" fmla="*/ 5202549 h 6858000"/>
              <a:gd name="connsiteX2110" fmla="*/ 2183992 w 5794893"/>
              <a:gd name="connsiteY2110" fmla="*/ 5163220 h 6858000"/>
              <a:gd name="connsiteX2111" fmla="*/ 2171702 w 5794893"/>
              <a:gd name="connsiteY2111" fmla="*/ 5207466 h 6858000"/>
              <a:gd name="connsiteX2112" fmla="*/ 2066005 w 5794893"/>
              <a:gd name="connsiteY2112" fmla="*/ 5163220 h 6858000"/>
              <a:gd name="connsiteX2113" fmla="*/ 2050028 w 5794893"/>
              <a:gd name="connsiteY2113" fmla="*/ 5212382 h 6858000"/>
              <a:gd name="connsiteX2114" fmla="*/ 1948018 w 5794893"/>
              <a:gd name="connsiteY2114" fmla="*/ 5163220 h 6858000"/>
              <a:gd name="connsiteX2115" fmla="*/ 1928353 w 5794893"/>
              <a:gd name="connsiteY2115" fmla="*/ 5216069 h 6858000"/>
              <a:gd name="connsiteX2116" fmla="*/ 1830031 w 5794893"/>
              <a:gd name="connsiteY2116" fmla="*/ 5163220 h 6858000"/>
              <a:gd name="connsiteX2117" fmla="*/ 1805450 w 5794893"/>
              <a:gd name="connsiteY2117" fmla="*/ 5220986 h 6858000"/>
              <a:gd name="connsiteX2118" fmla="*/ 1712043 w 5794893"/>
              <a:gd name="connsiteY2118" fmla="*/ 5163220 h 6858000"/>
              <a:gd name="connsiteX2119" fmla="*/ 1682547 w 5794893"/>
              <a:gd name="connsiteY2119" fmla="*/ 5225902 h 6858000"/>
              <a:gd name="connsiteX2120" fmla="*/ 1594056 w 5794893"/>
              <a:gd name="connsiteY2120" fmla="*/ 5163220 h 6858000"/>
              <a:gd name="connsiteX2121" fmla="*/ 1558415 w 5794893"/>
              <a:gd name="connsiteY2121" fmla="*/ 5227130 h 6858000"/>
              <a:gd name="connsiteX2122" fmla="*/ 1685005 w 5794893"/>
              <a:gd name="connsiteY2122" fmla="*/ 5315620 h 6858000"/>
              <a:gd name="connsiteX2123" fmla="*/ 1718189 w 5794893"/>
              <a:gd name="connsiteY2123" fmla="*/ 5255398 h 6858000"/>
              <a:gd name="connsiteX2124" fmla="*/ 1815282 w 5794893"/>
              <a:gd name="connsiteY2124" fmla="*/ 5315620 h 6858000"/>
              <a:gd name="connsiteX2125" fmla="*/ 1842321 w 5794893"/>
              <a:gd name="connsiteY2125" fmla="*/ 5260315 h 6858000"/>
              <a:gd name="connsiteX2126" fmla="*/ 1945560 w 5794893"/>
              <a:gd name="connsiteY2126" fmla="*/ 5315620 h 6858000"/>
              <a:gd name="connsiteX2127" fmla="*/ 1967682 w 5794893"/>
              <a:gd name="connsiteY2127" fmla="*/ 5264001 h 6858000"/>
              <a:gd name="connsiteX2128" fmla="*/ 2075837 w 5794893"/>
              <a:gd name="connsiteY2128" fmla="*/ 5315620 h 6858000"/>
              <a:gd name="connsiteX2129" fmla="*/ 2093044 w 5794893"/>
              <a:gd name="connsiteY2129" fmla="*/ 5268917 h 6858000"/>
              <a:gd name="connsiteX2130" fmla="*/ 2204887 w 5794893"/>
              <a:gd name="connsiteY2130" fmla="*/ 5315620 h 6858000"/>
              <a:gd name="connsiteX2131" fmla="*/ 2218405 w 5794893"/>
              <a:gd name="connsiteY2131" fmla="*/ 5272605 h 6858000"/>
              <a:gd name="connsiteX2132" fmla="*/ 2333934 w 5794893"/>
              <a:gd name="connsiteY2132" fmla="*/ 5315620 h 6858000"/>
              <a:gd name="connsiteX2133" fmla="*/ 2344996 w 5794893"/>
              <a:gd name="connsiteY2133" fmla="*/ 5277521 h 6858000"/>
              <a:gd name="connsiteX2134" fmla="*/ 2464212 w 5794893"/>
              <a:gd name="connsiteY2134" fmla="*/ 5315620 h 6858000"/>
              <a:gd name="connsiteX2135" fmla="*/ 2472816 w 5794893"/>
              <a:gd name="connsiteY2135" fmla="*/ 5281208 h 6858000"/>
              <a:gd name="connsiteX2136" fmla="*/ 2594490 w 5794893"/>
              <a:gd name="connsiteY2136" fmla="*/ 5315620 h 6858000"/>
              <a:gd name="connsiteX2137" fmla="*/ 2600635 w 5794893"/>
              <a:gd name="connsiteY2137" fmla="*/ 5286124 h 6858000"/>
              <a:gd name="connsiteX2138" fmla="*/ 2723539 w 5794893"/>
              <a:gd name="connsiteY2138" fmla="*/ 5315620 h 6858000"/>
              <a:gd name="connsiteX2139" fmla="*/ 2728455 w 5794893"/>
              <a:gd name="connsiteY2139" fmla="*/ 5289811 h 6858000"/>
              <a:gd name="connsiteX2140" fmla="*/ 2853816 w 5794893"/>
              <a:gd name="connsiteY2140" fmla="*/ 5316850 h 6858000"/>
              <a:gd name="connsiteX2141" fmla="*/ 2857503 w 5794893"/>
              <a:gd name="connsiteY2141" fmla="*/ 5294728 h 6858000"/>
              <a:gd name="connsiteX2142" fmla="*/ 2984094 w 5794893"/>
              <a:gd name="connsiteY2142" fmla="*/ 5316850 h 6858000"/>
              <a:gd name="connsiteX2143" fmla="*/ 2986552 w 5794893"/>
              <a:gd name="connsiteY2143" fmla="*/ 5298414 h 6858000"/>
              <a:gd name="connsiteX2144" fmla="*/ 3113142 w 5794893"/>
              <a:gd name="connsiteY2144" fmla="*/ 5316850 h 6858000"/>
              <a:gd name="connsiteX2145" fmla="*/ 3114371 w 5794893"/>
              <a:gd name="connsiteY2145" fmla="*/ 5300872 h 6858000"/>
              <a:gd name="connsiteX2146" fmla="*/ 3242191 w 5794893"/>
              <a:gd name="connsiteY2146" fmla="*/ 5316850 h 6858000"/>
              <a:gd name="connsiteX2147" fmla="*/ 3243419 w 5794893"/>
              <a:gd name="connsiteY2147" fmla="*/ 5304560 h 6858000"/>
              <a:gd name="connsiteX2148" fmla="*/ 3372468 w 5794893"/>
              <a:gd name="connsiteY2148" fmla="*/ 5316850 h 6858000"/>
              <a:gd name="connsiteX2149" fmla="*/ 3373697 w 5794893"/>
              <a:gd name="connsiteY2149" fmla="*/ 5307018 h 6858000"/>
              <a:gd name="connsiteX2150" fmla="*/ 3502746 w 5794893"/>
              <a:gd name="connsiteY2150" fmla="*/ 5316850 h 6858000"/>
              <a:gd name="connsiteX2151" fmla="*/ 3502746 w 5794893"/>
              <a:gd name="connsiteY2151" fmla="*/ 5309476 h 6858000"/>
              <a:gd name="connsiteX2152" fmla="*/ 3631794 w 5794893"/>
              <a:gd name="connsiteY2152" fmla="*/ 5316850 h 6858000"/>
              <a:gd name="connsiteX2153" fmla="*/ 3631794 w 5794893"/>
              <a:gd name="connsiteY2153" fmla="*/ 5311934 h 6858000"/>
              <a:gd name="connsiteX2154" fmla="*/ 3640398 w 5794893"/>
              <a:gd name="connsiteY2154" fmla="*/ 5311934 h 6858000"/>
              <a:gd name="connsiteX2155" fmla="*/ 3720284 w 5794893"/>
              <a:gd name="connsiteY2155" fmla="*/ 5314392 h 6858000"/>
              <a:gd name="connsiteX2156" fmla="*/ 3720284 w 5794893"/>
              <a:gd name="connsiteY2156" fmla="*/ 5318079 h 6858000"/>
              <a:gd name="connsiteX2157" fmla="*/ 5611768 w 5794893"/>
              <a:gd name="connsiteY2157" fmla="*/ 5353721 h 6858000"/>
              <a:gd name="connsiteX2158" fmla="*/ 3720284 w 5794893"/>
              <a:gd name="connsiteY2158" fmla="*/ 5353721 h 6858000"/>
              <a:gd name="connsiteX2159" fmla="*/ 3720284 w 5794893"/>
              <a:gd name="connsiteY2159" fmla="*/ 5354950 h 6858000"/>
              <a:gd name="connsiteX2160" fmla="*/ 3602297 w 5794893"/>
              <a:gd name="connsiteY2160" fmla="*/ 5352493 h 6858000"/>
              <a:gd name="connsiteX2161" fmla="*/ 3602297 w 5794893"/>
              <a:gd name="connsiteY2161" fmla="*/ 5356179 h 6858000"/>
              <a:gd name="connsiteX2162" fmla="*/ 3484310 w 5794893"/>
              <a:gd name="connsiteY2162" fmla="*/ 5352493 h 6858000"/>
              <a:gd name="connsiteX2163" fmla="*/ 3484310 w 5794893"/>
              <a:gd name="connsiteY2163" fmla="*/ 5358637 h 6858000"/>
              <a:gd name="connsiteX2164" fmla="*/ 3366323 w 5794893"/>
              <a:gd name="connsiteY2164" fmla="*/ 5352493 h 6858000"/>
              <a:gd name="connsiteX2165" fmla="*/ 3366323 w 5794893"/>
              <a:gd name="connsiteY2165" fmla="*/ 5361095 h 6858000"/>
              <a:gd name="connsiteX2166" fmla="*/ 3248335 w 5794893"/>
              <a:gd name="connsiteY2166" fmla="*/ 5352493 h 6858000"/>
              <a:gd name="connsiteX2167" fmla="*/ 3248335 w 5794893"/>
              <a:gd name="connsiteY2167" fmla="*/ 5363553 h 6858000"/>
              <a:gd name="connsiteX2168" fmla="*/ 3130348 w 5794893"/>
              <a:gd name="connsiteY2168" fmla="*/ 5352493 h 6858000"/>
              <a:gd name="connsiteX2169" fmla="*/ 3129120 w 5794893"/>
              <a:gd name="connsiteY2169" fmla="*/ 5367240 h 6858000"/>
              <a:gd name="connsiteX2170" fmla="*/ 3011133 w 5794893"/>
              <a:gd name="connsiteY2170" fmla="*/ 5352493 h 6858000"/>
              <a:gd name="connsiteX2171" fmla="*/ 3009903 w 5794893"/>
              <a:gd name="connsiteY2171" fmla="*/ 5369698 h 6858000"/>
              <a:gd name="connsiteX2172" fmla="*/ 2893145 w 5794893"/>
              <a:gd name="connsiteY2172" fmla="*/ 5352493 h 6858000"/>
              <a:gd name="connsiteX2173" fmla="*/ 2890687 w 5794893"/>
              <a:gd name="connsiteY2173" fmla="*/ 5373386 h 6858000"/>
              <a:gd name="connsiteX2174" fmla="*/ 2775158 w 5794893"/>
              <a:gd name="connsiteY2174" fmla="*/ 5352493 h 6858000"/>
              <a:gd name="connsiteX2175" fmla="*/ 2771470 w 5794893"/>
              <a:gd name="connsiteY2175" fmla="*/ 5375844 h 6858000"/>
              <a:gd name="connsiteX2176" fmla="*/ 2657171 w 5794893"/>
              <a:gd name="connsiteY2176" fmla="*/ 5352493 h 6858000"/>
              <a:gd name="connsiteX2177" fmla="*/ 2652255 w 5794893"/>
              <a:gd name="connsiteY2177" fmla="*/ 5379530 h 6858000"/>
              <a:gd name="connsiteX2178" fmla="*/ 2539184 w 5794893"/>
              <a:gd name="connsiteY2178" fmla="*/ 5352493 h 6858000"/>
              <a:gd name="connsiteX2179" fmla="*/ 2533038 w 5794893"/>
              <a:gd name="connsiteY2179" fmla="*/ 5383218 h 6858000"/>
              <a:gd name="connsiteX2180" fmla="*/ 2421196 w 5794893"/>
              <a:gd name="connsiteY2180" fmla="*/ 5352493 h 6858000"/>
              <a:gd name="connsiteX2181" fmla="*/ 2413822 w 5794893"/>
              <a:gd name="connsiteY2181" fmla="*/ 5388134 h 6858000"/>
              <a:gd name="connsiteX2182" fmla="*/ 2303209 w 5794893"/>
              <a:gd name="connsiteY2182" fmla="*/ 5352493 h 6858000"/>
              <a:gd name="connsiteX2183" fmla="*/ 2293377 w 5794893"/>
              <a:gd name="connsiteY2183" fmla="*/ 5391821 h 6858000"/>
              <a:gd name="connsiteX2184" fmla="*/ 2185222 w 5794893"/>
              <a:gd name="connsiteY2184" fmla="*/ 5352493 h 6858000"/>
              <a:gd name="connsiteX2185" fmla="*/ 2172932 w 5794893"/>
              <a:gd name="connsiteY2185" fmla="*/ 5396738 h 6858000"/>
              <a:gd name="connsiteX2186" fmla="*/ 2067235 w 5794893"/>
              <a:gd name="connsiteY2186" fmla="*/ 5352493 h 6858000"/>
              <a:gd name="connsiteX2187" fmla="*/ 2051257 w 5794893"/>
              <a:gd name="connsiteY2187" fmla="*/ 5401654 h 6858000"/>
              <a:gd name="connsiteX2188" fmla="*/ 1949247 w 5794893"/>
              <a:gd name="connsiteY2188" fmla="*/ 5352493 h 6858000"/>
              <a:gd name="connsiteX2189" fmla="*/ 1929583 w 5794893"/>
              <a:gd name="connsiteY2189" fmla="*/ 5405341 h 6858000"/>
              <a:gd name="connsiteX2190" fmla="*/ 1831260 w 5794893"/>
              <a:gd name="connsiteY2190" fmla="*/ 5352493 h 6858000"/>
              <a:gd name="connsiteX2191" fmla="*/ 1806680 w 5794893"/>
              <a:gd name="connsiteY2191" fmla="*/ 5410257 h 6858000"/>
              <a:gd name="connsiteX2192" fmla="*/ 1713273 w 5794893"/>
              <a:gd name="connsiteY2192" fmla="*/ 5352493 h 6858000"/>
              <a:gd name="connsiteX2193" fmla="*/ 1683776 w 5794893"/>
              <a:gd name="connsiteY2193" fmla="*/ 5415173 h 6858000"/>
              <a:gd name="connsiteX2194" fmla="*/ 1595286 w 5794893"/>
              <a:gd name="connsiteY2194" fmla="*/ 5353721 h 6858000"/>
              <a:gd name="connsiteX2195" fmla="*/ 1559643 w 5794893"/>
              <a:gd name="connsiteY2195" fmla="*/ 5417631 h 6858000"/>
              <a:gd name="connsiteX2196" fmla="*/ 1686234 w 5794893"/>
              <a:gd name="connsiteY2196" fmla="*/ 5506121 h 6858000"/>
              <a:gd name="connsiteX2197" fmla="*/ 1719418 w 5794893"/>
              <a:gd name="connsiteY2197" fmla="*/ 5445899 h 6858000"/>
              <a:gd name="connsiteX2198" fmla="*/ 1816512 w 5794893"/>
              <a:gd name="connsiteY2198" fmla="*/ 5506121 h 6858000"/>
              <a:gd name="connsiteX2199" fmla="*/ 1843551 w 5794893"/>
              <a:gd name="connsiteY2199" fmla="*/ 5450815 h 6858000"/>
              <a:gd name="connsiteX2200" fmla="*/ 1946789 w 5794893"/>
              <a:gd name="connsiteY2200" fmla="*/ 5506121 h 6858000"/>
              <a:gd name="connsiteX2201" fmla="*/ 1968912 w 5794893"/>
              <a:gd name="connsiteY2201" fmla="*/ 5454502 h 6858000"/>
              <a:gd name="connsiteX2202" fmla="*/ 2077067 w 5794893"/>
              <a:gd name="connsiteY2202" fmla="*/ 5506121 h 6858000"/>
              <a:gd name="connsiteX2203" fmla="*/ 2094273 w 5794893"/>
              <a:gd name="connsiteY2203" fmla="*/ 5459418 h 6858000"/>
              <a:gd name="connsiteX2204" fmla="*/ 2206115 w 5794893"/>
              <a:gd name="connsiteY2204" fmla="*/ 5506121 h 6858000"/>
              <a:gd name="connsiteX2205" fmla="*/ 2219635 w 5794893"/>
              <a:gd name="connsiteY2205" fmla="*/ 5463106 h 6858000"/>
              <a:gd name="connsiteX2206" fmla="*/ 2335164 w 5794893"/>
              <a:gd name="connsiteY2206" fmla="*/ 5506121 h 6858000"/>
              <a:gd name="connsiteX2207" fmla="*/ 2346225 w 5794893"/>
              <a:gd name="connsiteY2207" fmla="*/ 5468021 h 6858000"/>
              <a:gd name="connsiteX2208" fmla="*/ 2465442 w 5794893"/>
              <a:gd name="connsiteY2208" fmla="*/ 5506121 h 6858000"/>
              <a:gd name="connsiteX2209" fmla="*/ 2474044 w 5794893"/>
              <a:gd name="connsiteY2209" fmla="*/ 5471708 h 6858000"/>
              <a:gd name="connsiteX2210" fmla="*/ 2595719 w 5794893"/>
              <a:gd name="connsiteY2210" fmla="*/ 5506121 h 6858000"/>
              <a:gd name="connsiteX2211" fmla="*/ 2601864 w 5794893"/>
              <a:gd name="connsiteY2211" fmla="*/ 5476625 h 6858000"/>
              <a:gd name="connsiteX2212" fmla="*/ 2724767 w 5794893"/>
              <a:gd name="connsiteY2212" fmla="*/ 5506121 h 6858000"/>
              <a:gd name="connsiteX2213" fmla="*/ 2729683 w 5794893"/>
              <a:gd name="connsiteY2213" fmla="*/ 5480311 h 6858000"/>
              <a:gd name="connsiteX2214" fmla="*/ 2855045 w 5794893"/>
              <a:gd name="connsiteY2214" fmla="*/ 5506121 h 6858000"/>
              <a:gd name="connsiteX2215" fmla="*/ 2858732 w 5794893"/>
              <a:gd name="connsiteY2215" fmla="*/ 5483999 h 6858000"/>
              <a:gd name="connsiteX2216" fmla="*/ 2985322 w 5794893"/>
              <a:gd name="connsiteY2216" fmla="*/ 5506121 h 6858000"/>
              <a:gd name="connsiteX2217" fmla="*/ 2987780 w 5794893"/>
              <a:gd name="connsiteY2217" fmla="*/ 5487686 h 6858000"/>
              <a:gd name="connsiteX2218" fmla="*/ 3114371 w 5794893"/>
              <a:gd name="connsiteY2218" fmla="*/ 5506121 h 6858000"/>
              <a:gd name="connsiteX2219" fmla="*/ 3115600 w 5794893"/>
              <a:gd name="connsiteY2219" fmla="*/ 5490143 h 6858000"/>
              <a:gd name="connsiteX2220" fmla="*/ 3243419 w 5794893"/>
              <a:gd name="connsiteY2220" fmla="*/ 5506121 h 6858000"/>
              <a:gd name="connsiteX2221" fmla="*/ 3244649 w 5794893"/>
              <a:gd name="connsiteY2221" fmla="*/ 5493831 h 6858000"/>
              <a:gd name="connsiteX2222" fmla="*/ 3373697 w 5794893"/>
              <a:gd name="connsiteY2222" fmla="*/ 5506121 h 6858000"/>
              <a:gd name="connsiteX2223" fmla="*/ 3374927 w 5794893"/>
              <a:gd name="connsiteY2223" fmla="*/ 5496289 h 6858000"/>
              <a:gd name="connsiteX2224" fmla="*/ 3503974 w 5794893"/>
              <a:gd name="connsiteY2224" fmla="*/ 5506121 h 6858000"/>
              <a:gd name="connsiteX2225" fmla="*/ 3503974 w 5794893"/>
              <a:gd name="connsiteY2225" fmla="*/ 5498747 h 6858000"/>
              <a:gd name="connsiteX2226" fmla="*/ 3633024 w 5794893"/>
              <a:gd name="connsiteY2226" fmla="*/ 5506121 h 6858000"/>
              <a:gd name="connsiteX2227" fmla="*/ 3633024 w 5794893"/>
              <a:gd name="connsiteY2227" fmla="*/ 5501205 h 6858000"/>
              <a:gd name="connsiteX2228" fmla="*/ 3641626 w 5794893"/>
              <a:gd name="connsiteY2228" fmla="*/ 5501205 h 6858000"/>
              <a:gd name="connsiteX2229" fmla="*/ 3721514 w 5794893"/>
              <a:gd name="connsiteY2229" fmla="*/ 5503663 h 6858000"/>
              <a:gd name="connsiteX2230" fmla="*/ 3721514 w 5794893"/>
              <a:gd name="connsiteY2230" fmla="*/ 5504892 h 6858000"/>
              <a:gd name="connsiteX2231" fmla="*/ 5766626 w 5794893"/>
              <a:gd name="connsiteY2231" fmla="*/ 5542992 h 6858000"/>
              <a:gd name="connsiteX2232" fmla="*/ 3720284 w 5794893"/>
              <a:gd name="connsiteY2232" fmla="*/ 5542992 h 6858000"/>
              <a:gd name="connsiteX2233" fmla="*/ 3720284 w 5794893"/>
              <a:gd name="connsiteY2233" fmla="*/ 5545450 h 6858000"/>
              <a:gd name="connsiteX2234" fmla="*/ 3602297 w 5794893"/>
              <a:gd name="connsiteY2234" fmla="*/ 5542992 h 6858000"/>
              <a:gd name="connsiteX2235" fmla="*/ 3602297 w 5794893"/>
              <a:gd name="connsiteY2235" fmla="*/ 5546679 h 6858000"/>
              <a:gd name="connsiteX2236" fmla="*/ 3484310 w 5794893"/>
              <a:gd name="connsiteY2236" fmla="*/ 5542992 h 6858000"/>
              <a:gd name="connsiteX2237" fmla="*/ 3484310 w 5794893"/>
              <a:gd name="connsiteY2237" fmla="*/ 5549138 h 6858000"/>
              <a:gd name="connsiteX2238" fmla="*/ 3366323 w 5794893"/>
              <a:gd name="connsiteY2238" fmla="*/ 5542992 h 6858000"/>
              <a:gd name="connsiteX2239" fmla="*/ 3366323 w 5794893"/>
              <a:gd name="connsiteY2239" fmla="*/ 5551595 h 6858000"/>
              <a:gd name="connsiteX2240" fmla="*/ 3248335 w 5794893"/>
              <a:gd name="connsiteY2240" fmla="*/ 5542992 h 6858000"/>
              <a:gd name="connsiteX2241" fmla="*/ 3248335 w 5794893"/>
              <a:gd name="connsiteY2241" fmla="*/ 5554053 h 6858000"/>
              <a:gd name="connsiteX2242" fmla="*/ 3130348 w 5794893"/>
              <a:gd name="connsiteY2242" fmla="*/ 5542992 h 6858000"/>
              <a:gd name="connsiteX2243" fmla="*/ 3129120 w 5794893"/>
              <a:gd name="connsiteY2243" fmla="*/ 5557741 h 6858000"/>
              <a:gd name="connsiteX2244" fmla="*/ 3011133 w 5794893"/>
              <a:gd name="connsiteY2244" fmla="*/ 5542992 h 6858000"/>
              <a:gd name="connsiteX2245" fmla="*/ 3009903 w 5794893"/>
              <a:gd name="connsiteY2245" fmla="*/ 5560199 h 6858000"/>
              <a:gd name="connsiteX2246" fmla="*/ 2893145 w 5794893"/>
              <a:gd name="connsiteY2246" fmla="*/ 5542992 h 6858000"/>
              <a:gd name="connsiteX2247" fmla="*/ 2890687 w 5794893"/>
              <a:gd name="connsiteY2247" fmla="*/ 5563885 h 6858000"/>
              <a:gd name="connsiteX2248" fmla="*/ 2775158 w 5794893"/>
              <a:gd name="connsiteY2248" fmla="*/ 5542992 h 6858000"/>
              <a:gd name="connsiteX2249" fmla="*/ 2771470 w 5794893"/>
              <a:gd name="connsiteY2249" fmla="*/ 5567573 h 6858000"/>
              <a:gd name="connsiteX2250" fmla="*/ 2657171 w 5794893"/>
              <a:gd name="connsiteY2250" fmla="*/ 5542992 h 6858000"/>
              <a:gd name="connsiteX2251" fmla="*/ 2652255 w 5794893"/>
              <a:gd name="connsiteY2251" fmla="*/ 5570031 h 6858000"/>
              <a:gd name="connsiteX2252" fmla="*/ 2539184 w 5794893"/>
              <a:gd name="connsiteY2252" fmla="*/ 5542992 h 6858000"/>
              <a:gd name="connsiteX2253" fmla="*/ 2533038 w 5794893"/>
              <a:gd name="connsiteY2253" fmla="*/ 5574947 h 6858000"/>
              <a:gd name="connsiteX2254" fmla="*/ 2421196 w 5794893"/>
              <a:gd name="connsiteY2254" fmla="*/ 5542992 h 6858000"/>
              <a:gd name="connsiteX2255" fmla="*/ 2413822 w 5794893"/>
              <a:gd name="connsiteY2255" fmla="*/ 5578634 h 6858000"/>
              <a:gd name="connsiteX2256" fmla="*/ 2303209 w 5794893"/>
              <a:gd name="connsiteY2256" fmla="*/ 5542992 h 6858000"/>
              <a:gd name="connsiteX2257" fmla="*/ 2293377 w 5794893"/>
              <a:gd name="connsiteY2257" fmla="*/ 5582321 h 6858000"/>
              <a:gd name="connsiteX2258" fmla="*/ 2185222 w 5794893"/>
              <a:gd name="connsiteY2258" fmla="*/ 5542992 h 6858000"/>
              <a:gd name="connsiteX2259" fmla="*/ 2172932 w 5794893"/>
              <a:gd name="connsiteY2259" fmla="*/ 5587238 h 6858000"/>
              <a:gd name="connsiteX2260" fmla="*/ 2067235 w 5794893"/>
              <a:gd name="connsiteY2260" fmla="*/ 5542992 h 6858000"/>
              <a:gd name="connsiteX2261" fmla="*/ 2051257 w 5794893"/>
              <a:gd name="connsiteY2261" fmla="*/ 5592154 h 6858000"/>
              <a:gd name="connsiteX2262" fmla="*/ 1949247 w 5794893"/>
              <a:gd name="connsiteY2262" fmla="*/ 5542992 h 6858000"/>
              <a:gd name="connsiteX2263" fmla="*/ 1929583 w 5794893"/>
              <a:gd name="connsiteY2263" fmla="*/ 5595840 h 6858000"/>
              <a:gd name="connsiteX2264" fmla="*/ 1831260 w 5794893"/>
              <a:gd name="connsiteY2264" fmla="*/ 5542992 h 6858000"/>
              <a:gd name="connsiteX2265" fmla="*/ 1806680 w 5794893"/>
              <a:gd name="connsiteY2265" fmla="*/ 5600756 h 6858000"/>
              <a:gd name="connsiteX2266" fmla="*/ 1713273 w 5794893"/>
              <a:gd name="connsiteY2266" fmla="*/ 5542992 h 6858000"/>
              <a:gd name="connsiteX2267" fmla="*/ 1683776 w 5794893"/>
              <a:gd name="connsiteY2267" fmla="*/ 5605674 h 6858000"/>
              <a:gd name="connsiteX2268" fmla="*/ 1595286 w 5794893"/>
              <a:gd name="connsiteY2268" fmla="*/ 5542992 h 6858000"/>
              <a:gd name="connsiteX2269" fmla="*/ 1559643 w 5794893"/>
              <a:gd name="connsiteY2269" fmla="*/ 5606902 h 6858000"/>
              <a:gd name="connsiteX2270" fmla="*/ 1685005 w 5794893"/>
              <a:gd name="connsiteY2270" fmla="*/ 5695392 h 6858000"/>
              <a:gd name="connsiteX2271" fmla="*/ 1718189 w 5794893"/>
              <a:gd name="connsiteY2271" fmla="*/ 5635170 h 6858000"/>
              <a:gd name="connsiteX2272" fmla="*/ 1815282 w 5794893"/>
              <a:gd name="connsiteY2272" fmla="*/ 5695392 h 6858000"/>
              <a:gd name="connsiteX2273" fmla="*/ 1842321 w 5794893"/>
              <a:gd name="connsiteY2273" fmla="*/ 5640085 h 6858000"/>
              <a:gd name="connsiteX2274" fmla="*/ 1945560 w 5794893"/>
              <a:gd name="connsiteY2274" fmla="*/ 5695392 h 6858000"/>
              <a:gd name="connsiteX2275" fmla="*/ 1967682 w 5794893"/>
              <a:gd name="connsiteY2275" fmla="*/ 5643773 h 6858000"/>
              <a:gd name="connsiteX2276" fmla="*/ 2075837 w 5794893"/>
              <a:gd name="connsiteY2276" fmla="*/ 5695392 h 6858000"/>
              <a:gd name="connsiteX2277" fmla="*/ 2093044 w 5794893"/>
              <a:gd name="connsiteY2277" fmla="*/ 5648689 h 6858000"/>
              <a:gd name="connsiteX2278" fmla="*/ 2204887 w 5794893"/>
              <a:gd name="connsiteY2278" fmla="*/ 5695392 h 6858000"/>
              <a:gd name="connsiteX2279" fmla="*/ 2218405 w 5794893"/>
              <a:gd name="connsiteY2279" fmla="*/ 5652376 h 6858000"/>
              <a:gd name="connsiteX2280" fmla="*/ 2333934 w 5794893"/>
              <a:gd name="connsiteY2280" fmla="*/ 5695392 h 6858000"/>
              <a:gd name="connsiteX2281" fmla="*/ 2344996 w 5794893"/>
              <a:gd name="connsiteY2281" fmla="*/ 5657292 h 6858000"/>
              <a:gd name="connsiteX2282" fmla="*/ 2464212 w 5794893"/>
              <a:gd name="connsiteY2282" fmla="*/ 5695392 h 6858000"/>
              <a:gd name="connsiteX2283" fmla="*/ 2472816 w 5794893"/>
              <a:gd name="connsiteY2283" fmla="*/ 5660980 h 6858000"/>
              <a:gd name="connsiteX2284" fmla="*/ 2593261 w 5794893"/>
              <a:gd name="connsiteY2284" fmla="*/ 5695392 h 6858000"/>
              <a:gd name="connsiteX2285" fmla="*/ 2598177 w 5794893"/>
              <a:gd name="connsiteY2285" fmla="*/ 5667125 h 6858000"/>
              <a:gd name="connsiteX2286" fmla="*/ 2721081 w 5794893"/>
              <a:gd name="connsiteY2286" fmla="*/ 5696622 h 6858000"/>
              <a:gd name="connsiteX2287" fmla="*/ 2725997 w 5794893"/>
              <a:gd name="connsiteY2287" fmla="*/ 5670812 h 6858000"/>
              <a:gd name="connsiteX2288" fmla="*/ 2851358 w 5794893"/>
              <a:gd name="connsiteY2288" fmla="*/ 5696622 h 6858000"/>
              <a:gd name="connsiteX2289" fmla="*/ 2855045 w 5794893"/>
              <a:gd name="connsiteY2289" fmla="*/ 5674498 h 6858000"/>
              <a:gd name="connsiteX2290" fmla="*/ 2981636 w 5794893"/>
              <a:gd name="connsiteY2290" fmla="*/ 5696622 h 6858000"/>
              <a:gd name="connsiteX2291" fmla="*/ 2984094 w 5794893"/>
              <a:gd name="connsiteY2291" fmla="*/ 5678186 h 6858000"/>
              <a:gd name="connsiteX2292" fmla="*/ 3110684 w 5794893"/>
              <a:gd name="connsiteY2292" fmla="*/ 5696622 h 6858000"/>
              <a:gd name="connsiteX2293" fmla="*/ 3113142 w 5794893"/>
              <a:gd name="connsiteY2293" fmla="*/ 5680644 h 6858000"/>
              <a:gd name="connsiteX2294" fmla="*/ 3240961 w 5794893"/>
              <a:gd name="connsiteY2294" fmla="*/ 5696622 h 6858000"/>
              <a:gd name="connsiteX2295" fmla="*/ 3242191 w 5794893"/>
              <a:gd name="connsiteY2295" fmla="*/ 5684332 h 6858000"/>
              <a:gd name="connsiteX2296" fmla="*/ 3371239 w 5794893"/>
              <a:gd name="connsiteY2296" fmla="*/ 5696622 h 6858000"/>
              <a:gd name="connsiteX2297" fmla="*/ 3372468 w 5794893"/>
              <a:gd name="connsiteY2297" fmla="*/ 5686789 h 6858000"/>
              <a:gd name="connsiteX2298" fmla="*/ 3501516 w 5794893"/>
              <a:gd name="connsiteY2298" fmla="*/ 5696622 h 6858000"/>
              <a:gd name="connsiteX2299" fmla="*/ 3501516 w 5794893"/>
              <a:gd name="connsiteY2299" fmla="*/ 5689247 h 6858000"/>
              <a:gd name="connsiteX2300" fmla="*/ 3630565 w 5794893"/>
              <a:gd name="connsiteY2300" fmla="*/ 5696622 h 6858000"/>
              <a:gd name="connsiteX2301" fmla="*/ 3630565 w 5794893"/>
              <a:gd name="connsiteY2301" fmla="*/ 5691706 h 6858000"/>
              <a:gd name="connsiteX2302" fmla="*/ 3639168 w 5794893"/>
              <a:gd name="connsiteY2302" fmla="*/ 5691706 h 6858000"/>
              <a:gd name="connsiteX2303" fmla="*/ 3719056 w 5794893"/>
              <a:gd name="connsiteY2303" fmla="*/ 5694163 h 6858000"/>
              <a:gd name="connsiteX2304" fmla="*/ 3719056 w 5794893"/>
              <a:gd name="connsiteY2304" fmla="*/ 5695392 h 6858000"/>
              <a:gd name="connsiteX2305" fmla="*/ 5581043 w 5794893"/>
              <a:gd name="connsiteY2305" fmla="*/ 5739638 h 6858000"/>
              <a:gd name="connsiteX2306" fmla="*/ 3715368 w 5794893"/>
              <a:gd name="connsiteY2306" fmla="*/ 5739638 h 6858000"/>
              <a:gd name="connsiteX2307" fmla="*/ 3715368 w 5794893"/>
              <a:gd name="connsiteY2307" fmla="*/ 5742096 h 6858000"/>
              <a:gd name="connsiteX2308" fmla="*/ 3597381 w 5794893"/>
              <a:gd name="connsiteY2308" fmla="*/ 5739638 h 6858000"/>
              <a:gd name="connsiteX2309" fmla="*/ 3597381 w 5794893"/>
              <a:gd name="connsiteY2309" fmla="*/ 5743324 h 6858000"/>
              <a:gd name="connsiteX2310" fmla="*/ 3479394 w 5794893"/>
              <a:gd name="connsiteY2310" fmla="*/ 5739638 h 6858000"/>
              <a:gd name="connsiteX2311" fmla="*/ 3479394 w 5794893"/>
              <a:gd name="connsiteY2311" fmla="*/ 5745784 h 6858000"/>
              <a:gd name="connsiteX2312" fmla="*/ 3361406 w 5794893"/>
              <a:gd name="connsiteY2312" fmla="*/ 5739638 h 6858000"/>
              <a:gd name="connsiteX2313" fmla="*/ 3361406 w 5794893"/>
              <a:gd name="connsiteY2313" fmla="*/ 5748240 h 6858000"/>
              <a:gd name="connsiteX2314" fmla="*/ 3243419 w 5794893"/>
              <a:gd name="connsiteY2314" fmla="*/ 5739638 h 6858000"/>
              <a:gd name="connsiteX2315" fmla="*/ 3243419 w 5794893"/>
              <a:gd name="connsiteY2315" fmla="*/ 5750698 h 6858000"/>
              <a:gd name="connsiteX2316" fmla="*/ 3125432 w 5794893"/>
              <a:gd name="connsiteY2316" fmla="*/ 5739638 h 6858000"/>
              <a:gd name="connsiteX2317" fmla="*/ 3124204 w 5794893"/>
              <a:gd name="connsiteY2317" fmla="*/ 5754386 h 6858000"/>
              <a:gd name="connsiteX2318" fmla="*/ 3006216 w 5794893"/>
              <a:gd name="connsiteY2318" fmla="*/ 5739638 h 6858000"/>
              <a:gd name="connsiteX2319" fmla="*/ 3004987 w 5794893"/>
              <a:gd name="connsiteY2319" fmla="*/ 5756844 h 6858000"/>
              <a:gd name="connsiteX2320" fmla="*/ 2888229 w 5794893"/>
              <a:gd name="connsiteY2320" fmla="*/ 5739638 h 6858000"/>
              <a:gd name="connsiteX2321" fmla="*/ 2885771 w 5794893"/>
              <a:gd name="connsiteY2321" fmla="*/ 5760531 h 6858000"/>
              <a:gd name="connsiteX2322" fmla="*/ 2770242 w 5794893"/>
              <a:gd name="connsiteY2322" fmla="*/ 5739638 h 6858000"/>
              <a:gd name="connsiteX2323" fmla="*/ 2766554 w 5794893"/>
              <a:gd name="connsiteY2323" fmla="*/ 5762989 h 6858000"/>
              <a:gd name="connsiteX2324" fmla="*/ 2652255 w 5794893"/>
              <a:gd name="connsiteY2324" fmla="*/ 5739638 h 6858000"/>
              <a:gd name="connsiteX2325" fmla="*/ 2647339 w 5794893"/>
              <a:gd name="connsiteY2325" fmla="*/ 5766676 h 6858000"/>
              <a:gd name="connsiteX2326" fmla="*/ 2534268 w 5794893"/>
              <a:gd name="connsiteY2326" fmla="*/ 5739638 h 6858000"/>
              <a:gd name="connsiteX2327" fmla="*/ 2528122 w 5794893"/>
              <a:gd name="connsiteY2327" fmla="*/ 5770364 h 6858000"/>
              <a:gd name="connsiteX2328" fmla="*/ 2416280 w 5794893"/>
              <a:gd name="connsiteY2328" fmla="*/ 5739638 h 6858000"/>
              <a:gd name="connsiteX2329" fmla="*/ 2408906 w 5794893"/>
              <a:gd name="connsiteY2329" fmla="*/ 5775279 h 6858000"/>
              <a:gd name="connsiteX2330" fmla="*/ 2298293 w 5794893"/>
              <a:gd name="connsiteY2330" fmla="*/ 5739638 h 6858000"/>
              <a:gd name="connsiteX2331" fmla="*/ 2288461 w 5794893"/>
              <a:gd name="connsiteY2331" fmla="*/ 5778967 h 6858000"/>
              <a:gd name="connsiteX2332" fmla="*/ 2180306 w 5794893"/>
              <a:gd name="connsiteY2332" fmla="*/ 5739638 h 6858000"/>
              <a:gd name="connsiteX2333" fmla="*/ 2168015 w 5794893"/>
              <a:gd name="connsiteY2333" fmla="*/ 5783883 h 6858000"/>
              <a:gd name="connsiteX2334" fmla="*/ 2062319 w 5794893"/>
              <a:gd name="connsiteY2334" fmla="*/ 5739638 h 6858000"/>
              <a:gd name="connsiteX2335" fmla="*/ 2046340 w 5794893"/>
              <a:gd name="connsiteY2335" fmla="*/ 5788799 h 6858000"/>
              <a:gd name="connsiteX2336" fmla="*/ 1944331 w 5794893"/>
              <a:gd name="connsiteY2336" fmla="*/ 5739638 h 6858000"/>
              <a:gd name="connsiteX2337" fmla="*/ 1924667 w 5794893"/>
              <a:gd name="connsiteY2337" fmla="*/ 5792485 h 6858000"/>
              <a:gd name="connsiteX2338" fmla="*/ 1826344 w 5794893"/>
              <a:gd name="connsiteY2338" fmla="*/ 5739638 h 6858000"/>
              <a:gd name="connsiteX2339" fmla="*/ 1801763 w 5794893"/>
              <a:gd name="connsiteY2339" fmla="*/ 5797402 h 6858000"/>
              <a:gd name="connsiteX2340" fmla="*/ 1708357 w 5794893"/>
              <a:gd name="connsiteY2340" fmla="*/ 5739638 h 6858000"/>
              <a:gd name="connsiteX2341" fmla="*/ 1678860 w 5794893"/>
              <a:gd name="connsiteY2341" fmla="*/ 5801089 h 6858000"/>
              <a:gd name="connsiteX2342" fmla="*/ 1590370 w 5794893"/>
              <a:gd name="connsiteY2342" fmla="*/ 5739638 h 6858000"/>
              <a:gd name="connsiteX2343" fmla="*/ 1557002 w 5794893"/>
              <a:gd name="connsiteY2343" fmla="*/ 5799468 h 6858000"/>
              <a:gd name="connsiteX2344" fmla="*/ 1476069 w 5794893"/>
              <a:gd name="connsiteY2344" fmla="*/ 5734722 h 6858000"/>
              <a:gd name="connsiteX2345" fmla="*/ 1439198 w 5794893"/>
              <a:gd name="connsiteY2345" fmla="*/ 5793715 h 6858000"/>
              <a:gd name="connsiteX2346" fmla="*/ 1555957 w 5794893"/>
              <a:gd name="connsiteY2346" fmla="*/ 5887122 h 6858000"/>
              <a:gd name="connsiteX2347" fmla="*/ 1591935 w 5794893"/>
              <a:gd name="connsiteY2347" fmla="*/ 5829557 h 6858000"/>
              <a:gd name="connsiteX2348" fmla="*/ 1681318 w 5794893"/>
              <a:gd name="connsiteY2348" fmla="*/ 5892038 h 6858000"/>
              <a:gd name="connsiteX2349" fmla="*/ 1714501 w 5794893"/>
              <a:gd name="connsiteY2349" fmla="*/ 5831816 h 6858000"/>
              <a:gd name="connsiteX2350" fmla="*/ 1811596 w 5794893"/>
              <a:gd name="connsiteY2350" fmla="*/ 5892038 h 6858000"/>
              <a:gd name="connsiteX2351" fmla="*/ 1838634 w 5794893"/>
              <a:gd name="connsiteY2351" fmla="*/ 5836731 h 6858000"/>
              <a:gd name="connsiteX2352" fmla="*/ 1941873 w 5794893"/>
              <a:gd name="connsiteY2352" fmla="*/ 5892038 h 6858000"/>
              <a:gd name="connsiteX2353" fmla="*/ 1963996 w 5794893"/>
              <a:gd name="connsiteY2353" fmla="*/ 5840418 h 6858000"/>
              <a:gd name="connsiteX2354" fmla="*/ 2072151 w 5794893"/>
              <a:gd name="connsiteY2354" fmla="*/ 5892038 h 6858000"/>
              <a:gd name="connsiteX2355" fmla="*/ 2089357 w 5794893"/>
              <a:gd name="connsiteY2355" fmla="*/ 5845335 h 6858000"/>
              <a:gd name="connsiteX2356" fmla="*/ 2201199 w 5794893"/>
              <a:gd name="connsiteY2356" fmla="*/ 5892038 h 6858000"/>
              <a:gd name="connsiteX2357" fmla="*/ 2214719 w 5794893"/>
              <a:gd name="connsiteY2357" fmla="*/ 5849021 h 6858000"/>
              <a:gd name="connsiteX2358" fmla="*/ 2330248 w 5794893"/>
              <a:gd name="connsiteY2358" fmla="*/ 5892038 h 6858000"/>
              <a:gd name="connsiteX2359" fmla="*/ 2341309 w 5794893"/>
              <a:gd name="connsiteY2359" fmla="*/ 5853937 h 6858000"/>
              <a:gd name="connsiteX2360" fmla="*/ 2460525 w 5794893"/>
              <a:gd name="connsiteY2360" fmla="*/ 5892038 h 6858000"/>
              <a:gd name="connsiteX2361" fmla="*/ 2469128 w 5794893"/>
              <a:gd name="connsiteY2361" fmla="*/ 5857625 h 6858000"/>
              <a:gd name="connsiteX2362" fmla="*/ 2590803 w 5794893"/>
              <a:gd name="connsiteY2362" fmla="*/ 5892038 h 6858000"/>
              <a:gd name="connsiteX2363" fmla="*/ 2596948 w 5794893"/>
              <a:gd name="connsiteY2363" fmla="*/ 5862541 h 6858000"/>
              <a:gd name="connsiteX2364" fmla="*/ 2719851 w 5794893"/>
              <a:gd name="connsiteY2364" fmla="*/ 5892038 h 6858000"/>
              <a:gd name="connsiteX2365" fmla="*/ 2724767 w 5794893"/>
              <a:gd name="connsiteY2365" fmla="*/ 5866228 h 6858000"/>
              <a:gd name="connsiteX2366" fmla="*/ 2850129 w 5794893"/>
              <a:gd name="connsiteY2366" fmla="*/ 5892038 h 6858000"/>
              <a:gd name="connsiteX2367" fmla="*/ 2853816 w 5794893"/>
              <a:gd name="connsiteY2367" fmla="*/ 5869915 h 6858000"/>
              <a:gd name="connsiteX2368" fmla="*/ 2980406 w 5794893"/>
              <a:gd name="connsiteY2368" fmla="*/ 5892038 h 6858000"/>
              <a:gd name="connsiteX2369" fmla="*/ 2982864 w 5794893"/>
              <a:gd name="connsiteY2369" fmla="*/ 5873602 h 6858000"/>
              <a:gd name="connsiteX2370" fmla="*/ 3109455 w 5794893"/>
              <a:gd name="connsiteY2370" fmla="*/ 5892038 h 6858000"/>
              <a:gd name="connsiteX2371" fmla="*/ 3110684 w 5794893"/>
              <a:gd name="connsiteY2371" fmla="*/ 5876061 h 6858000"/>
              <a:gd name="connsiteX2372" fmla="*/ 3238503 w 5794893"/>
              <a:gd name="connsiteY2372" fmla="*/ 5892038 h 6858000"/>
              <a:gd name="connsiteX2373" fmla="*/ 3239733 w 5794893"/>
              <a:gd name="connsiteY2373" fmla="*/ 5879748 h 6858000"/>
              <a:gd name="connsiteX2374" fmla="*/ 3368781 w 5794893"/>
              <a:gd name="connsiteY2374" fmla="*/ 5892038 h 6858000"/>
              <a:gd name="connsiteX2375" fmla="*/ 3370010 w 5794893"/>
              <a:gd name="connsiteY2375" fmla="*/ 5882206 h 6858000"/>
              <a:gd name="connsiteX2376" fmla="*/ 3499058 w 5794893"/>
              <a:gd name="connsiteY2376" fmla="*/ 5892038 h 6858000"/>
              <a:gd name="connsiteX2377" fmla="*/ 3499058 w 5794893"/>
              <a:gd name="connsiteY2377" fmla="*/ 5884664 h 6858000"/>
              <a:gd name="connsiteX2378" fmla="*/ 3628107 w 5794893"/>
              <a:gd name="connsiteY2378" fmla="*/ 5892038 h 6858000"/>
              <a:gd name="connsiteX2379" fmla="*/ 3628107 w 5794893"/>
              <a:gd name="connsiteY2379" fmla="*/ 5887122 h 6858000"/>
              <a:gd name="connsiteX2380" fmla="*/ 3636710 w 5794893"/>
              <a:gd name="connsiteY2380" fmla="*/ 5887122 h 6858000"/>
              <a:gd name="connsiteX2381" fmla="*/ 3716598 w 5794893"/>
              <a:gd name="connsiteY2381" fmla="*/ 5889580 h 6858000"/>
              <a:gd name="connsiteX2382" fmla="*/ 3716598 w 5794893"/>
              <a:gd name="connsiteY2382" fmla="*/ 5890808 h 6858000"/>
              <a:gd name="connsiteX2383" fmla="*/ 5568752 w 5794893"/>
              <a:gd name="connsiteY2383" fmla="*/ 5928909 h 6858000"/>
              <a:gd name="connsiteX2384" fmla="*/ 3716598 w 5794893"/>
              <a:gd name="connsiteY2384" fmla="*/ 5928909 h 6858000"/>
              <a:gd name="connsiteX2385" fmla="*/ 3717826 w 5794893"/>
              <a:gd name="connsiteY2385" fmla="*/ 5931367 h 6858000"/>
              <a:gd name="connsiteX2386" fmla="*/ 3599839 w 5794893"/>
              <a:gd name="connsiteY2386" fmla="*/ 5928909 h 6858000"/>
              <a:gd name="connsiteX2387" fmla="*/ 3599839 w 5794893"/>
              <a:gd name="connsiteY2387" fmla="*/ 5932595 h 6858000"/>
              <a:gd name="connsiteX2388" fmla="*/ 3481852 w 5794893"/>
              <a:gd name="connsiteY2388" fmla="*/ 5928909 h 6858000"/>
              <a:gd name="connsiteX2389" fmla="*/ 3481852 w 5794893"/>
              <a:gd name="connsiteY2389" fmla="*/ 5935053 h 6858000"/>
              <a:gd name="connsiteX2390" fmla="*/ 3363865 w 5794893"/>
              <a:gd name="connsiteY2390" fmla="*/ 5928909 h 6858000"/>
              <a:gd name="connsiteX2391" fmla="*/ 3363865 w 5794893"/>
              <a:gd name="connsiteY2391" fmla="*/ 5937513 h 6858000"/>
              <a:gd name="connsiteX2392" fmla="*/ 3245877 w 5794893"/>
              <a:gd name="connsiteY2392" fmla="*/ 5928909 h 6858000"/>
              <a:gd name="connsiteX2393" fmla="*/ 3245877 w 5794893"/>
              <a:gd name="connsiteY2393" fmla="*/ 5939970 h 6858000"/>
              <a:gd name="connsiteX2394" fmla="*/ 3127890 w 5794893"/>
              <a:gd name="connsiteY2394" fmla="*/ 5928909 h 6858000"/>
              <a:gd name="connsiteX2395" fmla="*/ 3126662 w 5794893"/>
              <a:gd name="connsiteY2395" fmla="*/ 5943657 h 6858000"/>
              <a:gd name="connsiteX2396" fmla="*/ 3008674 w 5794893"/>
              <a:gd name="connsiteY2396" fmla="*/ 5928909 h 6858000"/>
              <a:gd name="connsiteX2397" fmla="*/ 3007445 w 5794893"/>
              <a:gd name="connsiteY2397" fmla="*/ 5946115 h 6858000"/>
              <a:gd name="connsiteX2398" fmla="*/ 2890687 w 5794893"/>
              <a:gd name="connsiteY2398" fmla="*/ 5928909 h 6858000"/>
              <a:gd name="connsiteX2399" fmla="*/ 2888229 w 5794893"/>
              <a:gd name="connsiteY2399" fmla="*/ 5949803 h 6858000"/>
              <a:gd name="connsiteX2400" fmla="*/ 2772700 w 5794893"/>
              <a:gd name="connsiteY2400" fmla="*/ 5928909 h 6858000"/>
              <a:gd name="connsiteX2401" fmla="*/ 2769012 w 5794893"/>
              <a:gd name="connsiteY2401" fmla="*/ 5953490 h 6858000"/>
              <a:gd name="connsiteX2402" fmla="*/ 2654713 w 5794893"/>
              <a:gd name="connsiteY2402" fmla="*/ 5928909 h 6858000"/>
              <a:gd name="connsiteX2403" fmla="*/ 2649797 w 5794893"/>
              <a:gd name="connsiteY2403" fmla="*/ 5955948 h 6858000"/>
              <a:gd name="connsiteX2404" fmla="*/ 2536726 w 5794893"/>
              <a:gd name="connsiteY2404" fmla="*/ 5928909 h 6858000"/>
              <a:gd name="connsiteX2405" fmla="*/ 2530580 w 5794893"/>
              <a:gd name="connsiteY2405" fmla="*/ 5960864 h 6858000"/>
              <a:gd name="connsiteX2406" fmla="*/ 2418738 w 5794893"/>
              <a:gd name="connsiteY2406" fmla="*/ 5928909 h 6858000"/>
              <a:gd name="connsiteX2407" fmla="*/ 2411364 w 5794893"/>
              <a:gd name="connsiteY2407" fmla="*/ 5964550 h 6858000"/>
              <a:gd name="connsiteX2408" fmla="*/ 2300751 w 5794893"/>
              <a:gd name="connsiteY2408" fmla="*/ 5928909 h 6858000"/>
              <a:gd name="connsiteX2409" fmla="*/ 2290919 w 5794893"/>
              <a:gd name="connsiteY2409" fmla="*/ 5968238 h 6858000"/>
              <a:gd name="connsiteX2410" fmla="*/ 2182764 w 5794893"/>
              <a:gd name="connsiteY2410" fmla="*/ 5928909 h 6858000"/>
              <a:gd name="connsiteX2411" fmla="*/ 2170474 w 5794893"/>
              <a:gd name="connsiteY2411" fmla="*/ 5973154 h 6858000"/>
              <a:gd name="connsiteX2412" fmla="*/ 2064777 w 5794893"/>
              <a:gd name="connsiteY2412" fmla="*/ 5928909 h 6858000"/>
              <a:gd name="connsiteX2413" fmla="*/ 2048799 w 5794893"/>
              <a:gd name="connsiteY2413" fmla="*/ 5978070 h 6858000"/>
              <a:gd name="connsiteX2414" fmla="*/ 1946789 w 5794893"/>
              <a:gd name="connsiteY2414" fmla="*/ 5928909 h 6858000"/>
              <a:gd name="connsiteX2415" fmla="*/ 1927125 w 5794893"/>
              <a:gd name="connsiteY2415" fmla="*/ 5981757 h 6858000"/>
              <a:gd name="connsiteX2416" fmla="*/ 1828802 w 5794893"/>
              <a:gd name="connsiteY2416" fmla="*/ 5928909 h 6858000"/>
              <a:gd name="connsiteX2417" fmla="*/ 1804221 w 5794893"/>
              <a:gd name="connsiteY2417" fmla="*/ 5986674 h 6858000"/>
              <a:gd name="connsiteX2418" fmla="*/ 1710815 w 5794893"/>
              <a:gd name="connsiteY2418" fmla="*/ 5928909 h 6858000"/>
              <a:gd name="connsiteX2419" fmla="*/ 1681318 w 5794893"/>
              <a:gd name="connsiteY2419" fmla="*/ 5991590 h 6858000"/>
              <a:gd name="connsiteX2420" fmla="*/ 1592828 w 5794893"/>
              <a:gd name="connsiteY2420" fmla="*/ 5928909 h 6858000"/>
              <a:gd name="connsiteX2421" fmla="*/ 1557754 w 5794893"/>
              <a:gd name="connsiteY2421" fmla="*/ 5991799 h 6858000"/>
              <a:gd name="connsiteX2422" fmla="*/ 1476069 w 5794893"/>
              <a:gd name="connsiteY2422" fmla="*/ 5926451 h 6858000"/>
              <a:gd name="connsiteX2423" fmla="*/ 1439198 w 5794893"/>
              <a:gd name="connsiteY2423" fmla="*/ 5985444 h 6858000"/>
              <a:gd name="connsiteX2424" fmla="*/ 1555957 w 5794893"/>
              <a:gd name="connsiteY2424" fmla="*/ 6078851 h 6858000"/>
              <a:gd name="connsiteX2425" fmla="*/ 1592828 w 5794893"/>
              <a:gd name="connsiteY2425" fmla="*/ 6019857 h 6858000"/>
              <a:gd name="connsiteX2426" fmla="*/ 1571804 w 5794893"/>
              <a:gd name="connsiteY2426" fmla="*/ 6003038 h 6858000"/>
              <a:gd name="connsiteX2427" fmla="*/ 1683776 w 5794893"/>
              <a:gd name="connsiteY2427" fmla="*/ 6081309 h 6858000"/>
              <a:gd name="connsiteX2428" fmla="*/ 1716959 w 5794893"/>
              <a:gd name="connsiteY2428" fmla="*/ 6021086 h 6858000"/>
              <a:gd name="connsiteX2429" fmla="*/ 1814054 w 5794893"/>
              <a:gd name="connsiteY2429" fmla="*/ 6081309 h 6858000"/>
              <a:gd name="connsiteX2430" fmla="*/ 1841092 w 5794893"/>
              <a:gd name="connsiteY2430" fmla="*/ 6026002 h 6858000"/>
              <a:gd name="connsiteX2431" fmla="*/ 1944331 w 5794893"/>
              <a:gd name="connsiteY2431" fmla="*/ 6081309 h 6858000"/>
              <a:gd name="connsiteX2432" fmla="*/ 1966454 w 5794893"/>
              <a:gd name="connsiteY2432" fmla="*/ 6029690 h 6858000"/>
              <a:gd name="connsiteX2433" fmla="*/ 2074609 w 5794893"/>
              <a:gd name="connsiteY2433" fmla="*/ 6081309 h 6858000"/>
              <a:gd name="connsiteX2434" fmla="*/ 2091815 w 5794893"/>
              <a:gd name="connsiteY2434" fmla="*/ 6034606 h 6858000"/>
              <a:gd name="connsiteX2435" fmla="*/ 2203657 w 5794893"/>
              <a:gd name="connsiteY2435" fmla="*/ 6081309 h 6858000"/>
              <a:gd name="connsiteX2436" fmla="*/ 2217177 w 5794893"/>
              <a:gd name="connsiteY2436" fmla="*/ 6038292 h 6858000"/>
              <a:gd name="connsiteX2437" fmla="*/ 2332706 w 5794893"/>
              <a:gd name="connsiteY2437" fmla="*/ 6081309 h 6858000"/>
              <a:gd name="connsiteX2438" fmla="*/ 2343767 w 5794893"/>
              <a:gd name="connsiteY2438" fmla="*/ 6043208 h 6858000"/>
              <a:gd name="connsiteX2439" fmla="*/ 2462984 w 5794893"/>
              <a:gd name="connsiteY2439" fmla="*/ 6081309 h 6858000"/>
              <a:gd name="connsiteX2440" fmla="*/ 2471586 w 5794893"/>
              <a:gd name="connsiteY2440" fmla="*/ 6046896 h 6858000"/>
              <a:gd name="connsiteX2441" fmla="*/ 2593261 w 5794893"/>
              <a:gd name="connsiteY2441" fmla="*/ 6081309 h 6858000"/>
              <a:gd name="connsiteX2442" fmla="*/ 2599406 w 5794893"/>
              <a:gd name="connsiteY2442" fmla="*/ 6051812 h 6858000"/>
              <a:gd name="connsiteX2443" fmla="*/ 2722309 w 5794893"/>
              <a:gd name="connsiteY2443" fmla="*/ 6081309 h 6858000"/>
              <a:gd name="connsiteX2444" fmla="*/ 2727225 w 5794893"/>
              <a:gd name="connsiteY2444" fmla="*/ 6055499 h 6858000"/>
              <a:gd name="connsiteX2445" fmla="*/ 2851358 w 5794893"/>
              <a:gd name="connsiteY2445" fmla="*/ 6081309 h 6858000"/>
              <a:gd name="connsiteX2446" fmla="*/ 2855045 w 5794893"/>
              <a:gd name="connsiteY2446" fmla="*/ 6059186 h 6858000"/>
              <a:gd name="connsiteX2447" fmla="*/ 2981636 w 5794893"/>
              <a:gd name="connsiteY2447" fmla="*/ 6081309 h 6858000"/>
              <a:gd name="connsiteX2448" fmla="*/ 2984094 w 5794893"/>
              <a:gd name="connsiteY2448" fmla="*/ 6062873 h 6858000"/>
              <a:gd name="connsiteX2449" fmla="*/ 3110684 w 5794893"/>
              <a:gd name="connsiteY2449" fmla="*/ 6081309 h 6858000"/>
              <a:gd name="connsiteX2450" fmla="*/ 3111913 w 5794893"/>
              <a:gd name="connsiteY2450" fmla="*/ 6065332 h 6858000"/>
              <a:gd name="connsiteX2451" fmla="*/ 3239733 w 5794893"/>
              <a:gd name="connsiteY2451" fmla="*/ 6081309 h 6858000"/>
              <a:gd name="connsiteX2452" fmla="*/ 3240961 w 5794893"/>
              <a:gd name="connsiteY2452" fmla="*/ 6069019 h 6858000"/>
              <a:gd name="connsiteX2453" fmla="*/ 3370010 w 5794893"/>
              <a:gd name="connsiteY2453" fmla="*/ 6081309 h 6858000"/>
              <a:gd name="connsiteX2454" fmla="*/ 3371239 w 5794893"/>
              <a:gd name="connsiteY2454" fmla="*/ 6071477 h 6858000"/>
              <a:gd name="connsiteX2455" fmla="*/ 3500288 w 5794893"/>
              <a:gd name="connsiteY2455" fmla="*/ 6081309 h 6858000"/>
              <a:gd name="connsiteX2456" fmla="*/ 3500288 w 5794893"/>
              <a:gd name="connsiteY2456" fmla="*/ 6073935 h 6858000"/>
              <a:gd name="connsiteX2457" fmla="*/ 3629336 w 5794893"/>
              <a:gd name="connsiteY2457" fmla="*/ 6081309 h 6858000"/>
              <a:gd name="connsiteX2458" fmla="*/ 3629336 w 5794893"/>
              <a:gd name="connsiteY2458" fmla="*/ 6076393 h 6858000"/>
              <a:gd name="connsiteX2459" fmla="*/ 3637940 w 5794893"/>
              <a:gd name="connsiteY2459" fmla="*/ 6076393 h 6858000"/>
              <a:gd name="connsiteX2460" fmla="*/ 3717826 w 5794893"/>
              <a:gd name="connsiteY2460" fmla="*/ 6078851 h 6858000"/>
              <a:gd name="connsiteX2461" fmla="*/ 3717826 w 5794893"/>
              <a:gd name="connsiteY2461" fmla="*/ 6080079 h 6858000"/>
              <a:gd name="connsiteX2462" fmla="*/ 5534338 w 5794893"/>
              <a:gd name="connsiteY2462" fmla="*/ 6118180 h 6858000"/>
              <a:gd name="connsiteX2463" fmla="*/ 3719056 w 5794893"/>
              <a:gd name="connsiteY2463" fmla="*/ 6118180 h 6858000"/>
              <a:gd name="connsiteX2464" fmla="*/ 3719056 w 5794893"/>
              <a:gd name="connsiteY2464" fmla="*/ 6119408 h 6858000"/>
              <a:gd name="connsiteX2465" fmla="*/ 3601069 w 5794893"/>
              <a:gd name="connsiteY2465" fmla="*/ 6116950 h 6858000"/>
              <a:gd name="connsiteX2466" fmla="*/ 3601069 w 5794893"/>
              <a:gd name="connsiteY2466" fmla="*/ 6120638 h 6858000"/>
              <a:gd name="connsiteX2467" fmla="*/ 3483081 w 5794893"/>
              <a:gd name="connsiteY2467" fmla="*/ 6116950 h 6858000"/>
              <a:gd name="connsiteX2468" fmla="*/ 3483081 w 5794893"/>
              <a:gd name="connsiteY2468" fmla="*/ 6123096 h 6858000"/>
              <a:gd name="connsiteX2469" fmla="*/ 3365094 w 5794893"/>
              <a:gd name="connsiteY2469" fmla="*/ 6116950 h 6858000"/>
              <a:gd name="connsiteX2470" fmla="*/ 3365094 w 5794893"/>
              <a:gd name="connsiteY2470" fmla="*/ 6125554 h 6858000"/>
              <a:gd name="connsiteX2471" fmla="*/ 3247107 w 5794893"/>
              <a:gd name="connsiteY2471" fmla="*/ 6116950 h 6858000"/>
              <a:gd name="connsiteX2472" fmla="*/ 3247107 w 5794893"/>
              <a:gd name="connsiteY2472" fmla="*/ 6128012 h 6858000"/>
              <a:gd name="connsiteX2473" fmla="*/ 3129120 w 5794893"/>
              <a:gd name="connsiteY2473" fmla="*/ 6116950 h 6858000"/>
              <a:gd name="connsiteX2474" fmla="*/ 3127890 w 5794893"/>
              <a:gd name="connsiteY2474" fmla="*/ 6131699 h 6858000"/>
              <a:gd name="connsiteX2475" fmla="*/ 3009903 w 5794893"/>
              <a:gd name="connsiteY2475" fmla="*/ 6116950 h 6858000"/>
              <a:gd name="connsiteX2476" fmla="*/ 3008674 w 5794893"/>
              <a:gd name="connsiteY2476" fmla="*/ 6134158 h 6858000"/>
              <a:gd name="connsiteX2477" fmla="*/ 2891916 w 5794893"/>
              <a:gd name="connsiteY2477" fmla="*/ 6116950 h 6858000"/>
              <a:gd name="connsiteX2478" fmla="*/ 2889458 w 5794893"/>
              <a:gd name="connsiteY2478" fmla="*/ 6137845 h 6858000"/>
              <a:gd name="connsiteX2479" fmla="*/ 2773928 w 5794893"/>
              <a:gd name="connsiteY2479" fmla="*/ 6116950 h 6858000"/>
              <a:gd name="connsiteX2480" fmla="*/ 2770242 w 5794893"/>
              <a:gd name="connsiteY2480" fmla="*/ 6140303 h 6858000"/>
              <a:gd name="connsiteX2481" fmla="*/ 2655941 w 5794893"/>
              <a:gd name="connsiteY2481" fmla="*/ 6116950 h 6858000"/>
              <a:gd name="connsiteX2482" fmla="*/ 2651025 w 5794893"/>
              <a:gd name="connsiteY2482" fmla="*/ 6143989 h 6858000"/>
              <a:gd name="connsiteX2483" fmla="*/ 2537954 w 5794893"/>
              <a:gd name="connsiteY2483" fmla="*/ 6116950 h 6858000"/>
              <a:gd name="connsiteX2484" fmla="*/ 2531809 w 5794893"/>
              <a:gd name="connsiteY2484" fmla="*/ 6147677 h 6858000"/>
              <a:gd name="connsiteX2485" fmla="*/ 2419967 w 5794893"/>
              <a:gd name="connsiteY2485" fmla="*/ 6116950 h 6858000"/>
              <a:gd name="connsiteX2486" fmla="*/ 2412593 w 5794893"/>
              <a:gd name="connsiteY2486" fmla="*/ 6152593 h 6858000"/>
              <a:gd name="connsiteX2487" fmla="*/ 2301980 w 5794893"/>
              <a:gd name="connsiteY2487" fmla="*/ 6116950 h 6858000"/>
              <a:gd name="connsiteX2488" fmla="*/ 2292147 w 5794893"/>
              <a:gd name="connsiteY2488" fmla="*/ 6156279 h 6858000"/>
              <a:gd name="connsiteX2489" fmla="*/ 2183992 w 5794893"/>
              <a:gd name="connsiteY2489" fmla="*/ 6116950 h 6858000"/>
              <a:gd name="connsiteX2490" fmla="*/ 2171702 w 5794893"/>
              <a:gd name="connsiteY2490" fmla="*/ 6161196 h 6858000"/>
              <a:gd name="connsiteX2491" fmla="*/ 2066005 w 5794893"/>
              <a:gd name="connsiteY2491" fmla="*/ 6116950 h 6858000"/>
              <a:gd name="connsiteX2492" fmla="*/ 2050028 w 5794893"/>
              <a:gd name="connsiteY2492" fmla="*/ 6166112 h 6858000"/>
              <a:gd name="connsiteX2493" fmla="*/ 1948018 w 5794893"/>
              <a:gd name="connsiteY2493" fmla="*/ 6116950 h 6858000"/>
              <a:gd name="connsiteX2494" fmla="*/ 1928353 w 5794893"/>
              <a:gd name="connsiteY2494" fmla="*/ 6169799 h 6858000"/>
              <a:gd name="connsiteX2495" fmla="*/ 1830031 w 5794893"/>
              <a:gd name="connsiteY2495" fmla="*/ 6116950 h 6858000"/>
              <a:gd name="connsiteX2496" fmla="*/ 1805450 w 5794893"/>
              <a:gd name="connsiteY2496" fmla="*/ 6174716 h 6858000"/>
              <a:gd name="connsiteX2497" fmla="*/ 1712043 w 5794893"/>
              <a:gd name="connsiteY2497" fmla="*/ 6116950 h 6858000"/>
              <a:gd name="connsiteX2498" fmla="*/ 1682547 w 5794893"/>
              <a:gd name="connsiteY2498" fmla="*/ 6179632 h 6858000"/>
              <a:gd name="connsiteX2499" fmla="*/ 1594056 w 5794893"/>
              <a:gd name="connsiteY2499" fmla="*/ 6118180 h 6858000"/>
              <a:gd name="connsiteX2500" fmla="*/ 1558415 w 5794893"/>
              <a:gd name="connsiteY2500" fmla="*/ 6182090 h 6858000"/>
              <a:gd name="connsiteX2501" fmla="*/ 1685005 w 5794893"/>
              <a:gd name="connsiteY2501" fmla="*/ 6270580 h 6858000"/>
              <a:gd name="connsiteX2502" fmla="*/ 1718189 w 5794893"/>
              <a:gd name="connsiteY2502" fmla="*/ 6210357 h 6858000"/>
              <a:gd name="connsiteX2503" fmla="*/ 1815282 w 5794893"/>
              <a:gd name="connsiteY2503" fmla="*/ 6270580 h 6858000"/>
              <a:gd name="connsiteX2504" fmla="*/ 1842321 w 5794893"/>
              <a:gd name="connsiteY2504" fmla="*/ 6215273 h 6858000"/>
              <a:gd name="connsiteX2505" fmla="*/ 1945560 w 5794893"/>
              <a:gd name="connsiteY2505" fmla="*/ 6270580 h 6858000"/>
              <a:gd name="connsiteX2506" fmla="*/ 1967682 w 5794893"/>
              <a:gd name="connsiteY2506" fmla="*/ 6218961 h 6858000"/>
              <a:gd name="connsiteX2507" fmla="*/ 2075837 w 5794893"/>
              <a:gd name="connsiteY2507" fmla="*/ 6270580 h 6858000"/>
              <a:gd name="connsiteX2508" fmla="*/ 2093044 w 5794893"/>
              <a:gd name="connsiteY2508" fmla="*/ 6223877 h 6858000"/>
              <a:gd name="connsiteX2509" fmla="*/ 2204887 w 5794893"/>
              <a:gd name="connsiteY2509" fmla="*/ 6270580 h 6858000"/>
              <a:gd name="connsiteX2510" fmla="*/ 2218405 w 5794893"/>
              <a:gd name="connsiteY2510" fmla="*/ 6227563 h 6858000"/>
              <a:gd name="connsiteX2511" fmla="*/ 2333934 w 5794893"/>
              <a:gd name="connsiteY2511" fmla="*/ 6270580 h 6858000"/>
              <a:gd name="connsiteX2512" fmla="*/ 2344996 w 5794893"/>
              <a:gd name="connsiteY2512" fmla="*/ 6232481 h 6858000"/>
              <a:gd name="connsiteX2513" fmla="*/ 2464212 w 5794893"/>
              <a:gd name="connsiteY2513" fmla="*/ 6270580 h 6858000"/>
              <a:gd name="connsiteX2514" fmla="*/ 2472816 w 5794893"/>
              <a:gd name="connsiteY2514" fmla="*/ 6236167 h 6858000"/>
              <a:gd name="connsiteX2515" fmla="*/ 2594490 w 5794893"/>
              <a:gd name="connsiteY2515" fmla="*/ 6270580 h 6858000"/>
              <a:gd name="connsiteX2516" fmla="*/ 2600635 w 5794893"/>
              <a:gd name="connsiteY2516" fmla="*/ 6241083 h 6858000"/>
              <a:gd name="connsiteX2517" fmla="*/ 2723539 w 5794893"/>
              <a:gd name="connsiteY2517" fmla="*/ 6270580 h 6858000"/>
              <a:gd name="connsiteX2518" fmla="*/ 2728455 w 5794893"/>
              <a:gd name="connsiteY2518" fmla="*/ 6244771 h 6858000"/>
              <a:gd name="connsiteX2519" fmla="*/ 2853816 w 5794893"/>
              <a:gd name="connsiteY2519" fmla="*/ 6270580 h 6858000"/>
              <a:gd name="connsiteX2520" fmla="*/ 2857503 w 5794893"/>
              <a:gd name="connsiteY2520" fmla="*/ 6248458 h 6858000"/>
              <a:gd name="connsiteX2521" fmla="*/ 2984094 w 5794893"/>
              <a:gd name="connsiteY2521" fmla="*/ 6270580 h 6858000"/>
              <a:gd name="connsiteX2522" fmla="*/ 2986552 w 5794893"/>
              <a:gd name="connsiteY2522" fmla="*/ 6252144 h 6858000"/>
              <a:gd name="connsiteX2523" fmla="*/ 3113142 w 5794893"/>
              <a:gd name="connsiteY2523" fmla="*/ 6270580 h 6858000"/>
              <a:gd name="connsiteX2524" fmla="*/ 3114371 w 5794893"/>
              <a:gd name="connsiteY2524" fmla="*/ 6254602 h 6858000"/>
              <a:gd name="connsiteX2525" fmla="*/ 3242191 w 5794893"/>
              <a:gd name="connsiteY2525" fmla="*/ 6270580 h 6858000"/>
              <a:gd name="connsiteX2526" fmla="*/ 3243419 w 5794893"/>
              <a:gd name="connsiteY2526" fmla="*/ 6258290 h 6858000"/>
              <a:gd name="connsiteX2527" fmla="*/ 3372468 w 5794893"/>
              <a:gd name="connsiteY2527" fmla="*/ 6270580 h 6858000"/>
              <a:gd name="connsiteX2528" fmla="*/ 3373697 w 5794893"/>
              <a:gd name="connsiteY2528" fmla="*/ 6260748 h 6858000"/>
              <a:gd name="connsiteX2529" fmla="*/ 3502746 w 5794893"/>
              <a:gd name="connsiteY2529" fmla="*/ 6270580 h 6858000"/>
              <a:gd name="connsiteX2530" fmla="*/ 3502746 w 5794893"/>
              <a:gd name="connsiteY2530" fmla="*/ 6263206 h 6858000"/>
              <a:gd name="connsiteX2531" fmla="*/ 3631794 w 5794893"/>
              <a:gd name="connsiteY2531" fmla="*/ 6270580 h 6858000"/>
              <a:gd name="connsiteX2532" fmla="*/ 3631794 w 5794893"/>
              <a:gd name="connsiteY2532" fmla="*/ 6265664 h 6858000"/>
              <a:gd name="connsiteX2533" fmla="*/ 3640398 w 5794893"/>
              <a:gd name="connsiteY2533" fmla="*/ 6265664 h 6858000"/>
              <a:gd name="connsiteX2534" fmla="*/ 3720284 w 5794893"/>
              <a:gd name="connsiteY2534" fmla="*/ 6268122 h 6858000"/>
              <a:gd name="connsiteX2535" fmla="*/ 3720284 w 5794893"/>
              <a:gd name="connsiteY2535" fmla="*/ 6269352 h 6858000"/>
              <a:gd name="connsiteX2536" fmla="*/ 5476574 w 5794893"/>
              <a:gd name="connsiteY2536" fmla="*/ 6306223 h 6858000"/>
              <a:gd name="connsiteX2537" fmla="*/ 3720284 w 5794893"/>
              <a:gd name="connsiteY2537" fmla="*/ 6306223 h 6858000"/>
              <a:gd name="connsiteX2538" fmla="*/ 3720284 w 5794893"/>
              <a:gd name="connsiteY2538" fmla="*/ 6308681 h 6858000"/>
              <a:gd name="connsiteX2539" fmla="*/ 3602297 w 5794893"/>
              <a:gd name="connsiteY2539" fmla="*/ 6306223 h 6858000"/>
              <a:gd name="connsiteX2540" fmla="*/ 3602297 w 5794893"/>
              <a:gd name="connsiteY2540" fmla="*/ 6309909 h 6858000"/>
              <a:gd name="connsiteX2541" fmla="*/ 3484310 w 5794893"/>
              <a:gd name="connsiteY2541" fmla="*/ 6306223 h 6858000"/>
              <a:gd name="connsiteX2542" fmla="*/ 3484310 w 5794893"/>
              <a:gd name="connsiteY2542" fmla="*/ 6312367 h 6858000"/>
              <a:gd name="connsiteX2543" fmla="*/ 3366323 w 5794893"/>
              <a:gd name="connsiteY2543" fmla="*/ 6306223 h 6858000"/>
              <a:gd name="connsiteX2544" fmla="*/ 3366323 w 5794893"/>
              <a:gd name="connsiteY2544" fmla="*/ 6314825 h 6858000"/>
              <a:gd name="connsiteX2545" fmla="*/ 3248335 w 5794893"/>
              <a:gd name="connsiteY2545" fmla="*/ 6306223 h 6858000"/>
              <a:gd name="connsiteX2546" fmla="*/ 3248335 w 5794893"/>
              <a:gd name="connsiteY2546" fmla="*/ 6317283 h 6858000"/>
              <a:gd name="connsiteX2547" fmla="*/ 3130348 w 5794893"/>
              <a:gd name="connsiteY2547" fmla="*/ 6306223 h 6858000"/>
              <a:gd name="connsiteX2548" fmla="*/ 3129120 w 5794893"/>
              <a:gd name="connsiteY2548" fmla="*/ 6320971 h 6858000"/>
              <a:gd name="connsiteX2549" fmla="*/ 3011133 w 5794893"/>
              <a:gd name="connsiteY2549" fmla="*/ 6307451 h 6858000"/>
              <a:gd name="connsiteX2550" fmla="*/ 3009903 w 5794893"/>
              <a:gd name="connsiteY2550" fmla="*/ 6324658 h 6858000"/>
              <a:gd name="connsiteX2551" fmla="*/ 2893145 w 5794893"/>
              <a:gd name="connsiteY2551" fmla="*/ 6307451 h 6858000"/>
              <a:gd name="connsiteX2552" fmla="*/ 2890687 w 5794893"/>
              <a:gd name="connsiteY2552" fmla="*/ 6328344 h 6858000"/>
              <a:gd name="connsiteX2553" fmla="*/ 2775158 w 5794893"/>
              <a:gd name="connsiteY2553" fmla="*/ 6307451 h 6858000"/>
              <a:gd name="connsiteX2554" fmla="*/ 2771470 w 5794893"/>
              <a:gd name="connsiteY2554" fmla="*/ 6330803 h 6858000"/>
              <a:gd name="connsiteX2555" fmla="*/ 2657171 w 5794893"/>
              <a:gd name="connsiteY2555" fmla="*/ 6307451 h 6858000"/>
              <a:gd name="connsiteX2556" fmla="*/ 2652255 w 5794893"/>
              <a:gd name="connsiteY2556" fmla="*/ 6334490 h 6858000"/>
              <a:gd name="connsiteX2557" fmla="*/ 2539184 w 5794893"/>
              <a:gd name="connsiteY2557" fmla="*/ 6307451 h 6858000"/>
              <a:gd name="connsiteX2558" fmla="*/ 2533038 w 5794893"/>
              <a:gd name="connsiteY2558" fmla="*/ 6338176 h 6858000"/>
              <a:gd name="connsiteX2559" fmla="*/ 2421196 w 5794893"/>
              <a:gd name="connsiteY2559" fmla="*/ 6307451 h 6858000"/>
              <a:gd name="connsiteX2560" fmla="*/ 2413822 w 5794893"/>
              <a:gd name="connsiteY2560" fmla="*/ 6343094 h 6858000"/>
              <a:gd name="connsiteX2561" fmla="*/ 2303209 w 5794893"/>
              <a:gd name="connsiteY2561" fmla="*/ 6307451 h 6858000"/>
              <a:gd name="connsiteX2562" fmla="*/ 2293377 w 5794893"/>
              <a:gd name="connsiteY2562" fmla="*/ 6346780 h 6858000"/>
              <a:gd name="connsiteX2563" fmla="*/ 2185222 w 5794893"/>
              <a:gd name="connsiteY2563" fmla="*/ 6307451 h 6858000"/>
              <a:gd name="connsiteX2564" fmla="*/ 2172932 w 5794893"/>
              <a:gd name="connsiteY2564" fmla="*/ 6351696 h 6858000"/>
              <a:gd name="connsiteX2565" fmla="*/ 2067235 w 5794893"/>
              <a:gd name="connsiteY2565" fmla="*/ 6307451 h 6858000"/>
              <a:gd name="connsiteX2566" fmla="*/ 2051257 w 5794893"/>
              <a:gd name="connsiteY2566" fmla="*/ 6356613 h 6858000"/>
              <a:gd name="connsiteX2567" fmla="*/ 1949247 w 5794893"/>
              <a:gd name="connsiteY2567" fmla="*/ 6307451 h 6858000"/>
              <a:gd name="connsiteX2568" fmla="*/ 1929583 w 5794893"/>
              <a:gd name="connsiteY2568" fmla="*/ 6360299 h 6858000"/>
              <a:gd name="connsiteX2569" fmla="*/ 1831260 w 5794893"/>
              <a:gd name="connsiteY2569" fmla="*/ 6307451 h 6858000"/>
              <a:gd name="connsiteX2570" fmla="*/ 1806680 w 5794893"/>
              <a:gd name="connsiteY2570" fmla="*/ 6365215 h 6858000"/>
              <a:gd name="connsiteX2571" fmla="*/ 1713273 w 5794893"/>
              <a:gd name="connsiteY2571" fmla="*/ 6307451 h 6858000"/>
              <a:gd name="connsiteX2572" fmla="*/ 1683776 w 5794893"/>
              <a:gd name="connsiteY2572" fmla="*/ 6368903 h 6858000"/>
              <a:gd name="connsiteX2573" fmla="*/ 1595286 w 5794893"/>
              <a:gd name="connsiteY2573" fmla="*/ 6307451 h 6858000"/>
              <a:gd name="connsiteX2574" fmla="*/ 1559643 w 5794893"/>
              <a:gd name="connsiteY2574" fmla="*/ 6371361 h 6858000"/>
              <a:gd name="connsiteX2575" fmla="*/ 1686234 w 5794893"/>
              <a:gd name="connsiteY2575" fmla="*/ 6459851 h 6858000"/>
              <a:gd name="connsiteX2576" fmla="*/ 1719418 w 5794893"/>
              <a:gd name="connsiteY2576" fmla="*/ 6399628 h 6858000"/>
              <a:gd name="connsiteX2577" fmla="*/ 1816512 w 5794893"/>
              <a:gd name="connsiteY2577" fmla="*/ 6459851 h 6858000"/>
              <a:gd name="connsiteX2578" fmla="*/ 1843551 w 5794893"/>
              <a:gd name="connsiteY2578" fmla="*/ 6404546 h 6858000"/>
              <a:gd name="connsiteX2579" fmla="*/ 1946789 w 5794893"/>
              <a:gd name="connsiteY2579" fmla="*/ 6459851 h 6858000"/>
              <a:gd name="connsiteX2580" fmla="*/ 1968912 w 5794893"/>
              <a:gd name="connsiteY2580" fmla="*/ 6408232 h 6858000"/>
              <a:gd name="connsiteX2581" fmla="*/ 2077067 w 5794893"/>
              <a:gd name="connsiteY2581" fmla="*/ 6459851 h 6858000"/>
              <a:gd name="connsiteX2582" fmla="*/ 2094273 w 5794893"/>
              <a:gd name="connsiteY2582" fmla="*/ 6413148 h 6858000"/>
              <a:gd name="connsiteX2583" fmla="*/ 2206115 w 5794893"/>
              <a:gd name="connsiteY2583" fmla="*/ 6459851 h 6858000"/>
              <a:gd name="connsiteX2584" fmla="*/ 2219635 w 5794893"/>
              <a:gd name="connsiteY2584" fmla="*/ 6416836 h 6858000"/>
              <a:gd name="connsiteX2585" fmla="*/ 2335164 w 5794893"/>
              <a:gd name="connsiteY2585" fmla="*/ 6459851 h 6858000"/>
              <a:gd name="connsiteX2586" fmla="*/ 2346225 w 5794893"/>
              <a:gd name="connsiteY2586" fmla="*/ 6421751 h 6858000"/>
              <a:gd name="connsiteX2587" fmla="*/ 2465442 w 5794893"/>
              <a:gd name="connsiteY2587" fmla="*/ 6459851 h 6858000"/>
              <a:gd name="connsiteX2588" fmla="*/ 2474044 w 5794893"/>
              <a:gd name="connsiteY2588" fmla="*/ 6425438 h 6858000"/>
              <a:gd name="connsiteX2589" fmla="*/ 2595719 w 5794893"/>
              <a:gd name="connsiteY2589" fmla="*/ 6459851 h 6858000"/>
              <a:gd name="connsiteX2590" fmla="*/ 2601864 w 5794893"/>
              <a:gd name="connsiteY2590" fmla="*/ 6430355 h 6858000"/>
              <a:gd name="connsiteX2591" fmla="*/ 2724767 w 5794893"/>
              <a:gd name="connsiteY2591" fmla="*/ 6459851 h 6858000"/>
              <a:gd name="connsiteX2592" fmla="*/ 2729683 w 5794893"/>
              <a:gd name="connsiteY2592" fmla="*/ 6434041 h 6858000"/>
              <a:gd name="connsiteX2593" fmla="*/ 2853816 w 5794893"/>
              <a:gd name="connsiteY2593" fmla="*/ 6459851 h 6858000"/>
              <a:gd name="connsiteX2594" fmla="*/ 2857503 w 5794893"/>
              <a:gd name="connsiteY2594" fmla="*/ 6437729 h 6858000"/>
              <a:gd name="connsiteX2595" fmla="*/ 2984094 w 5794893"/>
              <a:gd name="connsiteY2595" fmla="*/ 6459851 h 6858000"/>
              <a:gd name="connsiteX2596" fmla="*/ 2986552 w 5794893"/>
              <a:gd name="connsiteY2596" fmla="*/ 6441417 h 6858000"/>
              <a:gd name="connsiteX2597" fmla="*/ 3113142 w 5794893"/>
              <a:gd name="connsiteY2597" fmla="*/ 6459851 h 6858000"/>
              <a:gd name="connsiteX2598" fmla="*/ 3114371 w 5794893"/>
              <a:gd name="connsiteY2598" fmla="*/ 6443875 h 6858000"/>
              <a:gd name="connsiteX2599" fmla="*/ 3242191 w 5794893"/>
              <a:gd name="connsiteY2599" fmla="*/ 6459851 h 6858000"/>
              <a:gd name="connsiteX2600" fmla="*/ 3243419 w 5794893"/>
              <a:gd name="connsiteY2600" fmla="*/ 6447561 h 6858000"/>
              <a:gd name="connsiteX2601" fmla="*/ 3372468 w 5794893"/>
              <a:gd name="connsiteY2601" fmla="*/ 6459851 h 6858000"/>
              <a:gd name="connsiteX2602" fmla="*/ 3373697 w 5794893"/>
              <a:gd name="connsiteY2602" fmla="*/ 6450019 h 6858000"/>
              <a:gd name="connsiteX2603" fmla="*/ 3502746 w 5794893"/>
              <a:gd name="connsiteY2603" fmla="*/ 6459851 h 6858000"/>
              <a:gd name="connsiteX2604" fmla="*/ 3502746 w 5794893"/>
              <a:gd name="connsiteY2604" fmla="*/ 6452477 h 6858000"/>
              <a:gd name="connsiteX2605" fmla="*/ 3631794 w 5794893"/>
              <a:gd name="connsiteY2605" fmla="*/ 6459851 h 6858000"/>
              <a:gd name="connsiteX2606" fmla="*/ 3631794 w 5794893"/>
              <a:gd name="connsiteY2606" fmla="*/ 6454935 h 6858000"/>
              <a:gd name="connsiteX2607" fmla="*/ 3640398 w 5794893"/>
              <a:gd name="connsiteY2607" fmla="*/ 6454935 h 6858000"/>
              <a:gd name="connsiteX2608" fmla="*/ 3720284 w 5794893"/>
              <a:gd name="connsiteY2608" fmla="*/ 6457393 h 6858000"/>
              <a:gd name="connsiteX2609" fmla="*/ 3720284 w 5794893"/>
              <a:gd name="connsiteY2609" fmla="*/ 6459851 h 6858000"/>
              <a:gd name="connsiteX2610" fmla="*/ 5711320 w 5794893"/>
              <a:gd name="connsiteY2610" fmla="*/ 6501639 h 6858000"/>
              <a:gd name="connsiteX2611" fmla="*/ 3720284 w 5794893"/>
              <a:gd name="connsiteY2611" fmla="*/ 6501639 h 6858000"/>
              <a:gd name="connsiteX2612" fmla="*/ 3720284 w 5794893"/>
              <a:gd name="connsiteY2612" fmla="*/ 6504097 h 6858000"/>
              <a:gd name="connsiteX2613" fmla="*/ 3602297 w 5794893"/>
              <a:gd name="connsiteY2613" fmla="*/ 6501639 h 6858000"/>
              <a:gd name="connsiteX2614" fmla="*/ 3602297 w 5794893"/>
              <a:gd name="connsiteY2614" fmla="*/ 6505326 h 6858000"/>
              <a:gd name="connsiteX2615" fmla="*/ 3484310 w 5794893"/>
              <a:gd name="connsiteY2615" fmla="*/ 6501639 h 6858000"/>
              <a:gd name="connsiteX2616" fmla="*/ 3484310 w 5794893"/>
              <a:gd name="connsiteY2616" fmla="*/ 6507783 h 6858000"/>
              <a:gd name="connsiteX2617" fmla="*/ 3366323 w 5794893"/>
              <a:gd name="connsiteY2617" fmla="*/ 6501639 h 6858000"/>
              <a:gd name="connsiteX2618" fmla="*/ 3366323 w 5794893"/>
              <a:gd name="connsiteY2618" fmla="*/ 6510241 h 6858000"/>
              <a:gd name="connsiteX2619" fmla="*/ 3248335 w 5794893"/>
              <a:gd name="connsiteY2619" fmla="*/ 6501639 h 6858000"/>
              <a:gd name="connsiteX2620" fmla="*/ 3248335 w 5794893"/>
              <a:gd name="connsiteY2620" fmla="*/ 6512699 h 6858000"/>
              <a:gd name="connsiteX2621" fmla="*/ 3130348 w 5794893"/>
              <a:gd name="connsiteY2621" fmla="*/ 6501639 h 6858000"/>
              <a:gd name="connsiteX2622" fmla="*/ 3129120 w 5794893"/>
              <a:gd name="connsiteY2622" fmla="*/ 6516387 h 6858000"/>
              <a:gd name="connsiteX2623" fmla="*/ 3011133 w 5794893"/>
              <a:gd name="connsiteY2623" fmla="*/ 6501639 h 6858000"/>
              <a:gd name="connsiteX2624" fmla="*/ 3009903 w 5794893"/>
              <a:gd name="connsiteY2624" fmla="*/ 6518845 h 6858000"/>
              <a:gd name="connsiteX2625" fmla="*/ 2893145 w 5794893"/>
              <a:gd name="connsiteY2625" fmla="*/ 6501639 h 6858000"/>
              <a:gd name="connsiteX2626" fmla="*/ 2890687 w 5794893"/>
              <a:gd name="connsiteY2626" fmla="*/ 6522531 h 6858000"/>
              <a:gd name="connsiteX2627" fmla="*/ 2775158 w 5794893"/>
              <a:gd name="connsiteY2627" fmla="*/ 6501639 h 6858000"/>
              <a:gd name="connsiteX2628" fmla="*/ 2771470 w 5794893"/>
              <a:gd name="connsiteY2628" fmla="*/ 6526219 h 6858000"/>
              <a:gd name="connsiteX2629" fmla="*/ 2657171 w 5794893"/>
              <a:gd name="connsiteY2629" fmla="*/ 6501639 h 6858000"/>
              <a:gd name="connsiteX2630" fmla="*/ 2652255 w 5794893"/>
              <a:gd name="connsiteY2630" fmla="*/ 6528677 h 6858000"/>
              <a:gd name="connsiteX2631" fmla="*/ 2539184 w 5794893"/>
              <a:gd name="connsiteY2631" fmla="*/ 6501639 h 6858000"/>
              <a:gd name="connsiteX2632" fmla="*/ 2533038 w 5794893"/>
              <a:gd name="connsiteY2632" fmla="*/ 6533593 h 6858000"/>
              <a:gd name="connsiteX2633" fmla="*/ 2421196 w 5794893"/>
              <a:gd name="connsiteY2633" fmla="*/ 6501639 h 6858000"/>
              <a:gd name="connsiteX2634" fmla="*/ 2413822 w 5794893"/>
              <a:gd name="connsiteY2634" fmla="*/ 6537280 h 6858000"/>
              <a:gd name="connsiteX2635" fmla="*/ 2303209 w 5794893"/>
              <a:gd name="connsiteY2635" fmla="*/ 6501639 h 6858000"/>
              <a:gd name="connsiteX2636" fmla="*/ 2293377 w 5794893"/>
              <a:gd name="connsiteY2636" fmla="*/ 6540968 h 6858000"/>
              <a:gd name="connsiteX2637" fmla="*/ 2185222 w 5794893"/>
              <a:gd name="connsiteY2637" fmla="*/ 6501639 h 6858000"/>
              <a:gd name="connsiteX2638" fmla="*/ 2172932 w 5794893"/>
              <a:gd name="connsiteY2638" fmla="*/ 6545884 h 6858000"/>
              <a:gd name="connsiteX2639" fmla="*/ 2067235 w 5794893"/>
              <a:gd name="connsiteY2639" fmla="*/ 6501639 h 6858000"/>
              <a:gd name="connsiteX2640" fmla="*/ 2051257 w 5794893"/>
              <a:gd name="connsiteY2640" fmla="*/ 6550800 h 6858000"/>
              <a:gd name="connsiteX2641" fmla="*/ 1949247 w 5794893"/>
              <a:gd name="connsiteY2641" fmla="*/ 6501639 h 6858000"/>
              <a:gd name="connsiteX2642" fmla="*/ 1929583 w 5794893"/>
              <a:gd name="connsiteY2642" fmla="*/ 6554488 h 6858000"/>
              <a:gd name="connsiteX2643" fmla="*/ 1831260 w 5794893"/>
              <a:gd name="connsiteY2643" fmla="*/ 6501639 h 6858000"/>
              <a:gd name="connsiteX2644" fmla="*/ 1806680 w 5794893"/>
              <a:gd name="connsiteY2644" fmla="*/ 6559402 h 6858000"/>
              <a:gd name="connsiteX2645" fmla="*/ 1713273 w 5794893"/>
              <a:gd name="connsiteY2645" fmla="*/ 6501639 h 6858000"/>
              <a:gd name="connsiteX2646" fmla="*/ 1683776 w 5794893"/>
              <a:gd name="connsiteY2646" fmla="*/ 6564320 h 6858000"/>
              <a:gd name="connsiteX2647" fmla="*/ 1595286 w 5794893"/>
              <a:gd name="connsiteY2647" fmla="*/ 6501639 h 6858000"/>
              <a:gd name="connsiteX2648" fmla="*/ 1559643 w 5794893"/>
              <a:gd name="connsiteY2648" fmla="*/ 6565548 h 6858000"/>
              <a:gd name="connsiteX2649" fmla="*/ 1685005 w 5794893"/>
              <a:gd name="connsiteY2649" fmla="*/ 6654039 h 6858000"/>
              <a:gd name="connsiteX2650" fmla="*/ 1718189 w 5794893"/>
              <a:gd name="connsiteY2650" fmla="*/ 6593815 h 6858000"/>
              <a:gd name="connsiteX2651" fmla="*/ 1815282 w 5794893"/>
              <a:gd name="connsiteY2651" fmla="*/ 6654039 h 6858000"/>
              <a:gd name="connsiteX2652" fmla="*/ 1842321 w 5794893"/>
              <a:gd name="connsiteY2652" fmla="*/ 6598732 h 6858000"/>
              <a:gd name="connsiteX2653" fmla="*/ 1945560 w 5794893"/>
              <a:gd name="connsiteY2653" fmla="*/ 6654039 h 6858000"/>
              <a:gd name="connsiteX2654" fmla="*/ 1967682 w 5794893"/>
              <a:gd name="connsiteY2654" fmla="*/ 6602419 h 6858000"/>
              <a:gd name="connsiteX2655" fmla="*/ 2075837 w 5794893"/>
              <a:gd name="connsiteY2655" fmla="*/ 6654039 h 6858000"/>
              <a:gd name="connsiteX2656" fmla="*/ 2093044 w 5794893"/>
              <a:gd name="connsiteY2656" fmla="*/ 6607335 h 6858000"/>
              <a:gd name="connsiteX2657" fmla="*/ 2204887 w 5794893"/>
              <a:gd name="connsiteY2657" fmla="*/ 6654039 h 6858000"/>
              <a:gd name="connsiteX2658" fmla="*/ 2218405 w 5794893"/>
              <a:gd name="connsiteY2658" fmla="*/ 6611022 h 6858000"/>
              <a:gd name="connsiteX2659" fmla="*/ 2333934 w 5794893"/>
              <a:gd name="connsiteY2659" fmla="*/ 6654039 h 6858000"/>
              <a:gd name="connsiteX2660" fmla="*/ 2344996 w 5794893"/>
              <a:gd name="connsiteY2660" fmla="*/ 6615939 h 6858000"/>
              <a:gd name="connsiteX2661" fmla="*/ 2464212 w 5794893"/>
              <a:gd name="connsiteY2661" fmla="*/ 6654039 h 6858000"/>
              <a:gd name="connsiteX2662" fmla="*/ 2472816 w 5794893"/>
              <a:gd name="connsiteY2662" fmla="*/ 6619626 h 6858000"/>
              <a:gd name="connsiteX2663" fmla="*/ 2593261 w 5794893"/>
              <a:gd name="connsiteY2663" fmla="*/ 6654039 h 6858000"/>
              <a:gd name="connsiteX2664" fmla="*/ 2598177 w 5794893"/>
              <a:gd name="connsiteY2664" fmla="*/ 6625772 h 6858000"/>
              <a:gd name="connsiteX2665" fmla="*/ 2721081 w 5794893"/>
              <a:gd name="connsiteY2665" fmla="*/ 6655267 h 6858000"/>
              <a:gd name="connsiteX2666" fmla="*/ 2725997 w 5794893"/>
              <a:gd name="connsiteY2666" fmla="*/ 6629458 h 6858000"/>
              <a:gd name="connsiteX2667" fmla="*/ 2851358 w 5794893"/>
              <a:gd name="connsiteY2667" fmla="*/ 6655267 h 6858000"/>
              <a:gd name="connsiteX2668" fmla="*/ 2855045 w 5794893"/>
              <a:gd name="connsiteY2668" fmla="*/ 6633144 h 6858000"/>
              <a:gd name="connsiteX2669" fmla="*/ 2981636 w 5794893"/>
              <a:gd name="connsiteY2669" fmla="*/ 6655267 h 6858000"/>
              <a:gd name="connsiteX2670" fmla="*/ 2984094 w 5794893"/>
              <a:gd name="connsiteY2670" fmla="*/ 6636832 h 6858000"/>
              <a:gd name="connsiteX2671" fmla="*/ 3110684 w 5794893"/>
              <a:gd name="connsiteY2671" fmla="*/ 6655267 h 6858000"/>
              <a:gd name="connsiteX2672" fmla="*/ 3113142 w 5794893"/>
              <a:gd name="connsiteY2672" fmla="*/ 6639290 h 6858000"/>
              <a:gd name="connsiteX2673" fmla="*/ 3240961 w 5794893"/>
              <a:gd name="connsiteY2673" fmla="*/ 6655267 h 6858000"/>
              <a:gd name="connsiteX2674" fmla="*/ 3242191 w 5794893"/>
              <a:gd name="connsiteY2674" fmla="*/ 6642977 h 6858000"/>
              <a:gd name="connsiteX2675" fmla="*/ 3371239 w 5794893"/>
              <a:gd name="connsiteY2675" fmla="*/ 6655267 h 6858000"/>
              <a:gd name="connsiteX2676" fmla="*/ 3372468 w 5794893"/>
              <a:gd name="connsiteY2676" fmla="*/ 6645435 h 6858000"/>
              <a:gd name="connsiteX2677" fmla="*/ 3501516 w 5794893"/>
              <a:gd name="connsiteY2677" fmla="*/ 6655267 h 6858000"/>
              <a:gd name="connsiteX2678" fmla="*/ 3501516 w 5794893"/>
              <a:gd name="connsiteY2678" fmla="*/ 6647893 h 6858000"/>
              <a:gd name="connsiteX2679" fmla="*/ 3630565 w 5794893"/>
              <a:gd name="connsiteY2679" fmla="*/ 6655267 h 6858000"/>
              <a:gd name="connsiteX2680" fmla="*/ 3630565 w 5794893"/>
              <a:gd name="connsiteY2680" fmla="*/ 6650352 h 6858000"/>
              <a:gd name="connsiteX2681" fmla="*/ 3639168 w 5794893"/>
              <a:gd name="connsiteY2681" fmla="*/ 6650352 h 6858000"/>
              <a:gd name="connsiteX2682" fmla="*/ 3719056 w 5794893"/>
              <a:gd name="connsiteY2682" fmla="*/ 6652810 h 6858000"/>
              <a:gd name="connsiteX2683" fmla="*/ 3719056 w 5794893"/>
              <a:gd name="connsiteY2683" fmla="*/ 6654039 h 6858000"/>
              <a:gd name="connsiteX2684" fmla="*/ 5715007 w 5794893"/>
              <a:gd name="connsiteY2684" fmla="*/ 6700742 h 6858000"/>
              <a:gd name="connsiteX2685" fmla="*/ 3716598 w 5794893"/>
              <a:gd name="connsiteY2685" fmla="*/ 6700742 h 6858000"/>
              <a:gd name="connsiteX2686" fmla="*/ 3716598 w 5794893"/>
              <a:gd name="connsiteY2686" fmla="*/ 6701972 h 6858000"/>
              <a:gd name="connsiteX2687" fmla="*/ 3598611 w 5794893"/>
              <a:gd name="connsiteY2687" fmla="*/ 6699514 h 6858000"/>
              <a:gd name="connsiteX2688" fmla="*/ 3598611 w 5794893"/>
              <a:gd name="connsiteY2688" fmla="*/ 6703200 h 6858000"/>
              <a:gd name="connsiteX2689" fmla="*/ 3480623 w 5794893"/>
              <a:gd name="connsiteY2689" fmla="*/ 6699514 h 6858000"/>
              <a:gd name="connsiteX2690" fmla="*/ 3480623 w 5794893"/>
              <a:gd name="connsiteY2690" fmla="*/ 6705658 h 6858000"/>
              <a:gd name="connsiteX2691" fmla="*/ 3362636 w 5794893"/>
              <a:gd name="connsiteY2691" fmla="*/ 6699514 h 6858000"/>
              <a:gd name="connsiteX2692" fmla="*/ 3362636 w 5794893"/>
              <a:gd name="connsiteY2692" fmla="*/ 6708116 h 6858000"/>
              <a:gd name="connsiteX2693" fmla="*/ 3244649 w 5794893"/>
              <a:gd name="connsiteY2693" fmla="*/ 6699514 h 6858000"/>
              <a:gd name="connsiteX2694" fmla="*/ 3244649 w 5794893"/>
              <a:gd name="connsiteY2694" fmla="*/ 6710574 h 6858000"/>
              <a:gd name="connsiteX2695" fmla="*/ 3126662 w 5794893"/>
              <a:gd name="connsiteY2695" fmla="*/ 6699514 h 6858000"/>
              <a:gd name="connsiteX2696" fmla="*/ 3125432 w 5794893"/>
              <a:gd name="connsiteY2696" fmla="*/ 6714262 h 6858000"/>
              <a:gd name="connsiteX2697" fmla="*/ 3007445 w 5794893"/>
              <a:gd name="connsiteY2697" fmla="*/ 6699514 h 6858000"/>
              <a:gd name="connsiteX2698" fmla="*/ 3006216 w 5794893"/>
              <a:gd name="connsiteY2698" fmla="*/ 6716719 h 6858000"/>
              <a:gd name="connsiteX2699" fmla="*/ 2889458 w 5794893"/>
              <a:gd name="connsiteY2699" fmla="*/ 6699514 h 6858000"/>
              <a:gd name="connsiteX2700" fmla="*/ 2887000 w 5794893"/>
              <a:gd name="connsiteY2700" fmla="*/ 6720406 h 6858000"/>
              <a:gd name="connsiteX2701" fmla="*/ 2771470 w 5794893"/>
              <a:gd name="connsiteY2701" fmla="*/ 6699514 h 6858000"/>
              <a:gd name="connsiteX2702" fmla="*/ 2767784 w 5794893"/>
              <a:gd name="connsiteY2702" fmla="*/ 6724094 h 6858000"/>
              <a:gd name="connsiteX2703" fmla="*/ 2653483 w 5794893"/>
              <a:gd name="connsiteY2703" fmla="*/ 6699514 h 6858000"/>
              <a:gd name="connsiteX2704" fmla="*/ 2648567 w 5794893"/>
              <a:gd name="connsiteY2704" fmla="*/ 6726552 h 6858000"/>
              <a:gd name="connsiteX2705" fmla="*/ 2535496 w 5794893"/>
              <a:gd name="connsiteY2705" fmla="*/ 6699514 h 6858000"/>
              <a:gd name="connsiteX2706" fmla="*/ 2529351 w 5794893"/>
              <a:gd name="connsiteY2706" fmla="*/ 6731467 h 6858000"/>
              <a:gd name="connsiteX2707" fmla="*/ 2417509 w 5794893"/>
              <a:gd name="connsiteY2707" fmla="*/ 6699514 h 6858000"/>
              <a:gd name="connsiteX2708" fmla="*/ 2410134 w 5794893"/>
              <a:gd name="connsiteY2708" fmla="*/ 6735155 h 6858000"/>
              <a:gd name="connsiteX2709" fmla="*/ 2299521 w 5794893"/>
              <a:gd name="connsiteY2709" fmla="*/ 6699514 h 6858000"/>
              <a:gd name="connsiteX2710" fmla="*/ 2289689 w 5794893"/>
              <a:gd name="connsiteY2710" fmla="*/ 6738843 h 6858000"/>
              <a:gd name="connsiteX2711" fmla="*/ 2181534 w 5794893"/>
              <a:gd name="connsiteY2711" fmla="*/ 6699514 h 6858000"/>
              <a:gd name="connsiteX2712" fmla="*/ 2169244 w 5794893"/>
              <a:gd name="connsiteY2712" fmla="*/ 6743757 h 6858000"/>
              <a:gd name="connsiteX2713" fmla="*/ 2063547 w 5794893"/>
              <a:gd name="connsiteY2713" fmla="*/ 6699514 h 6858000"/>
              <a:gd name="connsiteX2714" fmla="*/ 2047570 w 5794893"/>
              <a:gd name="connsiteY2714" fmla="*/ 6748675 h 6858000"/>
              <a:gd name="connsiteX2715" fmla="*/ 1945560 w 5794893"/>
              <a:gd name="connsiteY2715" fmla="*/ 6699514 h 6858000"/>
              <a:gd name="connsiteX2716" fmla="*/ 1925895 w 5794893"/>
              <a:gd name="connsiteY2716" fmla="*/ 6752361 h 6858000"/>
              <a:gd name="connsiteX2717" fmla="*/ 1827572 w 5794893"/>
              <a:gd name="connsiteY2717" fmla="*/ 6699514 h 6858000"/>
              <a:gd name="connsiteX2718" fmla="*/ 1802992 w 5794893"/>
              <a:gd name="connsiteY2718" fmla="*/ 6757277 h 6858000"/>
              <a:gd name="connsiteX2719" fmla="*/ 1709585 w 5794893"/>
              <a:gd name="connsiteY2719" fmla="*/ 6699514 h 6858000"/>
              <a:gd name="connsiteX2720" fmla="*/ 1680088 w 5794893"/>
              <a:gd name="connsiteY2720" fmla="*/ 6762194 h 6858000"/>
              <a:gd name="connsiteX2721" fmla="*/ 1591598 w 5794893"/>
              <a:gd name="connsiteY2721" fmla="*/ 6699514 h 6858000"/>
              <a:gd name="connsiteX2722" fmla="*/ 1557758 w 5794893"/>
              <a:gd name="connsiteY2722" fmla="*/ 6760194 h 6858000"/>
              <a:gd name="connsiteX2723" fmla="*/ 1477299 w 5794893"/>
              <a:gd name="connsiteY2723" fmla="*/ 6695826 h 6858000"/>
              <a:gd name="connsiteX2724" fmla="*/ 1440428 w 5794893"/>
              <a:gd name="connsiteY2724" fmla="*/ 6754819 h 6858000"/>
              <a:gd name="connsiteX2725" fmla="*/ 1557185 w 5794893"/>
              <a:gd name="connsiteY2725" fmla="*/ 6848226 h 6858000"/>
              <a:gd name="connsiteX2726" fmla="*/ 1593698 w 5794893"/>
              <a:gd name="connsiteY2726" fmla="*/ 6789805 h 6858000"/>
              <a:gd name="connsiteX2727" fmla="*/ 1682547 w 5794893"/>
              <a:gd name="connsiteY2727" fmla="*/ 6851912 h 6858000"/>
              <a:gd name="connsiteX2728" fmla="*/ 1715731 w 5794893"/>
              <a:gd name="connsiteY2728" fmla="*/ 6791690 h 6858000"/>
              <a:gd name="connsiteX2729" fmla="*/ 1812824 w 5794893"/>
              <a:gd name="connsiteY2729" fmla="*/ 6851912 h 6858000"/>
              <a:gd name="connsiteX2730" fmla="*/ 1839863 w 5794893"/>
              <a:gd name="connsiteY2730" fmla="*/ 6796607 h 6858000"/>
              <a:gd name="connsiteX2731" fmla="*/ 1943102 w 5794893"/>
              <a:gd name="connsiteY2731" fmla="*/ 6851912 h 6858000"/>
              <a:gd name="connsiteX2732" fmla="*/ 1965224 w 5794893"/>
              <a:gd name="connsiteY2732" fmla="*/ 6800294 h 6858000"/>
              <a:gd name="connsiteX2733" fmla="*/ 2073379 w 5794893"/>
              <a:gd name="connsiteY2733" fmla="*/ 6851912 h 6858000"/>
              <a:gd name="connsiteX2734" fmla="*/ 2090586 w 5794893"/>
              <a:gd name="connsiteY2734" fmla="*/ 6805209 h 6858000"/>
              <a:gd name="connsiteX2735" fmla="*/ 2202428 w 5794893"/>
              <a:gd name="connsiteY2735" fmla="*/ 6851912 h 6858000"/>
              <a:gd name="connsiteX2736" fmla="*/ 2215947 w 5794893"/>
              <a:gd name="connsiteY2736" fmla="*/ 6808897 h 6858000"/>
              <a:gd name="connsiteX2737" fmla="*/ 2331476 w 5794893"/>
              <a:gd name="connsiteY2737" fmla="*/ 6851912 h 6858000"/>
              <a:gd name="connsiteX2738" fmla="*/ 2342538 w 5794893"/>
              <a:gd name="connsiteY2738" fmla="*/ 6813813 h 6858000"/>
              <a:gd name="connsiteX2739" fmla="*/ 2461754 w 5794893"/>
              <a:gd name="connsiteY2739" fmla="*/ 6851912 h 6858000"/>
              <a:gd name="connsiteX2740" fmla="*/ 2470358 w 5794893"/>
              <a:gd name="connsiteY2740" fmla="*/ 6817499 h 6858000"/>
              <a:gd name="connsiteX2741" fmla="*/ 2592031 w 5794893"/>
              <a:gd name="connsiteY2741" fmla="*/ 6851912 h 6858000"/>
              <a:gd name="connsiteX2742" fmla="*/ 2598177 w 5794893"/>
              <a:gd name="connsiteY2742" fmla="*/ 6822417 h 6858000"/>
              <a:gd name="connsiteX2743" fmla="*/ 2721081 w 5794893"/>
              <a:gd name="connsiteY2743" fmla="*/ 6851912 h 6858000"/>
              <a:gd name="connsiteX2744" fmla="*/ 2725997 w 5794893"/>
              <a:gd name="connsiteY2744" fmla="*/ 6826103 h 6858000"/>
              <a:gd name="connsiteX2745" fmla="*/ 2851358 w 5794893"/>
              <a:gd name="connsiteY2745" fmla="*/ 6851912 h 6858000"/>
              <a:gd name="connsiteX2746" fmla="*/ 2855045 w 5794893"/>
              <a:gd name="connsiteY2746" fmla="*/ 6829790 h 6858000"/>
              <a:gd name="connsiteX2747" fmla="*/ 2981636 w 5794893"/>
              <a:gd name="connsiteY2747" fmla="*/ 6851912 h 6858000"/>
              <a:gd name="connsiteX2748" fmla="*/ 2984094 w 5794893"/>
              <a:gd name="connsiteY2748" fmla="*/ 6833478 h 6858000"/>
              <a:gd name="connsiteX2749" fmla="*/ 3110684 w 5794893"/>
              <a:gd name="connsiteY2749" fmla="*/ 6851912 h 6858000"/>
              <a:gd name="connsiteX2750" fmla="*/ 3111913 w 5794893"/>
              <a:gd name="connsiteY2750" fmla="*/ 6835936 h 6858000"/>
              <a:gd name="connsiteX2751" fmla="*/ 3239733 w 5794893"/>
              <a:gd name="connsiteY2751" fmla="*/ 6851912 h 6858000"/>
              <a:gd name="connsiteX2752" fmla="*/ 3240961 w 5794893"/>
              <a:gd name="connsiteY2752" fmla="*/ 6839622 h 6858000"/>
              <a:gd name="connsiteX2753" fmla="*/ 3370010 w 5794893"/>
              <a:gd name="connsiteY2753" fmla="*/ 6851912 h 6858000"/>
              <a:gd name="connsiteX2754" fmla="*/ 3371239 w 5794893"/>
              <a:gd name="connsiteY2754" fmla="*/ 6842080 h 6858000"/>
              <a:gd name="connsiteX2755" fmla="*/ 3500288 w 5794893"/>
              <a:gd name="connsiteY2755" fmla="*/ 6851912 h 6858000"/>
              <a:gd name="connsiteX2756" fmla="*/ 3500288 w 5794893"/>
              <a:gd name="connsiteY2756" fmla="*/ 6844538 h 6858000"/>
              <a:gd name="connsiteX2757" fmla="*/ 3629336 w 5794893"/>
              <a:gd name="connsiteY2757" fmla="*/ 6851912 h 6858000"/>
              <a:gd name="connsiteX2758" fmla="*/ 3629336 w 5794893"/>
              <a:gd name="connsiteY2758" fmla="*/ 6848226 h 6858000"/>
              <a:gd name="connsiteX2759" fmla="*/ 3637940 w 5794893"/>
              <a:gd name="connsiteY2759" fmla="*/ 6848226 h 6858000"/>
              <a:gd name="connsiteX2760" fmla="*/ 3717826 w 5794893"/>
              <a:gd name="connsiteY2760" fmla="*/ 6850684 h 6858000"/>
              <a:gd name="connsiteX2761" fmla="*/ 3717826 w 5794893"/>
              <a:gd name="connsiteY2761" fmla="*/ 6851912 h 6858000"/>
              <a:gd name="connsiteX2762" fmla="*/ 4009865 w 5794893"/>
              <a:gd name="connsiteY2762" fmla="*/ 6858000 h 6858000"/>
              <a:gd name="connsiteX2763" fmla="*/ 0 w 5794893"/>
              <a:gd name="connsiteY2763" fmla="*/ 6858000 h 6858000"/>
              <a:gd name="connsiteX2764" fmla="*/ 0 w 5794893"/>
              <a:gd name="connsiteY2764" fmla="*/ 6848226 h 6858000"/>
              <a:gd name="connsiteX2765" fmla="*/ 60222 w 5794893"/>
              <a:gd name="connsiteY2765" fmla="*/ 6848226 h 6858000"/>
              <a:gd name="connsiteX2766" fmla="*/ 60222 w 5794893"/>
              <a:gd name="connsiteY2766" fmla="*/ 6694596 h 6858000"/>
              <a:gd name="connsiteX2767" fmla="*/ 0 w 5794893"/>
              <a:gd name="connsiteY2767" fmla="*/ 6694596 h 6858000"/>
              <a:gd name="connsiteX2768" fmla="*/ 0 w 5794893"/>
              <a:gd name="connsiteY2768" fmla="*/ 6654039 h 6858000"/>
              <a:gd name="connsiteX2769" fmla="*/ 60222 w 5794893"/>
              <a:gd name="connsiteY2769" fmla="*/ 6654039 h 6858000"/>
              <a:gd name="connsiteX2770" fmla="*/ 60222 w 5794893"/>
              <a:gd name="connsiteY2770" fmla="*/ 6504097 h 6858000"/>
              <a:gd name="connsiteX2771" fmla="*/ 0 w 5794893"/>
              <a:gd name="connsiteY2771" fmla="*/ 6504097 h 6858000"/>
              <a:gd name="connsiteX2772" fmla="*/ 0 w 5794893"/>
              <a:gd name="connsiteY2772" fmla="*/ 6462309 h 6858000"/>
              <a:gd name="connsiteX2773" fmla="*/ 60222 w 5794893"/>
              <a:gd name="connsiteY2773" fmla="*/ 6462309 h 6858000"/>
              <a:gd name="connsiteX2774" fmla="*/ 60222 w 5794893"/>
              <a:gd name="connsiteY2774" fmla="*/ 6308681 h 6858000"/>
              <a:gd name="connsiteX2775" fmla="*/ 0 w 5794893"/>
              <a:gd name="connsiteY2775" fmla="*/ 6308681 h 6858000"/>
              <a:gd name="connsiteX2776" fmla="*/ 0 w 5794893"/>
              <a:gd name="connsiteY2776" fmla="*/ 6271810 h 6858000"/>
              <a:gd name="connsiteX2777" fmla="*/ 60222 w 5794893"/>
              <a:gd name="connsiteY2777" fmla="*/ 6271810 h 6858000"/>
              <a:gd name="connsiteX2778" fmla="*/ 60222 w 5794893"/>
              <a:gd name="connsiteY2778" fmla="*/ 6118180 h 6858000"/>
              <a:gd name="connsiteX2779" fmla="*/ 0 w 5794893"/>
              <a:gd name="connsiteY2779" fmla="*/ 6118180 h 6858000"/>
              <a:gd name="connsiteX2780" fmla="*/ 0 w 5794893"/>
              <a:gd name="connsiteY2780" fmla="*/ 6081309 h 6858000"/>
              <a:gd name="connsiteX2781" fmla="*/ 60222 w 5794893"/>
              <a:gd name="connsiteY2781" fmla="*/ 6081309 h 6858000"/>
              <a:gd name="connsiteX2782" fmla="*/ 60222 w 5794893"/>
              <a:gd name="connsiteY2782" fmla="*/ 5927679 h 6858000"/>
              <a:gd name="connsiteX2783" fmla="*/ 0 w 5794893"/>
              <a:gd name="connsiteY2783" fmla="*/ 5927679 h 6858000"/>
              <a:gd name="connsiteX2784" fmla="*/ 0 w 5794893"/>
              <a:gd name="connsiteY2784" fmla="*/ 5888351 h 6858000"/>
              <a:gd name="connsiteX2785" fmla="*/ 60222 w 5794893"/>
              <a:gd name="connsiteY2785" fmla="*/ 5888351 h 6858000"/>
              <a:gd name="connsiteX2786" fmla="*/ 60222 w 5794893"/>
              <a:gd name="connsiteY2786" fmla="*/ 5734722 h 6858000"/>
              <a:gd name="connsiteX2787" fmla="*/ 0 w 5794893"/>
              <a:gd name="connsiteY2787" fmla="*/ 5734722 h 6858000"/>
              <a:gd name="connsiteX2788" fmla="*/ 0 w 5794893"/>
              <a:gd name="connsiteY2788" fmla="*/ 5695392 h 6858000"/>
              <a:gd name="connsiteX2789" fmla="*/ 60222 w 5794893"/>
              <a:gd name="connsiteY2789" fmla="*/ 5695392 h 6858000"/>
              <a:gd name="connsiteX2790" fmla="*/ 60222 w 5794893"/>
              <a:gd name="connsiteY2790" fmla="*/ 5539305 h 6858000"/>
              <a:gd name="connsiteX2791" fmla="*/ 0 w 5794893"/>
              <a:gd name="connsiteY2791" fmla="*/ 5539305 h 6858000"/>
              <a:gd name="connsiteX2792" fmla="*/ 0 w 5794893"/>
              <a:gd name="connsiteY2792" fmla="*/ 5501205 h 6858000"/>
              <a:gd name="connsiteX2793" fmla="*/ 60222 w 5794893"/>
              <a:gd name="connsiteY2793" fmla="*/ 5501205 h 6858000"/>
              <a:gd name="connsiteX2794" fmla="*/ 60222 w 5794893"/>
              <a:gd name="connsiteY2794" fmla="*/ 5347577 h 6858000"/>
              <a:gd name="connsiteX2795" fmla="*/ 0 w 5794893"/>
              <a:gd name="connsiteY2795" fmla="*/ 5347577 h 6858000"/>
              <a:gd name="connsiteX2796" fmla="*/ 0 w 5794893"/>
              <a:gd name="connsiteY2796" fmla="*/ 5313162 h 6858000"/>
              <a:gd name="connsiteX2797" fmla="*/ 60222 w 5794893"/>
              <a:gd name="connsiteY2797" fmla="*/ 5313162 h 6858000"/>
              <a:gd name="connsiteX2798" fmla="*/ 60222 w 5794893"/>
              <a:gd name="connsiteY2798" fmla="*/ 5160762 h 6858000"/>
              <a:gd name="connsiteX2799" fmla="*/ 0 w 5794893"/>
              <a:gd name="connsiteY2799" fmla="*/ 5160762 h 6858000"/>
              <a:gd name="connsiteX2800" fmla="*/ 0 w 5794893"/>
              <a:gd name="connsiteY2800" fmla="*/ 5118975 h 6858000"/>
              <a:gd name="connsiteX2801" fmla="*/ 60222 w 5794893"/>
              <a:gd name="connsiteY2801" fmla="*/ 5118975 h 6858000"/>
              <a:gd name="connsiteX2802" fmla="*/ 60222 w 5794893"/>
              <a:gd name="connsiteY2802" fmla="*/ 4966575 h 6858000"/>
              <a:gd name="connsiteX2803" fmla="*/ 0 w 5794893"/>
              <a:gd name="connsiteY2803" fmla="*/ 4966575 h 6858000"/>
              <a:gd name="connsiteX2804" fmla="*/ 0 w 5794893"/>
              <a:gd name="connsiteY2804" fmla="*/ 4926017 h 6858000"/>
              <a:gd name="connsiteX2805" fmla="*/ 60222 w 5794893"/>
              <a:gd name="connsiteY2805" fmla="*/ 4926017 h 6858000"/>
              <a:gd name="connsiteX2806" fmla="*/ 60222 w 5794893"/>
              <a:gd name="connsiteY2806" fmla="*/ 4772388 h 6858000"/>
              <a:gd name="connsiteX2807" fmla="*/ 0 w 5794893"/>
              <a:gd name="connsiteY2807" fmla="*/ 4772388 h 6858000"/>
              <a:gd name="connsiteX2808" fmla="*/ 0 w 5794893"/>
              <a:gd name="connsiteY2808" fmla="*/ 4731830 h 6858000"/>
              <a:gd name="connsiteX2809" fmla="*/ 60222 w 5794893"/>
              <a:gd name="connsiteY2809" fmla="*/ 4731830 h 6858000"/>
              <a:gd name="connsiteX2810" fmla="*/ 60222 w 5794893"/>
              <a:gd name="connsiteY2810" fmla="*/ 4579430 h 6858000"/>
              <a:gd name="connsiteX2811" fmla="*/ 0 w 5794893"/>
              <a:gd name="connsiteY2811" fmla="*/ 4579430 h 6858000"/>
              <a:gd name="connsiteX2812" fmla="*/ 0 w 5794893"/>
              <a:gd name="connsiteY2812" fmla="*/ 4537643 h 6858000"/>
              <a:gd name="connsiteX2813" fmla="*/ 60222 w 5794893"/>
              <a:gd name="connsiteY2813" fmla="*/ 4537643 h 6858000"/>
              <a:gd name="connsiteX2814" fmla="*/ 60222 w 5794893"/>
              <a:gd name="connsiteY2814" fmla="*/ 4385243 h 6858000"/>
              <a:gd name="connsiteX2815" fmla="*/ 0 w 5794893"/>
              <a:gd name="connsiteY2815" fmla="*/ 4385243 h 6858000"/>
              <a:gd name="connsiteX2816" fmla="*/ 0 w 5794893"/>
              <a:gd name="connsiteY2816" fmla="*/ 4343456 h 6858000"/>
              <a:gd name="connsiteX2817" fmla="*/ 60222 w 5794893"/>
              <a:gd name="connsiteY2817" fmla="*/ 4343456 h 6858000"/>
              <a:gd name="connsiteX2818" fmla="*/ 60222 w 5794893"/>
              <a:gd name="connsiteY2818" fmla="*/ 4191055 h 6858000"/>
              <a:gd name="connsiteX2819" fmla="*/ 0 w 5794893"/>
              <a:gd name="connsiteY2819" fmla="*/ 4191055 h 6858000"/>
              <a:gd name="connsiteX2820" fmla="*/ 0 w 5794893"/>
              <a:gd name="connsiteY2820" fmla="*/ 4149268 h 6858000"/>
              <a:gd name="connsiteX2821" fmla="*/ 60222 w 5794893"/>
              <a:gd name="connsiteY2821" fmla="*/ 4149268 h 6858000"/>
              <a:gd name="connsiteX2822" fmla="*/ 60222 w 5794893"/>
              <a:gd name="connsiteY2822" fmla="*/ 4145580 h 6858000"/>
              <a:gd name="connsiteX2823" fmla="*/ 60222 w 5794893"/>
              <a:gd name="connsiteY2823" fmla="*/ 3996868 h 6858000"/>
              <a:gd name="connsiteX2824" fmla="*/ 60222 w 5794893"/>
              <a:gd name="connsiteY2824" fmla="*/ 3993180 h 6858000"/>
              <a:gd name="connsiteX2825" fmla="*/ 0 w 5794893"/>
              <a:gd name="connsiteY2825" fmla="*/ 3993180 h 6858000"/>
              <a:gd name="connsiteX2826" fmla="*/ 0 w 5794893"/>
              <a:gd name="connsiteY2826" fmla="*/ 3953851 h 6858000"/>
              <a:gd name="connsiteX2827" fmla="*/ 60222 w 5794893"/>
              <a:gd name="connsiteY2827" fmla="*/ 3953851 h 6858000"/>
              <a:gd name="connsiteX2828" fmla="*/ 60222 w 5794893"/>
              <a:gd name="connsiteY2828" fmla="*/ 3800223 h 6858000"/>
              <a:gd name="connsiteX2829" fmla="*/ 0 w 5794893"/>
              <a:gd name="connsiteY2829" fmla="*/ 3800223 h 6858000"/>
              <a:gd name="connsiteX2830" fmla="*/ 0 w 5794893"/>
              <a:gd name="connsiteY2830" fmla="*/ 3762122 h 6858000"/>
              <a:gd name="connsiteX2831" fmla="*/ 60222 w 5794893"/>
              <a:gd name="connsiteY2831" fmla="*/ 3762122 h 6858000"/>
              <a:gd name="connsiteX2832" fmla="*/ 60222 w 5794893"/>
              <a:gd name="connsiteY2832" fmla="*/ 3608493 h 6858000"/>
              <a:gd name="connsiteX2833" fmla="*/ 0 w 5794893"/>
              <a:gd name="connsiteY2833" fmla="*/ 3608493 h 6858000"/>
              <a:gd name="connsiteX2834" fmla="*/ 0 w 5794893"/>
              <a:gd name="connsiteY2834" fmla="*/ 3574080 h 6858000"/>
              <a:gd name="connsiteX2835" fmla="*/ 60222 w 5794893"/>
              <a:gd name="connsiteY2835" fmla="*/ 3574080 h 6858000"/>
              <a:gd name="connsiteX2836" fmla="*/ 60222 w 5794893"/>
              <a:gd name="connsiteY2836" fmla="*/ 3420451 h 6858000"/>
              <a:gd name="connsiteX2837" fmla="*/ 0 w 5794893"/>
              <a:gd name="connsiteY2837" fmla="*/ 3420451 h 6858000"/>
              <a:gd name="connsiteX2838" fmla="*/ 0 w 5794893"/>
              <a:gd name="connsiteY2838" fmla="*/ 3379893 h 6858000"/>
              <a:gd name="connsiteX2839" fmla="*/ 60222 w 5794893"/>
              <a:gd name="connsiteY2839" fmla="*/ 3379893 h 6858000"/>
              <a:gd name="connsiteX2840" fmla="*/ 60222 w 5794893"/>
              <a:gd name="connsiteY2840" fmla="*/ 3226263 h 6858000"/>
              <a:gd name="connsiteX2841" fmla="*/ 0 w 5794893"/>
              <a:gd name="connsiteY2841" fmla="*/ 3226263 h 6858000"/>
              <a:gd name="connsiteX2842" fmla="*/ 0 w 5794893"/>
              <a:gd name="connsiteY2842" fmla="*/ 3185706 h 6858000"/>
              <a:gd name="connsiteX2843" fmla="*/ 60222 w 5794893"/>
              <a:gd name="connsiteY2843" fmla="*/ 3185706 h 6858000"/>
              <a:gd name="connsiteX2844" fmla="*/ 60222 w 5794893"/>
              <a:gd name="connsiteY2844" fmla="*/ 3032076 h 6858000"/>
              <a:gd name="connsiteX2845" fmla="*/ 0 w 5794893"/>
              <a:gd name="connsiteY2845" fmla="*/ 3032076 h 6858000"/>
              <a:gd name="connsiteX2846" fmla="*/ 0 w 5794893"/>
              <a:gd name="connsiteY2846" fmla="*/ 2990289 h 6858000"/>
              <a:gd name="connsiteX2847" fmla="*/ 60222 w 5794893"/>
              <a:gd name="connsiteY2847" fmla="*/ 2990289 h 6858000"/>
              <a:gd name="connsiteX2848" fmla="*/ 60222 w 5794893"/>
              <a:gd name="connsiteY2848" fmla="*/ 2836660 h 6858000"/>
              <a:gd name="connsiteX2849" fmla="*/ 0 w 5794893"/>
              <a:gd name="connsiteY2849" fmla="*/ 2836660 h 6858000"/>
              <a:gd name="connsiteX2850" fmla="*/ 0 w 5794893"/>
              <a:gd name="connsiteY2850" fmla="*/ 2794873 h 6858000"/>
              <a:gd name="connsiteX2851" fmla="*/ 60222 w 5794893"/>
              <a:gd name="connsiteY2851" fmla="*/ 2794873 h 6858000"/>
              <a:gd name="connsiteX2852" fmla="*/ 60222 w 5794893"/>
              <a:gd name="connsiteY2852" fmla="*/ 2641243 h 6858000"/>
              <a:gd name="connsiteX2853" fmla="*/ 0 w 5794893"/>
              <a:gd name="connsiteY2853" fmla="*/ 2641243 h 6858000"/>
              <a:gd name="connsiteX2854" fmla="*/ 0 w 5794893"/>
              <a:gd name="connsiteY2854" fmla="*/ 2600686 h 6858000"/>
              <a:gd name="connsiteX2855" fmla="*/ 60222 w 5794893"/>
              <a:gd name="connsiteY2855" fmla="*/ 2600686 h 6858000"/>
              <a:gd name="connsiteX2856" fmla="*/ 60222 w 5794893"/>
              <a:gd name="connsiteY2856" fmla="*/ 2447056 h 6858000"/>
              <a:gd name="connsiteX2857" fmla="*/ 0 w 5794893"/>
              <a:gd name="connsiteY2857" fmla="*/ 2447056 h 6858000"/>
              <a:gd name="connsiteX2858" fmla="*/ 0 w 5794893"/>
              <a:gd name="connsiteY2858" fmla="*/ 2406498 h 6858000"/>
              <a:gd name="connsiteX2859" fmla="*/ 60222 w 5794893"/>
              <a:gd name="connsiteY2859" fmla="*/ 2406498 h 6858000"/>
              <a:gd name="connsiteX2860" fmla="*/ 60222 w 5794893"/>
              <a:gd name="connsiteY2860" fmla="*/ 2254098 h 6858000"/>
              <a:gd name="connsiteX2861" fmla="*/ 0 w 5794893"/>
              <a:gd name="connsiteY2861" fmla="*/ 2254098 h 6858000"/>
              <a:gd name="connsiteX2862" fmla="*/ 0 w 5794893"/>
              <a:gd name="connsiteY2862" fmla="*/ 2217227 h 6858000"/>
              <a:gd name="connsiteX2863" fmla="*/ 60222 w 5794893"/>
              <a:gd name="connsiteY2863" fmla="*/ 2217227 h 6858000"/>
              <a:gd name="connsiteX2864" fmla="*/ 60222 w 5794893"/>
              <a:gd name="connsiteY2864" fmla="*/ 2068514 h 6858000"/>
              <a:gd name="connsiteX2865" fmla="*/ 0 w 5794893"/>
              <a:gd name="connsiteY2865" fmla="*/ 2068514 h 6858000"/>
              <a:gd name="connsiteX2866" fmla="*/ 0 w 5794893"/>
              <a:gd name="connsiteY2866" fmla="*/ 2031643 h 6858000"/>
              <a:gd name="connsiteX2867" fmla="*/ 60222 w 5794893"/>
              <a:gd name="connsiteY2867" fmla="*/ 2031643 h 6858000"/>
              <a:gd name="connsiteX2868" fmla="*/ 60222 w 5794893"/>
              <a:gd name="connsiteY2868" fmla="*/ 1878014 h 6858000"/>
              <a:gd name="connsiteX2869" fmla="*/ 0 w 5794893"/>
              <a:gd name="connsiteY2869" fmla="*/ 1878014 h 6858000"/>
              <a:gd name="connsiteX2870" fmla="*/ 0 w 5794893"/>
              <a:gd name="connsiteY2870" fmla="*/ 1838685 h 6858000"/>
              <a:gd name="connsiteX2871" fmla="*/ 60222 w 5794893"/>
              <a:gd name="connsiteY2871" fmla="*/ 1838685 h 6858000"/>
              <a:gd name="connsiteX2872" fmla="*/ 60222 w 5794893"/>
              <a:gd name="connsiteY2872" fmla="*/ 1685055 h 6858000"/>
              <a:gd name="connsiteX2873" fmla="*/ 0 w 5794893"/>
              <a:gd name="connsiteY2873" fmla="*/ 1685055 h 6858000"/>
              <a:gd name="connsiteX2874" fmla="*/ 0 w 5794893"/>
              <a:gd name="connsiteY2874" fmla="*/ 1645726 h 6858000"/>
              <a:gd name="connsiteX2875" fmla="*/ 60222 w 5794893"/>
              <a:gd name="connsiteY2875" fmla="*/ 1645726 h 6858000"/>
              <a:gd name="connsiteX2876" fmla="*/ 60222 w 5794893"/>
              <a:gd name="connsiteY2876" fmla="*/ 1492097 h 6858000"/>
              <a:gd name="connsiteX2877" fmla="*/ 0 w 5794893"/>
              <a:gd name="connsiteY2877" fmla="*/ 1492097 h 6858000"/>
              <a:gd name="connsiteX2878" fmla="*/ 0 w 5794893"/>
              <a:gd name="connsiteY2878" fmla="*/ 1453997 h 6858000"/>
              <a:gd name="connsiteX2879" fmla="*/ 60222 w 5794893"/>
              <a:gd name="connsiteY2879" fmla="*/ 1453997 h 6858000"/>
              <a:gd name="connsiteX2880" fmla="*/ 60222 w 5794893"/>
              <a:gd name="connsiteY2880" fmla="*/ 1300368 h 6858000"/>
              <a:gd name="connsiteX2881" fmla="*/ 0 w 5794893"/>
              <a:gd name="connsiteY2881" fmla="*/ 1300368 h 6858000"/>
              <a:gd name="connsiteX2882" fmla="*/ 0 w 5794893"/>
              <a:gd name="connsiteY2882" fmla="*/ 1265955 h 6858000"/>
              <a:gd name="connsiteX2883" fmla="*/ 60222 w 5794893"/>
              <a:gd name="connsiteY2883" fmla="*/ 1265955 h 6858000"/>
              <a:gd name="connsiteX2884" fmla="*/ 60222 w 5794893"/>
              <a:gd name="connsiteY2884" fmla="*/ 1112325 h 6858000"/>
              <a:gd name="connsiteX2885" fmla="*/ 0 w 5794893"/>
              <a:gd name="connsiteY2885" fmla="*/ 1112325 h 6858000"/>
              <a:gd name="connsiteX2886" fmla="*/ 0 w 5794893"/>
              <a:gd name="connsiteY2886" fmla="*/ 1071768 h 6858000"/>
              <a:gd name="connsiteX2887" fmla="*/ 60222 w 5794893"/>
              <a:gd name="connsiteY2887" fmla="*/ 1071768 h 6858000"/>
              <a:gd name="connsiteX2888" fmla="*/ 60222 w 5794893"/>
              <a:gd name="connsiteY2888" fmla="*/ 918138 h 6858000"/>
              <a:gd name="connsiteX2889" fmla="*/ 0 w 5794893"/>
              <a:gd name="connsiteY2889" fmla="*/ 918138 h 6858000"/>
              <a:gd name="connsiteX2890" fmla="*/ 0 w 5794893"/>
              <a:gd name="connsiteY2890" fmla="*/ 877581 h 6858000"/>
              <a:gd name="connsiteX2891" fmla="*/ 60222 w 5794893"/>
              <a:gd name="connsiteY2891" fmla="*/ 877581 h 6858000"/>
              <a:gd name="connsiteX2892" fmla="*/ 60222 w 5794893"/>
              <a:gd name="connsiteY2892" fmla="*/ 723951 h 6858000"/>
              <a:gd name="connsiteX2893" fmla="*/ 0 w 5794893"/>
              <a:gd name="connsiteY2893" fmla="*/ 723951 h 6858000"/>
              <a:gd name="connsiteX2894" fmla="*/ 0 w 5794893"/>
              <a:gd name="connsiteY2894" fmla="*/ 683393 h 6858000"/>
              <a:gd name="connsiteX2895" fmla="*/ 60222 w 5794893"/>
              <a:gd name="connsiteY2895" fmla="*/ 683393 h 6858000"/>
              <a:gd name="connsiteX2896" fmla="*/ 60222 w 5794893"/>
              <a:gd name="connsiteY2896" fmla="*/ 529763 h 6858000"/>
              <a:gd name="connsiteX2897" fmla="*/ 0 w 5794893"/>
              <a:gd name="connsiteY2897" fmla="*/ 529763 h 6858000"/>
              <a:gd name="connsiteX2898" fmla="*/ 0 w 5794893"/>
              <a:gd name="connsiteY2898" fmla="*/ 487976 h 6858000"/>
              <a:gd name="connsiteX2899" fmla="*/ 60222 w 5794893"/>
              <a:gd name="connsiteY2899" fmla="*/ 487976 h 6858000"/>
              <a:gd name="connsiteX2900" fmla="*/ 60222 w 5794893"/>
              <a:gd name="connsiteY2900" fmla="*/ 334348 h 6858000"/>
              <a:gd name="connsiteX2901" fmla="*/ 0 w 5794893"/>
              <a:gd name="connsiteY2901" fmla="*/ 334348 h 6858000"/>
              <a:gd name="connsiteX2902" fmla="*/ 0 w 5794893"/>
              <a:gd name="connsiteY2902" fmla="*/ 292561 h 6858000"/>
              <a:gd name="connsiteX2903" fmla="*/ 60222 w 5794893"/>
              <a:gd name="connsiteY2903" fmla="*/ 292561 h 6858000"/>
              <a:gd name="connsiteX2904" fmla="*/ 60222 w 5794893"/>
              <a:gd name="connsiteY2904" fmla="*/ 138931 h 6858000"/>
              <a:gd name="connsiteX2905" fmla="*/ 0 w 5794893"/>
              <a:gd name="connsiteY2905" fmla="*/ 138931 h 6858000"/>
              <a:gd name="connsiteX2906" fmla="*/ 0 w 5794893"/>
              <a:gd name="connsiteY2906" fmla="*/ 97144 h 6858000"/>
              <a:gd name="connsiteX2907" fmla="*/ 60222 w 5794893"/>
              <a:gd name="connsiteY2907" fmla="*/ 97144 h 6858000"/>
              <a:gd name="connsiteX2908" fmla="*/ 60222 w 5794893"/>
              <a:gd name="connsiteY2908" fmla="*/ 0 h 6858000"/>
              <a:gd name="connsiteX2909" fmla="*/ 179439 w 5794893"/>
              <a:gd name="connsiteY2909" fmla="*/ 137702 h 6858000"/>
              <a:gd name="connsiteX2910" fmla="*/ 120445 w 5794893"/>
              <a:gd name="connsiteY2910" fmla="*/ 142619 h 6858000"/>
              <a:gd name="connsiteX2911" fmla="*/ 129048 w 5794893"/>
              <a:gd name="connsiteY2911" fmla="*/ 291331 h 6858000"/>
              <a:gd name="connsiteX2912" fmla="*/ 189271 w 5794893"/>
              <a:gd name="connsiteY2912" fmla="*/ 286415 h 6858000"/>
              <a:gd name="connsiteX2913" fmla="*/ 179439 w 5794893"/>
              <a:gd name="connsiteY2913" fmla="*/ 137702 h 6858000"/>
              <a:gd name="connsiteX2914" fmla="*/ 296197 w 5794893"/>
              <a:gd name="connsiteY2914" fmla="*/ 137702 h 6858000"/>
              <a:gd name="connsiteX2915" fmla="*/ 240891 w 5794893"/>
              <a:gd name="connsiteY2915" fmla="*/ 147535 h 6858000"/>
              <a:gd name="connsiteX2916" fmla="*/ 259326 w 5794893"/>
              <a:gd name="connsiteY2916" fmla="*/ 291331 h 6858000"/>
              <a:gd name="connsiteX2917" fmla="*/ 315861 w 5794893"/>
              <a:gd name="connsiteY2917" fmla="*/ 281499 h 6858000"/>
              <a:gd name="connsiteX2918" fmla="*/ 296197 w 5794893"/>
              <a:gd name="connsiteY2918" fmla="*/ 137702 h 6858000"/>
              <a:gd name="connsiteX2919" fmla="*/ 415413 w 5794893"/>
              <a:gd name="connsiteY2919" fmla="*/ 137702 h 6858000"/>
              <a:gd name="connsiteX2920" fmla="*/ 360106 w 5794893"/>
              <a:gd name="connsiteY2920" fmla="*/ 152451 h 6858000"/>
              <a:gd name="connsiteX2921" fmla="*/ 389603 w 5794893"/>
              <a:gd name="connsiteY2921" fmla="*/ 291331 h 6858000"/>
              <a:gd name="connsiteX2922" fmla="*/ 444910 w 5794893"/>
              <a:gd name="connsiteY2922" fmla="*/ 276583 h 6858000"/>
              <a:gd name="connsiteX2923" fmla="*/ 415413 w 5794893"/>
              <a:gd name="connsiteY2923" fmla="*/ 137702 h 6858000"/>
              <a:gd name="connsiteX2924" fmla="*/ 532171 w 5794893"/>
              <a:gd name="connsiteY2924" fmla="*/ 137702 h 6858000"/>
              <a:gd name="connsiteX2925" fmla="*/ 479323 w 5794893"/>
              <a:gd name="connsiteY2925" fmla="*/ 157367 h 6858000"/>
              <a:gd name="connsiteX2926" fmla="*/ 518652 w 5794893"/>
              <a:gd name="connsiteY2926" fmla="*/ 291331 h 6858000"/>
              <a:gd name="connsiteX2927" fmla="*/ 571500 w 5794893"/>
              <a:gd name="connsiteY2927" fmla="*/ 271666 h 6858000"/>
              <a:gd name="connsiteX2928" fmla="*/ 532171 w 5794893"/>
              <a:gd name="connsiteY2928" fmla="*/ 137702 h 6858000"/>
              <a:gd name="connsiteX2929" fmla="*/ 651388 w 5794893"/>
              <a:gd name="connsiteY2929" fmla="*/ 137702 h 6858000"/>
              <a:gd name="connsiteX2930" fmla="*/ 599769 w 5794893"/>
              <a:gd name="connsiteY2930" fmla="*/ 162283 h 6858000"/>
              <a:gd name="connsiteX2931" fmla="*/ 648930 w 5794893"/>
              <a:gd name="connsiteY2931" fmla="*/ 291331 h 6858000"/>
              <a:gd name="connsiteX2932" fmla="*/ 699320 w 5794893"/>
              <a:gd name="connsiteY2932" fmla="*/ 266750 h 6858000"/>
              <a:gd name="connsiteX2933" fmla="*/ 651388 w 5794893"/>
              <a:gd name="connsiteY2933" fmla="*/ 137702 h 6858000"/>
              <a:gd name="connsiteX2934" fmla="*/ 768145 w 5794893"/>
              <a:gd name="connsiteY2934" fmla="*/ 137702 h 6858000"/>
              <a:gd name="connsiteX2935" fmla="*/ 720214 w 5794893"/>
              <a:gd name="connsiteY2935" fmla="*/ 168428 h 6858000"/>
              <a:gd name="connsiteX2936" fmla="*/ 777978 w 5794893"/>
              <a:gd name="connsiteY2936" fmla="*/ 291331 h 6858000"/>
              <a:gd name="connsiteX2937" fmla="*/ 827139 w 5794893"/>
              <a:gd name="connsiteY2937" fmla="*/ 261834 h 6858000"/>
              <a:gd name="connsiteX2938" fmla="*/ 768145 w 5794893"/>
              <a:gd name="connsiteY2938" fmla="*/ 137702 h 6858000"/>
              <a:gd name="connsiteX2939" fmla="*/ 1005350 w 5794893"/>
              <a:gd name="connsiteY2939" fmla="*/ 137702 h 6858000"/>
              <a:gd name="connsiteX2940" fmla="*/ 959875 w 5794893"/>
              <a:gd name="connsiteY2940" fmla="*/ 177031 h 6858000"/>
              <a:gd name="connsiteX2941" fmla="*/ 1037304 w 5794893"/>
              <a:gd name="connsiteY2941" fmla="*/ 290103 h 6858000"/>
              <a:gd name="connsiteX2942" fmla="*/ 1082778 w 5794893"/>
              <a:gd name="connsiteY2942" fmla="*/ 250773 h 6858000"/>
              <a:gd name="connsiteX2943" fmla="*/ 1005350 w 5794893"/>
              <a:gd name="connsiteY2943" fmla="*/ 137702 h 6858000"/>
              <a:gd name="connsiteX2944" fmla="*/ 1123337 w 5794893"/>
              <a:gd name="connsiteY2944" fmla="*/ 137702 h 6858000"/>
              <a:gd name="connsiteX2945" fmla="*/ 1080320 w 5794893"/>
              <a:gd name="connsiteY2945" fmla="*/ 183176 h 6858000"/>
              <a:gd name="connsiteX2946" fmla="*/ 1167582 w 5794893"/>
              <a:gd name="connsiteY2946" fmla="*/ 291331 h 6858000"/>
              <a:gd name="connsiteX2947" fmla="*/ 1210598 w 5794893"/>
              <a:gd name="connsiteY2947" fmla="*/ 245857 h 6858000"/>
              <a:gd name="connsiteX2948" fmla="*/ 1123337 w 5794893"/>
              <a:gd name="connsiteY2948" fmla="*/ 137702 h 6858000"/>
              <a:gd name="connsiteX2949" fmla="*/ 1241324 w 5794893"/>
              <a:gd name="connsiteY2949" fmla="*/ 137702 h 6858000"/>
              <a:gd name="connsiteX2950" fmla="*/ 1200765 w 5794893"/>
              <a:gd name="connsiteY2950" fmla="*/ 186864 h 6858000"/>
              <a:gd name="connsiteX2951" fmla="*/ 1297860 w 5794893"/>
              <a:gd name="connsiteY2951" fmla="*/ 291331 h 6858000"/>
              <a:gd name="connsiteX2952" fmla="*/ 1338417 w 5794893"/>
              <a:gd name="connsiteY2952" fmla="*/ 242170 h 6858000"/>
              <a:gd name="connsiteX2953" fmla="*/ 1241324 w 5794893"/>
              <a:gd name="connsiteY2953" fmla="*/ 137702 h 6858000"/>
              <a:gd name="connsiteX2954" fmla="*/ 1359311 w 5794893"/>
              <a:gd name="connsiteY2954" fmla="*/ 138931 h 6858000"/>
              <a:gd name="connsiteX2955" fmla="*/ 1319982 w 5794893"/>
              <a:gd name="connsiteY2955" fmla="*/ 193008 h 6858000"/>
              <a:gd name="connsiteX2956" fmla="*/ 1426908 w 5794893"/>
              <a:gd name="connsiteY2956" fmla="*/ 291331 h 6858000"/>
              <a:gd name="connsiteX2957" fmla="*/ 1466237 w 5794893"/>
              <a:gd name="connsiteY2957" fmla="*/ 237253 h 6858000"/>
              <a:gd name="connsiteX2958" fmla="*/ 1359311 w 5794893"/>
              <a:gd name="connsiteY2958" fmla="*/ 138931 h 6858000"/>
              <a:gd name="connsiteX2959" fmla="*/ 1477299 w 5794893"/>
              <a:gd name="connsiteY2959" fmla="*/ 138931 h 6858000"/>
              <a:gd name="connsiteX2960" fmla="*/ 1440428 w 5794893"/>
              <a:gd name="connsiteY2960" fmla="*/ 197924 h 6858000"/>
              <a:gd name="connsiteX2961" fmla="*/ 1557185 w 5794893"/>
              <a:gd name="connsiteY2961" fmla="*/ 291331 h 6858000"/>
              <a:gd name="connsiteX2962" fmla="*/ 1594056 w 5794893"/>
              <a:gd name="connsiteY2962" fmla="*/ 232337 h 6858000"/>
              <a:gd name="connsiteX2963" fmla="*/ 1477299 w 5794893"/>
              <a:gd name="connsiteY2963" fmla="*/ 138931 h 6858000"/>
              <a:gd name="connsiteX2964" fmla="*/ 887362 w 5794893"/>
              <a:gd name="connsiteY2964" fmla="*/ 138931 h 6858000"/>
              <a:gd name="connsiteX2965" fmla="*/ 840659 w 5794893"/>
              <a:gd name="connsiteY2965" fmla="*/ 173344 h 6858000"/>
              <a:gd name="connsiteX2966" fmla="*/ 908255 w 5794893"/>
              <a:gd name="connsiteY2966" fmla="*/ 291331 h 6858000"/>
              <a:gd name="connsiteX2967" fmla="*/ 954959 w 5794893"/>
              <a:gd name="connsiteY2967" fmla="*/ 258148 h 6858000"/>
              <a:gd name="connsiteX2968" fmla="*/ 887362 w 5794893"/>
              <a:gd name="connsiteY2968" fmla="*/ 138931 h 6858000"/>
              <a:gd name="connsiteX2969" fmla="*/ 179439 w 5794893"/>
              <a:gd name="connsiteY2969" fmla="*/ 331890 h 6858000"/>
              <a:gd name="connsiteX2970" fmla="*/ 120445 w 5794893"/>
              <a:gd name="connsiteY2970" fmla="*/ 336806 h 6858000"/>
              <a:gd name="connsiteX2971" fmla="*/ 129048 w 5794893"/>
              <a:gd name="connsiteY2971" fmla="*/ 485518 h 6858000"/>
              <a:gd name="connsiteX2972" fmla="*/ 189271 w 5794893"/>
              <a:gd name="connsiteY2972" fmla="*/ 480602 h 6858000"/>
              <a:gd name="connsiteX2973" fmla="*/ 179439 w 5794893"/>
              <a:gd name="connsiteY2973" fmla="*/ 331890 h 6858000"/>
              <a:gd name="connsiteX2974" fmla="*/ 296197 w 5794893"/>
              <a:gd name="connsiteY2974" fmla="*/ 331890 h 6858000"/>
              <a:gd name="connsiteX2975" fmla="*/ 239661 w 5794893"/>
              <a:gd name="connsiteY2975" fmla="*/ 341722 h 6858000"/>
              <a:gd name="connsiteX2976" fmla="*/ 259326 w 5794893"/>
              <a:gd name="connsiteY2976" fmla="*/ 485518 h 6858000"/>
              <a:gd name="connsiteX2977" fmla="*/ 315861 w 5794893"/>
              <a:gd name="connsiteY2977" fmla="*/ 475686 h 6858000"/>
              <a:gd name="connsiteX2978" fmla="*/ 296197 w 5794893"/>
              <a:gd name="connsiteY2978" fmla="*/ 331890 h 6858000"/>
              <a:gd name="connsiteX2979" fmla="*/ 415413 w 5794893"/>
              <a:gd name="connsiteY2979" fmla="*/ 331890 h 6858000"/>
              <a:gd name="connsiteX2980" fmla="*/ 360106 w 5794893"/>
              <a:gd name="connsiteY2980" fmla="*/ 346638 h 6858000"/>
              <a:gd name="connsiteX2981" fmla="*/ 389603 w 5794893"/>
              <a:gd name="connsiteY2981" fmla="*/ 485518 h 6858000"/>
              <a:gd name="connsiteX2982" fmla="*/ 444910 w 5794893"/>
              <a:gd name="connsiteY2982" fmla="*/ 470770 h 6858000"/>
              <a:gd name="connsiteX2983" fmla="*/ 415413 w 5794893"/>
              <a:gd name="connsiteY2983" fmla="*/ 331890 h 6858000"/>
              <a:gd name="connsiteX2984" fmla="*/ 532171 w 5794893"/>
              <a:gd name="connsiteY2984" fmla="*/ 331890 h 6858000"/>
              <a:gd name="connsiteX2985" fmla="*/ 479323 w 5794893"/>
              <a:gd name="connsiteY2985" fmla="*/ 351554 h 6858000"/>
              <a:gd name="connsiteX2986" fmla="*/ 518652 w 5794893"/>
              <a:gd name="connsiteY2986" fmla="*/ 485518 h 6858000"/>
              <a:gd name="connsiteX2987" fmla="*/ 571500 w 5794893"/>
              <a:gd name="connsiteY2987" fmla="*/ 465854 h 6858000"/>
              <a:gd name="connsiteX2988" fmla="*/ 532171 w 5794893"/>
              <a:gd name="connsiteY2988" fmla="*/ 331890 h 6858000"/>
              <a:gd name="connsiteX2989" fmla="*/ 651388 w 5794893"/>
              <a:gd name="connsiteY2989" fmla="*/ 331890 h 6858000"/>
              <a:gd name="connsiteX2990" fmla="*/ 599769 w 5794893"/>
              <a:gd name="connsiteY2990" fmla="*/ 356470 h 6858000"/>
              <a:gd name="connsiteX2991" fmla="*/ 648930 w 5794893"/>
              <a:gd name="connsiteY2991" fmla="*/ 485518 h 6858000"/>
              <a:gd name="connsiteX2992" fmla="*/ 699320 w 5794893"/>
              <a:gd name="connsiteY2992" fmla="*/ 460938 h 6858000"/>
              <a:gd name="connsiteX2993" fmla="*/ 651388 w 5794893"/>
              <a:gd name="connsiteY2993" fmla="*/ 331890 h 6858000"/>
              <a:gd name="connsiteX2994" fmla="*/ 768145 w 5794893"/>
              <a:gd name="connsiteY2994" fmla="*/ 331890 h 6858000"/>
              <a:gd name="connsiteX2995" fmla="*/ 720214 w 5794893"/>
              <a:gd name="connsiteY2995" fmla="*/ 361387 h 6858000"/>
              <a:gd name="connsiteX2996" fmla="*/ 777978 w 5794893"/>
              <a:gd name="connsiteY2996" fmla="*/ 484290 h 6858000"/>
              <a:gd name="connsiteX2997" fmla="*/ 827139 w 5794893"/>
              <a:gd name="connsiteY2997" fmla="*/ 454793 h 6858000"/>
              <a:gd name="connsiteX2998" fmla="*/ 768145 w 5794893"/>
              <a:gd name="connsiteY2998" fmla="*/ 331890 h 6858000"/>
              <a:gd name="connsiteX2999" fmla="*/ 1005350 w 5794893"/>
              <a:gd name="connsiteY2999" fmla="*/ 331890 h 6858000"/>
              <a:gd name="connsiteX3000" fmla="*/ 959875 w 5794893"/>
              <a:gd name="connsiteY3000" fmla="*/ 372447 h 6858000"/>
              <a:gd name="connsiteX3001" fmla="*/ 1037304 w 5794893"/>
              <a:gd name="connsiteY3001" fmla="*/ 485518 h 6858000"/>
              <a:gd name="connsiteX3002" fmla="*/ 1082778 w 5794893"/>
              <a:gd name="connsiteY3002" fmla="*/ 446189 h 6858000"/>
              <a:gd name="connsiteX3003" fmla="*/ 1005350 w 5794893"/>
              <a:gd name="connsiteY3003" fmla="*/ 331890 h 6858000"/>
              <a:gd name="connsiteX3004" fmla="*/ 1123337 w 5794893"/>
              <a:gd name="connsiteY3004" fmla="*/ 333118 h 6858000"/>
              <a:gd name="connsiteX3005" fmla="*/ 1080320 w 5794893"/>
              <a:gd name="connsiteY3005" fmla="*/ 377363 h 6858000"/>
              <a:gd name="connsiteX3006" fmla="*/ 1167582 w 5794893"/>
              <a:gd name="connsiteY3006" fmla="*/ 485518 h 6858000"/>
              <a:gd name="connsiteX3007" fmla="*/ 1210598 w 5794893"/>
              <a:gd name="connsiteY3007" fmla="*/ 441273 h 6858000"/>
              <a:gd name="connsiteX3008" fmla="*/ 1123337 w 5794893"/>
              <a:gd name="connsiteY3008" fmla="*/ 333118 h 6858000"/>
              <a:gd name="connsiteX3009" fmla="*/ 1240094 w 5794893"/>
              <a:gd name="connsiteY3009" fmla="*/ 333118 h 6858000"/>
              <a:gd name="connsiteX3010" fmla="*/ 1199537 w 5794893"/>
              <a:gd name="connsiteY3010" fmla="*/ 382279 h 6858000"/>
              <a:gd name="connsiteX3011" fmla="*/ 1296630 w 5794893"/>
              <a:gd name="connsiteY3011" fmla="*/ 485518 h 6858000"/>
              <a:gd name="connsiteX3012" fmla="*/ 1338417 w 5794893"/>
              <a:gd name="connsiteY3012" fmla="*/ 436357 h 6858000"/>
              <a:gd name="connsiteX3013" fmla="*/ 1240094 w 5794893"/>
              <a:gd name="connsiteY3013" fmla="*/ 333118 h 6858000"/>
              <a:gd name="connsiteX3014" fmla="*/ 1359311 w 5794893"/>
              <a:gd name="connsiteY3014" fmla="*/ 333118 h 6858000"/>
              <a:gd name="connsiteX3015" fmla="*/ 1319982 w 5794893"/>
              <a:gd name="connsiteY3015" fmla="*/ 387196 h 6858000"/>
              <a:gd name="connsiteX3016" fmla="*/ 1426908 w 5794893"/>
              <a:gd name="connsiteY3016" fmla="*/ 485518 h 6858000"/>
              <a:gd name="connsiteX3017" fmla="*/ 1466237 w 5794893"/>
              <a:gd name="connsiteY3017" fmla="*/ 431441 h 6858000"/>
              <a:gd name="connsiteX3018" fmla="*/ 1359311 w 5794893"/>
              <a:gd name="connsiteY3018" fmla="*/ 333118 h 6858000"/>
              <a:gd name="connsiteX3019" fmla="*/ 1477299 w 5794893"/>
              <a:gd name="connsiteY3019" fmla="*/ 333118 h 6858000"/>
              <a:gd name="connsiteX3020" fmla="*/ 1440428 w 5794893"/>
              <a:gd name="connsiteY3020" fmla="*/ 392112 h 6858000"/>
              <a:gd name="connsiteX3021" fmla="*/ 1557185 w 5794893"/>
              <a:gd name="connsiteY3021" fmla="*/ 485518 h 6858000"/>
              <a:gd name="connsiteX3022" fmla="*/ 1594056 w 5794893"/>
              <a:gd name="connsiteY3022" fmla="*/ 426525 h 6858000"/>
              <a:gd name="connsiteX3023" fmla="*/ 1477299 w 5794893"/>
              <a:gd name="connsiteY3023" fmla="*/ 333118 h 6858000"/>
              <a:gd name="connsiteX3024" fmla="*/ 887362 w 5794893"/>
              <a:gd name="connsiteY3024" fmla="*/ 333118 h 6858000"/>
              <a:gd name="connsiteX3025" fmla="*/ 840659 w 5794893"/>
              <a:gd name="connsiteY3025" fmla="*/ 367531 h 6858000"/>
              <a:gd name="connsiteX3026" fmla="*/ 908255 w 5794893"/>
              <a:gd name="connsiteY3026" fmla="*/ 485518 h 6858000"/>
              <a:gd name="connsiteX3027" fmla="*/ 954959 w 5794893"/>
              <a:gd name="connsiteY3027" fmla="*/ 452335 h 6858000"/>
              <a:gd name="connsiteX3028" fmla="*/ 887362 w 5794893"/>
              <a:gd name="connsiteY3028" fmla="*/ 333118 h 6858000"/>
              <a:gd name="connsiteX3029" fmla="*/ 415413 w 5794893"/>
              <a:gd name="connsiteY3029" fmla="*/ 526077 h 6858000"/>
              <a:gd name="connsiteX3030" fmla="*/ 360106 w 5794893"/>
              <a:gd name="connsiteY3030" fmla="*/ 540825 h 6858000"/>
              <a:gd name="connsiteX3031" fmla="*/ 389603 w 5794893"/>
              <a:gd name="connsiteY3031" fmla="*/ 679706 h 6858000"/>
              <a:gd name="connsiteX3032" fmla="*/ 444910 w 5794893"/>
              <a:gd name="connsiteY3032" fmla="*/ 664957 h 6858000"/>
              <a:gd name="connsiteX3033" fmla="*/ 415413 w 5794893"/>
              <a:gd name="connsiteY3033" fmla="*/ 526077 h 6858000"/>
              <a:gd name="connsiteX3034" fmla="*/ 651388 w 5794893"/>
              <a:gd name="connsiteY3034" fmla="*/ 526077 h 6858000"/>
              <a:gd name="connsiteX3035" fmla="*/ 599769 w 5794893"/>
              <a:gd name="connsiteY3035" fmla="*/ 550658 h 6858000"/>
              <a:gd name="connsiteX3036" fmla="*/ 648930 w 5794893"/>
              <a:gd name="connsiteY3036" fmla="*/ 679706 h 6858000"/>
              <a:gd name="connsiteX3037" fmla="*/ 699320 w 5794893"/>
              <a:gd name="connsiteY3037" fmla="*/ 655125 h 6858000"/>
              <a:gd name="connsiteX3038" fmla="*/ 651388 w 5794893"/>
              <a:gd name="connsiteY3038" fmla="*/ 526077 h 6858000"/>
              <a:gd name="connsiteX3039" fmla="*/ 887362 w 5794893"/>
              <a:gd name="connsiteY3039" fmla="*/ 526077 h 6858000"/>
              <a:gd name="connsiteX3040" fmla="*/ 840659 w 5794893"/>
              <a:gd name="connsiteY3040" fmla="*/ 560490 h 6858000"/>
              <a:gd name="connsiteX3041" fmla="*/ 908255 w 5794893"/>
              <a:gd name="connsiteY3041" fmla="*/ 679706 h 6858000"/>
              <a:gd name="connsiteX3042" fmla="*/ 954959 w 5794893"/>
              <a:gd name="connsiteY3042" fmla="*/ 644064 h 6858000"/>
              <a:gd name="connsiteX3043" fmla="*/ 887362 w 5794893"/>
              <a:gd name="connsiteY3043" fmla="*/ 526077 h 6858000"/>
              <a:gd name="connsiteX3044" fmla="*/ 1477299 w 5794893"/>
              <a:gd name="connsiteY3044" fmla="*/ 526077 h 6858000"/>
              <a:gd name="connsiteX3045" fmla="*/ 1440428 w 5794893"/>
              <a:gd name="connsiteY3045" fmla="*/ 585071 h 6858000"/>
              <a:gd name="connsiteX3046" fmla="*/ 1557185 w 5794893"/>
              <a:gd name="connsiteY3046" fmla="*/ 679706 h 6858000"/>
              <a:gd name="connsiteX3047" fmla="*/ 1594056 w 5794893"/>
              <a:gd name="connsiteY3047" fmla="*/ 620712 h 6858000"/>
              <a:gd name="connsiteX3048" fmla="*/ 1477299 w 5794893"/>
              <a:gd name="connsiteY3048" fmla="*/ 526077 h 6858000"/>
              <a:gd name="connsiteX3049" fmla="*/ 1005350 w 5794893"/>
              <a:gd name="connsiteY3049" fmla="*/ 527305 h 6858000"/>
              <a:gd name="connsiteX3050" fmla="*/ 959875 w 5794893"/>
              <a:gd name="connsiteY3050" fmla="*/ 565406 h 6858000"/>
              <a:gd name="connsiteX3051" fmla="*/ 1037304 w 5794893"/>
              <a:gd name="connsiteY3051" fmla="*/ 679706 h 6858000"/>
              <a:gd name="connsiteX3052" fmla="*/ 1082778 w 5794893"/>
              <a:gd name="connsiteY3052" fmla="*/ 640377 h 6858000"/>
              <a:gd name="connsiteX3053" fmla="*/ 1005350 w 5794893"/>
              <a:gd name="connsiteY3053" fmla="*/ 527305 h 6858000"/>
              <a:gd name="connsiteX3054" fmla="*/ 1123337 w 5794893"/>
              <a:gd name="connsiteY3054" fmla="*/ 527305 h 6858000"/>
              <a:gd name="connsiteX3055" fmla="*/ 1080320 w 5794893"/>
              <a:gd name="connsiteY3055" fmla="*/ 571551 h 6858000"/>
              <a:gd name="connsiteX3056" fmla="*/ 1167582 w 5794893"/>
              <a:gd name="connsiteY3056" fmla="*/ 679706 h 6858000"/>
              <a:gd name="connsiteX3057" fmla="*/ 1210598 w 5794893"/>
              <a:gd name="connsiteY3057" fmla="*/ 635460 h 6858000"/>
              <a:gd name="connsiteX3058" fmla="*/ 1123337 w 5794893"/>
              <a:gd name="connsiteY3058" fmla="*/ 527305 h 6858000"/>
              <a:gd name="connsiteX3059" fmla="*/ 1241324 w 5794893"/>
              <a:gd name="connsiteY3059" fmla="*/ 527305 h 6858000"/>
              <a:gd name="connsiteX3060" fmla="*/ 1200765 w 5794893"/>
              <a:gd name="connsiteY3060" fmla="*/ 576467 h 6858000"/>
              <a:gd name="connsiteX3061" fmla="*/ 1297860 w 5794893"/>
              <a:gd name="connsiteY3061" fmla="*/ 680935 h 6858000"/>
              <a:gd name="connsiteX3062" fmla="*/ 1338417 w 5794893"/>
              <a:gd name="connsiteY3062" fmla="*/ 631774 h 6858000"/>
              <a:gd name="connsiteX3063" fmla="*/ 1241324 w 5794893"/>
              <a:gd name="connsiteY3063" fmla="*/ 527305 h 6858000"/>
              <a:gd name="connsiteX3064" fmla="*/ 1359311 w 5794893"/>
              <a:gd name="connsiteY3064" fmla="*/ 527305 h 6858000"/>
              <a:gd name="connsiteX3065" fmla="*/ 1319982 w 5794893"/>
              <a:gd name="connsiteY3065" fmla="*/ 581383 h 6858000"/>
              <a:gd name="connsiteX3066" fmla="*/ 1426908 w 5794893"/>
              <a:gd name="connsiteY3066" fmla="*/ 679706 h 6858000"/>
              <a:gd name="connsiteX3067" fmla="*/ 1466237 w 5794893"/>
              <a:gd name="connsiteY3067" fmla="*/ 625628 h 6858000"/>
              <a:gd name="connsiteX3068" fmla="*/ 1359311 w 5794893"/>
              <a:gd name="connsiteY3068" fmla="*/ 527305 h 6858000"/>
              <a:gd name="connsiteX3069" fmla="*/ 768145 w 5794893"/>
              <a:gd name="connsiteY3069" fmla="*/ 527305 h 6858000"/>
              <a:gd name="connsiteX3070" fmla="*/ 720214 w 5794893"/>
              <a:gd name="connsiteY3070" fmla="*/ 556802 h 6858000"/>
              <a:gd name="connsiteX3071" fmla="*/ 777978 w 5794893"/>
              <a:gd name="connsiteY3071" fmla="*/ 680935 h 6858000"/>
              <a:gd name="connsiteX3072" fmla="*/ 827139 w 5794893"/>
              <a:gd name="connsiteY3072" fmla="*/ 651438 h 6858000"/>
              <a:gd name="connsiteX3073" fmla="*/ 768145 w 5794893"/>
              <a:gd name="connsiteY3073" fmla="*/ 527305 h 6858000"/>
              <a:gd name="connsiteX3074" fmla="*/ 532171 w 5794893"/>
              <a:gd name="connsiteY3074" fmla="*/ 527305 h 6858000"/>
              <a:gd name="connsiteX3075" fmla="*/ 479323 w 5794893"/>
              <a:gd name="connsiteY3075" fmla="*/ 546970 h 6858000"/>
              <a:gd name="connsiteX3076" fmla="*/ 518652 w 5794893"/>
              <a:gd name="connsiteY3076" fmla="*/ 679706 h 6858000"/>
              <a:gd name="connsiteX3077" fmla="*/ 571500 w 5794893"/>
              <a:gd name="connsiteY3077" fmla="*/ 661271 h 6858000"/>
              <a:gd name="connsiteX3078" fmla="*/ 532171 w 5794893"/>
              <a:gd name="connsiteY3078" fmla="*/ 527305 h 6858000"/>
              <a:gd name="connsiteX3079" fmla="*/ 179439 w 5794893"/>
              <a:gd name="connsiteY3079" fmla="*/ 527305 h 6858000"/>
              <a:gd name="connsiteX3080" fmla="*/ 120445 w 5794893"/>
              <a:gd name="connsiteY3080" fmla="*/ 532222 h 6858000"/>
              <a:gd name="connsiteX3081" fmla="*/ 129048 w 5794893"/>
              <a:gd name="connsiteY3081" fmla="*/ 679706 h 6858000"/>
              <a:gd name="connsiteX3082" fmla="*/ 189271 w 5794893"/>
              <a:gd name="connsiteY3082" fmla="*/ 676019 h 6858000"/>
              <a:gd name="connsiteX3083" fmla="*/ 179439 w 5794893"/>
              <a:gd name="connsiteY3083" fmla="*/ 527305 h 6858000"/>
              <a:gd name="connsiteX3084" fmla="*/ 296197 w 5794893"/>
              <a:gd name="connsiteY3084" fmla="*/ 527305 h 6858000"/>
              <a:gd name="connsiteX3085" fmla="*/ 239661 w 5794893"/>
              <a:gd name="connsiteY3085" fmla="*/ 537138 h 6858000"/>
              <a:gd name="connsiteX3086" fmla="*/ 259326 w 5794893"/>
              <a:gd name="connsiteY3086" fmla="*/ 680935 h 6858000"/>
              <a:gd name="connsiteX3087" fmla="*/ 315861 w 5794893"/>
              <a:gd name="connsiteY3087" fmla="*/ 671103 h 6858000"/>
              <a:gd name="connsiteX3088" fmla="*/ 296197 w 5794893"/>
              <a:gd name="connsiteY3088" fmla="*/ 527305 h 6858000"/>
              <a:gd name="connsiteX3089" fmla="*/ 179439 w 5794893"/>
              <a:gd name="connsiteY3089" fmla="*/ 721493 h 6858000"/>
              <a:gd name="connsiteX3090" fmla="*/ 120445 w 5794893"/>
              <a:gd name="connsiteY3090" fmla="*/ 726409 h 6858000"/>
              <a:gd name="connsiteX3091" fmla="*/ 129048 w 5794893"/>
              <a:gd name="connsiteY3091" fmla="*/ 875123 h 6858000"/>
              <a:gd name="connsiteX3092" fmla="*/ 189271 w 5794893"/>
              <a:gd name="connsiteY3092" fmla="*/ 870206 h 6858000"/>
              <a:gd name="connsiteX3093" fmla="*/ 179439 w 5794893"/>
              <a:gd name="connsiteY3093" fmla="*/ 721493 h 6858000"/>
              <a:gd name="connsiteX3094" fmla="*/ 296197 w 5794893"/>
              <a:gd name="connsiteY3094" fmla="*/ 721493 h 6858000"/>
              <a:gd name="connsiteX3095" fmla="*/ 239661 w 5794893"/>
              <a:gd name="connsiteY3095" fmla="*/ 731325 h 6858000"/>
              <a:gd name="connsiteX3096" fmla="*/ 259326 w 5794893"/>
              <a:gd name="connsiteY3096" fmla="*/ 875123 h 6858000"/>
              <a:gd name="connsiteX3097" fmla="*/ 315861 w 5794893"/>
              <a:gd name="connsiteY3097" fmla="*/ 865290 h 6858000"/>
              <a:gd name="connsiteX3098" fmla="*/ 296197 w 5794893"/>
              <a:gd name="connsiteY3098" fmla="*/ 721493 h 6858000"/>
              <a:gd name="connsiteX3099" fmla="*/ 415413 w 5794893"/>
              <a:gd name="connsiteY3099" fmla="*/ 721493 h 6858000"/>
              <a:gd name="connsiteX3100" fmla="*/ 360106 w 5794893"/>
              <a:gd name="connsiteY3100" fmla="*/ 736241 h 6858000"/>
              <a:gd name="connsiteX3101" fmla="*/ 389603 w 5794893"/>
              <a:gd name="connsiteY3101" fmla="*/ 875123 h 6858000"/>
              <a:gd name="connsiteX3102" fmla="*/ 444910 w 5794893"/>
              <a:gd name="connsiteY3102" fmla="*/ 860374 h 6858000"/>
              <a:gd name="connsiteX3103" fmla="*/ 415413 w 5794893"/>
              <a:gd name="connsiteY3103" fmla="*/ 721493 h 6858000"/>
              <a:gd name="connsiteX3104" fmla="*/ 532171 w 5794893"/>
              <a:gd name="connsiteY3104" fmla="*/ 721493 h 6858000"/>
              <a:gd name="connsiteX3105" fmla="*/ 479323 w 5794893"/>
              <a:gd name="connsiteY3105" fmla="*/ 741157 h 6858000"/>
              <a:gd name="connsiteX3106" fmla="*/ 518652 w 5794893"/>
              <a:gd name="connsiteY3106" fmla="*/ 875123 h 6858000"/>
              <a:gd name="connsiteX3107" fmla="*/ 571500 w 5794893"/>
              <a:gd name="connsiteY3107" fmla="*/ 855458 h 6858000"/>
              <a:gd name="connsiteX3108" fmla="*/ 532171 w 5794893"/>
              <a:gd name="connsiteY3108" fmla="*/ 721493 h 6858000"/>
              <a:gd name="connsiteX3109" fmla="*/ 651388 w 5794893"/>
              <a:gd name="connsiteY3109" fmla="*/ 721493 h 6858000"/>
              <a:gd name="connsiteX3110" fmla="*/ 599769 w 5794893"/>
              <a:gd name="connsiteY3110" fmla="*/ 746073 h 6858000"/>
              <a:gd name="connsiteX3111" fmla="*/ 648930 w 5794893"/>
              <a:gd name="connsiteY3111" fmla="*/ 875123 h 6858000"/>
              <a:gd name="connsiteX3112" fmla="*/ 699320 w 5794893"/>
              <a:gd name="connsiteY3112" fmla="*/ 850542 h 6858000"/>
              <a:gd name="connsiteX3113" fmla="*/ 651388 w 5794893"/>
              <a:gd name="connsiteY3113" fmla="*/ 721493 h 6858000"/>
              <a:gd name="connsiteX3114" fmla="*/ 769375 w 5794893"/>
              <a:gd name="connsiteY3114" fmla="*/ 721493 h 6858000"/>
              <a:gd name="connsiteX3115" fmla="*/ 721442 w 5794893"/>
              <a:gd name="connsiteY3115" fmla="*/ 750990 h 6858000"/>
              <a:gd name="connsiteX3116" fmla="*/ 779207 w 5794893"/>
              <a:gd name="connsiteY3116" fmla="*/ 875123 h 6858000"/>
              <a:gd name="connsiteX3117" fmla="*/ 828369 w 5794893"/>
              <a:gd name="connsiteY3117" fmla="*/ 845626 h 6858000"/>
              <a:gd name="connsiteX3118" fmla="*/ 769375 w 5794893"/>
              <a:gd name="connsiteY3118" fmla="*/ 721493 h 6858000"/>
              <a:gd name="connsiteX3119" fmla="*/ 887362 w 5794893"/>
              <a:gd name="connsiteY3119" fmla="*/ 721493 h 6858000"/>
              <a:gd name="connsiteX3120" fmla="*/ 840659 w 5794893"/>
              <a:gd name="connsiteY3120" fmla="*/ 755906 h 6858000"/>
              <a:gd name="connsiteX3121" fmla="*/ 908255 w 5794893"/>
              <a:gd name="connsiteY3121" fmla="*/ 875123 h 6858000"/>
              <a:gd name="connsiteX3122" fmla="*/ 954959 w 5794893"/>
              <a:gd name="connsiteY3122" fmla="*/ 840710 h 6858000"/>
              <a:gd name="connsiteX3123" fmla="*/ 887362 w 5794893"/>
              <a:gd name="connsiteY3123" fmla="*/ 721493 h 6858000"/>
              <a:gd name="connsiteX3124" fmla="*/ 1005350 w 5794893"/>
              <a:gd name="connsiteY3124" fmla="*/ 721493 h 6858000"/>
              <a:gd name="connsiteX3125" fmla="*/ 959875 w 5794893"/>
              <a:gd name="connsiteY3125" fmla="*/ 760822 h 6858000"/>
              <a:gd name="connsiteX3126" fmla="*/ 1037304 w 5794893"/>
              <a:gd name="connsiteY3126" fmla="*/ 873893 h 6858000"/>
              <a:gd name="connsiteX3127" fmla="*/ 1082778 w 5794893"/>
              <a:gd name="connsiteY3127" fmla="*/ 834564 h 6858000"/>
              <a:gd name="connsiteX3128" fmla="*/ 1005350 w 5794893"/>
              <a:gd name="connsiteY3128" fmla="*/ 721493 h 6858000"/>
              <a:gd name="connsiteX3129" fmla="*/ 1123337 w 5794893"/>
              <a:gd name="connsiteY3129" fmla="*/ 721493 h 6858000"/>
              <a:gd name="connsiteX3130" fmla="*/ 1080320 w 5794893"/>
              <a:gd name="connsiteY3130" fmla="*/ 765738 h 6858000"/>
              <a:gd name="connsiteX3131" fmla="*/ 1167582 w 5794893"/>
              <a:gd name="connsiteY3131" fmla="*/ 875123 h 6858000"/>
              <a:gd name="connsiteX3132" fmla="*/ 1210598 w 5794893"/>
              <a:gd name="connsiteY3132" fmla="*/ 829648 h 6858000"/>
              <a:gd name="connsiteX3133" fmla="*/ 1123337 w 5794893"/>
              <a:gd name="connsiteY3133" fmla="*/ 721493 h 6858000"/>
              <a:gd name="connsiteX3134" fmla="*/ 1241324 w 5794893"/>
              <a:gd name="connsiteY3134" fmla="*/ 721493 h 6858000"/>
              <a:gd name="connsiteX3135" fmla="*/ 1200765 w 5794893"/>
              <a:gd name="connsiteY3135" fmla="*/ 770654 h 6858000"/>
              <a:gd name="connsiteX3136" fmla="*/ 1297860 w 5794893"/>
              <a:gd name="connsiteY3136" fmla="*/ 875123 h 6858000"/>
              <a:gd name="connsiteX3137" fmla="*/ 1338417 w 5794893"/>
              <a:gd name="connsiteY3137" fmla="*/ 825961 h 6858000"/>
              <a:gd name="connsiteX3138" fmla="*/ 1241324 w 5794893"/>
              <a:gd name="connsiteY3138" fmla="*/ 721493 h 6858000"/>
              <a:gd name="connsiteX3139" fmla="*/ 1477299 w 5794893"/>
              <a:gd name="connsiteY3139" fmla="*/ 721493 h 6858000"/>
              <a:gd name="connsiteX3140" fmla="*/ 1440428 w 5794893"/>
              <a:gd name="connsiteY3140" fmla="*/ 780486 h 6858000"/>
              <a:gd name="connsiteX3141" fmla="*/ 1557185 w 5794893"/>
              <a:gd name="connsiteY3141" fmla="*/ 873893 h 6858000"/>
              <a:gd name="connsiteX3142" fmla="*/ 1594056 w 5794893"/>
              <a:gd name="connsiteY3142" fmla="*/ 814899 h 6858000"/>
              <a:gd name="connsiteX3143" fmla="*/ 1477299 w 5794893"/>
              <a:gd name="connsiteY3143" fmla="*/ 721493 h 6858000"/>
              <a:gd name="connsiteX3144" fmla="*/ 1359311 w 5794893"/>
              <a:gd name="connsiteY3144" fmla="*/ 722722 h 6858000"/>
              <a:gd name="connsiteX3145" fmla="*/ 1319982 w 5794893"/>
              <a:gd name="connsiteY3145" fmla="*/ 776800 h 6858000"/>
              <a:gd name="connsiteX3146" fmla="*/ 1426908 w 5794893"/>
              <a:gd name="connsiteY3146" fmla="*/ 876351 h 6858000"/>
              <a:gd name="connsiteX3147" fmla="*/ 1466237 w 5794893"/>
              <a:gd name="connsiteY3147" fmla="*/ 821045 h 6858000"/>
              <a:gd name="connsiteX3148" fmla="*/ 1359311 w 5794893"/>
              <a:gd name="connsiteY3148" fmla="*/ 722722 h 6858000"/>
              <a:gd name="connsiteX3149" fmla="*/ 179439 w 5794893"/>
              <a:gd name="connsiteY3149" fmla="*/ 915680 h 6858000"/>
              <a:gd name="connsiteX3150" fmla="*/ 120445 w 5794893"/>
              <a:gd name="connsiteY3150" fmla="*/ 920596 h 6858000"/>
              <a:gd name="connsiteX3151" fmla="*/ 129048 w 5794893"/>
              <a:gd name="connsiteY3151" fmla="*/ 1069310 h 6858000"/>
              <a:gd name="connsiteX3152" fmla="*/ 189271 w 5794893"/>
              <a:gd name="connsiteY3152" fmla="*/ 1064394 h 6858000"/>
              <a:gd name="connsiteX3153" fmla="*/ 179439 w 5794893"/>
              <a:gd name="connsiteY3153" fmla="*/ 915680 h 6858000"/>
              <a:gd name="connsiteX3154" fmla="*/ 296197 w 5794893"/>
              <a:gd name="connsiteY3154" fmla="*/ 915680 h 6858000"/>
              <a:gd name="connsiteX3155" fmla="*/ 239661 w 5794893"/>
              <a:gd name="connsiteY3155" fmla="*/ 925512 h 6858000"/>
              <a:gd name="connsiteX3156" fmla="*/ 259326 w 5794893"/>
              <a:gd name="connsiteY3156" fmla="*/ 1069310 h 6858000"/>
              <a:gd name="connsiteX3157" fmla="*/ 315861 w 5794893"/>
              <a:gd name="connsiteY3157" fmla="*/ 1059478 h 6858000"/>
              <a:gd name="connsiteX3158" fmla="*/ 296197 w 5794893"/>
              <a:gd name="connsiteY3158" fmla="*/ 915680 h 6858000"/>
              <a:gd name="connsiteX3159" fmla="*/ 415413 w 5794893"/>
              <a:gd name="connsiteY3159" fmla="*/ 915680 h 6858000"/>
              <a:gd name="connsiteX3160" fmla="*/ 360106 w 5794893"/>
              <a:gd name="connsiteY3160" fmla="*/ 930428 h 6858000"/>
              <a:gd name="connsiteX3161" fmla="*/ 389603 w 5794893"/>
              <a:gd name="connsiteY3161" fmla="*/ 1069310 h 6858000"/>
              <a:gd name="connsiteX3162" fmla="*/ 444910 w 5794893"/>
              <a:gd name="connsiteY3162" fmla="*/ 1054561 h 6858000"/>
              <a:gd name="connsiteX3163" fmla="*/ 415413 w 5794893"/>
              <a:gd name="connsiteY3163" fmla="*/ 915680 h 6858000"/>
              <a:gd name="connsiteX3164" fmla="*/ 532171 w 5794893"/>
              <a:gd name="connsiteY3164" fmla="*/ 915680 h 6858000"/>
              <a:gd name="connsiteX3165" fmla="*/ 479323 w 5794893"/>
              <a:gd name="connsiteY3165" fmla="*/ 935345 h 6858000"/>
              <a:gd name="connsiteX3166" fmla="*/ 518652 w 5794893"/>
              <a:gd name="connsiteY3166" fmla="*/ 1069310 h 6858000"/>
              <a:gd name="connsiteX3167" fmla="*/ 571500 w 5794893"/>
              <a:gd name="connsiteY3167" fmla="*/ 1049645 h 6858000"/>
              <a:gd name="connsiteX3168" fmla="*/ 532171 w 5794893"/>
              <a:gd name="connsiteY3168" fmla="*/ 915680 h 6858000"/>
              <a:gd name="connsiteX3169" fmla="*/ 651388 w 5794893"/>
              <a:gd name="connsiteY3169" fmla="*/ 915680 h 6858000"/>
              <a:gd name="connsiteX3170" fmla="*/ 599769 w 5794893"/>
              <a:gd name="connsiteY3170" fmla="*/ 940261 h 6858000"/>
              <a:gd name="connsiteX3171" fmla="*/ 648930 w 5794893"/>
              <a:gd name="connsiteY3171" fmla="*/ 1069310 h 6858000"/>
              <a:gd name="connsiteX3172" fmla="*/ 699320 w 5794893"/>
              <a:gd name="connsiteY3172" fmla="*/ 1044729 h 6858000"/>
              <a:gd name="connsiteX3173" fmla="*/ 651388 w 5794893"/>
              <a:gd name="connsiteY3173" fmla="*/ 915680 h 6858000"/>
              <a:gd name="connsiteX3174" fmla="*/ 768145 w 5794893"/>
              <a:gd name="connsiteY3174" fmla="*/ 915680 h 6858000"/>
              <a:gd name="connsiteX3175" fmla="*/ 720214 w 5794893"/>
              <a:gd name="connsiteY3175" fmla="*/ 945177 h 6858000"/>
              <a:gd name="connsiteX3176" fmla="*/ 777978 w 5794893"/>
              <a:gd name="connsiteY3176" fmla="*/ 1068080 h 6858000"/>
              <a:gd name="connsiteX3177" fmla="*/ 827139 w 5794893"/>
              <a:gd name="connsiteY3177" fmla="*/ 1038583 h 6858000"/>
              <a:gd name="connsiteX3178" fmla="*/ 768145 w 5794893"/>
              <a:gd name="connsiteY3178" fmla="*/ 915680 h 6858000"/>
              <a:gd name="connsiteX3179" fmla="*/ 887362 w 5794893"/>
              <a:gd name="connsiteY3179" fmla="*/ 915680 h 6858000"/>
              <a:gd name="connsiteX3180" fmla="*/ 840659 w 5794893"/>
              <a:gd name="connsiteY3180" fmla="*/ 950093 h 6858000"/>
              <a:gd name="connsiteX3181" fmla="*/ 908255 w 5794893"/>
              <a:gd name="connsiteY3181" fmla="*/ 1069310 h 6858000"/>
              <a:gd name="connsiteX3182" fmla="*/ 954959 w 5794893"/>
              <a:gd name="connsiteY3182" fmla="*/ 1034897 h 6858000"/>
              <a:gd name="connsiteX3183" fmla="*/ 887362 w 5794893"/>
              <a:gd name="connsiteY3183" fmla="*/ 915680 h 6858000"/>
              <a:gd name="connsiteX3184" fmla="*/ 1005350 w 5794893"/>
              <a:gd name="connsiteY3184" fmla="*/ 915680 h 6858000"/>
              <a:gd name="connsiteX3185" fmla="*/ 959875 w 5794893"/>
              <a:gd name="connsiteY3185" fmla="*/ 955009 h 6858000"/>
              <a:gd name="connsiteX3186" fmla="*/ 1037304 w 5794893"/>
              <a:gd name="connsiteY3186" fmla="*/ 1068080 h 6858000"/>
              <a:gd name="connsiteX3187" fmla="*/ 1082778 w 5794893"/>
              <a:gd name="connsiteY3187" fmla="*/ 1028751 h 6858000"/>
              <a:gd name="connsiteX3188" fmla="*/ 1005350 w 5794893"/>
              <a:gd name="connsiteY3188" fmla="*/ 915680 h 6858000"/>
              <a:gd name="connsiteX3189" fmla="*/ 1241324 w 5794893"/>
              <a:gd name="connsiteY3189" fmla="*/ 915680 h 6858000"/>
              <a:gd name="connsiteX3190" fmla="*/ 1200765 w 5794893"/>
              <a:gd name="connsiteY3190" fmla="*/ 964841 h 6858000"/>
              <a:gd name="connsiteX3191" fmla="*/ 1297860 w 5794893"/>
              <a:gd name="connsiteY3191" fmla="*/ 1069310 h 6858000"/>
              <a:gd name="connsiteX3192" fmla="*/ 1338417 w 5794893"/>
              <a:gd name="connsiteY3192" fmla="*/ 1020149 h 6858000"/>
              <a:gd name="connsiteX3193" fmla="*/ 1241324 w 5794893"/>
              <a:gd name="connsiteY3193" fmla="*/ 915680 h 6858000"/>
              <a:gd name="connsiteX3194" fmla="*/ 1477299 w 5794893"/>
              <a:gd name="connsiteY3194" fmla="*/ 915680 h 6858000"/>
              <a:gd name="connsiteX3195" fmla="*/ 1440428 w 5794893"/>
              <a:gd name="connsiteY3195" fmla="*/ 974674 h 6858000"/>
              <a:gd name="connsiteX3196" fmla="*/ 1557185 w 5794893"/>
              <a:gd name="connsiteY3196" fmla="*/ 1068080 h 6858000"/>
              <a:gd name="connsiteX3197" fmla="*/ 1594056 w 5794893"/>
              <a:gd name="connsiteY3197" fmla="*/ 1009087 h 6858000"/>
              <a:gd name="connsiteX3198" fmla="*/ 1477299 w 5794893"/>
              <a:gd name="connsiteY3198" fmla="*/ 915680 h 6858000"/>
              <a:gd name="connsiteX3199" fmla="*/ 1359311 w 5794893"/>
              <a:gd name="connsiteY3199" fmla="*/ 916910 h 6858000"/>
              <a:gd name="connsiteX3200" fmla="*/ 1319982 w 5794893"/>
              <a:gd name="connsiteY3200" fmla="*/ 970987 h 6858000"/>
              <a:gd name="connsiteX3201" fmla="*/ 1426908 w 5794893"/>
              <a:gd name="connsiteY3201" fmla="*/ 1069310 h 6858000"/>
              <a:gd name="connsiteX3202" fmla="*/ 1466237 w 5794893"/>
              <a:gd name="connsiteY3202" fmla="*/ 1015232 h 6858000"/>
              <a:gd name="connsiteX3203" fmla="*/ 1359311 w 5794893"/>
              <a:gd name="connsiteY3203" fmla="*/ 916910 h 6858000"/>
              <a:gd name="connsiteX3204" fmla="*/ 1123337 w 5794893"/>
              <a:gd name="connsiteY3204" fmla="*/ 916910 h 6858000"/>
              <a:gd name="connsiteX3205" fmla="*/ 1080320 w 5794893"/>
              <a:gd name="connsiteY3205" fmla="*/ 961155 h 6858000"/>
              <a:gd name="connsiteX3206" fmla="*/ 1167582 w 5794893"/>
              <a:gd name="connsiteY3206" fmla="*/ 1069310 h 6858000"/>
              <a:gd name="connsiteX3207" fmla="*/ 1210598 w 5794893"/>
              <a:gd name="connsiteY3207" fmla="*/ 1025065 h 6858000"/>
              <a:gd name="connsiteX3208" fmla="*/ 1123337 w 5794893"/>
              <a:gd name="connsiteY3208" fmla="*/ 916910 h 6858000"/>
              <a:gd name="connsiteX3209" fmla="*/ 179439 w 5794893"/>
              <a:gd name="connsiteY3209" fmla="*/ 1109867 h 6858000"/>
              <a:gd name="connsiteX3210" fmla="*/ 120445 w 5794893"/>
              <a:gd name="connsiteY3210" fmla="*/ 1114783 h 6858000"/>
              <a:gd name="connsiteX3211" fmla="*/ 129048 w 5794893"/>
              <a:gd name="connsiteY3211" fmla="*/ 1263497 h 6858000"/>
              <a:gd name="connsiteX3212" fmla="*/ 189271 w 5794893"/>
              <a:gd name="connsiteY3212" fmla="*/ 1258581 h 6858000"/>
              <a:gd name="connsiteX3213" fmla="*/ 179439 w 5794893"/>
              <a:gd name="connsiteY3213" fmla="*/ 1109867 h 6858000"/>
              <a:gd name="connsiteX3214" fmla="*/ 296197 w 5794893"/>
              <a:gd name="connsiteY3214" fmla="*/ 1109867 h 6858000"/>
              <a:gd name="connsiteX3215" fmla="*/ 239661 w 5794893"/>
              <a:gd name="connsiteY3215" fmla="*/ 1119700 h 6858000"/>
              <a:gd name="connsiteX3216" fmla="*/ 259326 w 5794893"/>
              <a:gd name="connsiteY3216" fmla="*/ 1263497 h 6858000"/>
              <a:gd name="connsiteX3217" fmla="*/ 315861 w 5794893"/>
              <a:gd name="connsiteY3217" fmla="*/ 1253665 h 6858000"/>
              <a:gd name="connsiteX3218" fmla="*/ 296197 w 5794893"/>
              <a:gd name="connsiteY3218" fmla="*/ 1109867 h 6858000"/>
              <a:gd name="connsiteX3219" fmla="*/ 415413 w 5794893"/>
              <a:gd name="connsiteY3219" fmla="*/ 1109867 h 6858000"/>
              <a:gd name="connsiteX3220" fmla="*/ 360106 w 5794893"/>
              <a:gd name="connsiteY3220" fmla="*/ 1124616 h 6858000"/>
              <a:gd name="connsiteX3221" fmla="*/ 389603 w 5794893"/>
              <a:gd name="connsiteY3221" fmla="*/ 1263497 h 6858000"/>
              <a:gd name="connsiteX3222" fmla="*/ 444910 w 5794893"/>
              <a:gd name="connsiteY3222" fmla="*/ 1248749 h 6858000"/>
              <a:gd name="connsiteX3223" fmla="*/ 415413 w 5794893"/>
              <a:gd name="connsiteY3223" fmla="*/ 1109867 h 6858000"/>
              <a:gd name="connsiteX3224" fmla="*/ 532171 w 5794893"/>
              <a:gd name="connsiteY3224" fmla="*/ 1109867 h 6858000"/>
              <a:gd name="connsiteX3225" fmla="*/ 479323 w 5794893"/>
              <a:gd name="connsiteY3225" fmla="*/ 1129532 h 6858000"/>
              <a:gd name="connsiteX3226" fmla="*/ 518652 w 5794893"/>
              <a:gd name="connsiteY3226" fmla="*/ 1263497 h 6858000"/>
              <a:gd name="connsiteX3227" fmla="*/ 571500 w 5794893"/>
              <a:gd name="connsiteY3227" fmla="*/ 1243833 h 6858000"/>
              <a:gd name="connsiteX3228" fmla="*/ 532171 w 5794893"/>
              <a:gd name="connsiteY3228" fmla="*/ 1109867 h 6858000"/>
              <a:gd name="connsiteX3229" fmla="*/ 651388 w 5794893"/>
              <a:gd name="connsiteY3229" fmla="*/ 1109867 h 6858000"/>
              <a:gd name="connsiteX3230" fmla="*/ 599769 w 5794893"/>
              <a:gd name="connsiteY3230" fmla="*/ 1135678 h 6858000"/>
              <a:gd name="connsiteX3231" fmla="*/ 648930 w 5794893"/>
              <a:gd name="connsiteY3231" fmla="*/ 1264726 h 6858000"/>
              <a:gd name="connsiteX3232" fmla="*/ 699320 w 5794893"/>
              <a:gd name="connsiteY3232" fmla="*/ 1238917 h 6858000"/>
              <a:gd name="connsiteX3233" fmla="*/ 651388 w 5794893"/>
              <a:gd name="connsiteY3233" fmla="*/ 1109867 h 6858000"/>
              <a:gd name="connsiteX3234" fmla="*/ 768145 w 5794893"/>
              <a:gd name="connsiteY3234" fmla="*/ 1109867 h 6858000"/>
              <a:gd name="connsiteX3235" fmla="*/ 720214 w 5794893"/>
              <a:gd name="connsiteY3235" fmla="*/ 1138136 h 6858000"/>
              <a:gd name="connsiteX3236" fmla="*/ 777978 w 5794893"/>
              <a:gd name="connsiteY3236" fmla="*/ 1262268 h 6858000"/>
              <a:gd name="connsiteX3237" fmla="*/ 827139 w 5794893"/>
              <a:gd name="connsiteY3237" fmla="*/ 1232771 h 6858000"/>
              <a:gd name="connsiteX3238" fmla="*/ 768145 w 5794893"/>
              <a:gd name="connsiteY3238" fmla="*/ 1109867 h 6858000"/>
              <a:gd name="connsiteX3239" fmla="*/ 887362 w 5794893"/>
              <a:gd name="connsiteY3239" fmla="*/ 1109867 h 6858000"/>
              <a:gd name="connsiteX3240" fmla="*/ 840659 w 5794893"/>
              <a:gd name="connsiteY3240" fmla="*/ 1144280 h 6858000"/>
              <a:gd name="connsiteX3241" fmla="*/ 908255 w 5794893"/>
              <a:gd name="connsiteY3241" fmla="*/ 1263497 h 6858000"/>
              <a:gd name="connsiteX3242" fmla="*/ 954959 w 5794893"/>
              <a:gd name="connsiteY3242" fmla="*/ 1229084 h 6858000"/>
              <a:gd name="connsiteX3243" fmla="*/ 887362 w 5794893"/>
              <a:gd name="connsiteY3243" fmla="*/ 1109867 h 6858000"/>
              <a:gd name="connsiteX3244" fmla="*/ 1005350 w 5794893"/>
              <a:gd name="connsiteY3244" fmla="*/ 1109867 h 6858000"/>
              <a:gd name="connsiteX3245" fmla="*/ 959875 w 5794893"/>
              <a:gd name="connsiteY3245" fmla="*/ 1150426 h 6858000"/>
              <a:gd name="connsiteX3246" fmla="*/ 1037304 w 5794893"/>
              <a:gd name="connsiteY3246" fmla="*/ 1263497 h 6858000"/>
              <a:gd name="connsiteX3247" fmla="*/ 1082778 w 5794893"/>
              <a:gd name="connsiteY3247" fmla="*/ 1224168 h 6858000"/>
              <a:gd name="connsiteX3248" fmla="*/ 1005350 w 5794893"/>
              <a:gd name="connsiteY3248" fmla="*/ 1109867 h 6858000"/>
              <a:gd name="connsiteX3249" fmla="*/ 1123337 w 5794893"/>
              <a:gd name="connsiteY3249" fmla="*/ 1109867 h 6858000"/>
              <a:gd name="connsiteX3250" fmla="*/ 1080320 w 5794893"/>
              <a:gd name="connsiteY3250" fmla="*/ 1154113 h 6858000"/>
              <a:gd name="connsiteX3251" fmla="*/ 1167582 w 5794893"/>
              <a:gd name="connsiteY3251" fmla="*/ 1263497 h 6858000"/>
              <a:gd name="connsiteX3252" fmla="*/ 1210598 w 5794893"/>
              <a:gd name="connsiteY3252" fmla="*/ 1219252 h 6858000"/>
              <a:gd name="connsiteX3253" fmla="*/ 1123337 w 5794893"/>
              <a:gd name="connsiteY3253" fmla="*/ 1109867 h 6858000"/>
              <a:gd name="connsiteX3254" fmla="*/ 1241324 w 5794893"/>
              <a:gd name="connsiteY3254" fmla="*/ 1109867 h 6858000"/>
              <a:gd name="connsiteX3255" fmla="*/ 1199537 w 5794893"/>
              <a:gd name="connsiteY3255" fmla="*/ 1160258 h 6858000"/>
              <a:gd name="connsiteX3256" fmla="*/ 1297860 w 5794893"/>
              <a:gd name="connsiteY3256" fmla="*/ 1263497 h 6858000"/>
              <a:gd name="connsiteX3257" fmla="*/ 1338417 w 5794893"/>
              <a:gd name="connsiteY3257" fmla="*/ 1214336 h 6858000"/>
              <a:gd name="connsiteX3258" fmla="*/ 1241324 w 5794893"/>
              <a:gd name="connsiteY3258" fmla="*/ 1109867 h 6858000"/>
              <a:gd name="connsiteX3259" fmla="*/ 1359311 w 5794893"/>
              <a:gd name="connsiteY3259" fmla="*/ 1111097 h 6858000"/>
              <a:gd name="connsiteX3260" fmla="*/ 1319982 w 5794893"/>
              <a:gd name="connsiteY3260" fmla="*/ 1165175 h 6858000"/>
              <a:gd name="connsiteX3261" fmla="*/ 1426908 w 5794893"/>
              <a:gd name="connsiteY3261" fmla="*/ 1263497 h 6858000"/>
              <a:gd name="connsiteX3262" fmla="*/ 1466237 w 5794893"/>
              <a:gd name="connsiteY3262" fmla="*/ 1209420 h 6858000"/>
              <a:gd name="connsiteX3263" fmla="*/ 1359311 w 5794893"/>
              <a:gd name="connsiteY3263" fmla="*/ 1111097 h 6858000"/>
              <a:gd name="connsiteX3264" fmla="*/ 1476069 w 5794893"/>
              <a:gd name="connsiteY3264" fmla="*/ 1111097 h 6858000"/>
              <a:gd name="connsiteX3265" fmla="*/ 1439198 w 5794893"/>
              <a:gd name="connsiteY3265" fmla="*/ 1170091 h 6858000"/>
              <a:gd name="connsiteX3266" fmla="*/ 1555957 w 5794893"/>
              <a:gd name="connsiteY3266" fmla="*/ 1263497 h 6858000"/>
              <a:gd name="connsiteX3267" fmla="*/ 1592828 w 5794893"/>
              <a:gd name="connsiteY3267" fmla="*/ 1204504 h 6858000"/>
              <a:gd name="connsiteX3268" fmla="*/ 1476069 w 5794893"/>
              <a:gd name="connsiteY3268" fmla="*/ 1111097 h 6858000"/>
              <a:gd name="connsiteX3269" fmla="*/ 769375 w 5794893"/>
              <a:gd name="connsiteY3269" fmla="*/ 1296680 h 6858000"/>
              <a:gd name="connsiteX3270" fmla="*/ 720214 w 5794893"/>
              <a:gd name="connsiteY3270" fmla="*/ 1327407 h 6858000"/>
              <a:gd name="connsiteX3271" fmla="*/ 777978 w 5794893"/>
              <a:gd name="connsiteY3271" fmla="*/ 1450310 h 6858000"/>
              <a:gd name="connsiteX3272" fmla="*/ 827139 w 5794893"/>
              <a:gd name="connsiteY3272" fmla="*/ 1420814 h 6858000"/>
              <a:gd name="connsiteX3273" fmla="*/ 769375 w 5794893"/>
              <a:gd name="connsiteY3273" fmla="*/ 1296680 h 6858000"/>
              <a:gd name="connsiteX3274" fmla="*/ 1123337 w 5794893"/>
              <a:gd name="connsiteY3274" fmla="*/ 1296680 h 6858000"/>
              <a:gd name="connsiteX3275" fmla="*/ 1080320 w 5794893"/>
              <a:gd name="connsiteY3275" fmla="*/ 1342155 h 6858000"/>
              <a:gd name="connsiteX3276" fmla="*/ 1167582 w 5794893"/>
              <a:gd name="connsiteY3276" fmla="*/ 1450310 h 6858000"/>
              <a:gd name="connsiteX3277" fmla="*/ 1210598 w 5794893"/>
              <a:gd name="connsiteY3277" fmla="*/ 1406065 h 6858000"/>
              <a:gd name="connsiteX3278" fmla="*/ 1123337 w 5794893"/>
              <a:gd name="connsiteY3278" fmla="*/ 1296680 h 6858000"/>
              <a:gd name="connsiteX3279" fmla="*/ 1359311 w 5794893"/>
              <a:gd name="connsiteY3279" fmla="*/ 1297910 h 6858000"/>
              <a:gd name="connsiteX3280" fmla="*/ 1319982 w 5794893"/>
              <a:gd name="connsiteY3280" fmla="*/ 1351988 h 6858000"/>
              <a:gd name="connsiteX3281" fmla="*/ 1426908 w 5794893"/>
              <a:gd name="connsiteY3281" fmla="*/ 1450310 h 6858000"/>
              <a:gd name="connsiteX3282" fmla="*/ 1466237 w 5794893"/>
              <a:gd name="connsiteY3282" fmla="*/ 1396233 h 6858000"/>
              <a:gd name="connsiteX3283" fmla="*/ 1359311 w 5794893"/>
              <a:gd name="connsiteY3283" fmla="*/ 1297910 h 6858000"/>
              <a:gd name="connsiteX3284" fmla="*/ 1242552 w 5794893"/>
              <a:gd name="connsiteY3284" fmla="*/ 1299139 h 6858000"/>
              <a:gd name="connsiteX3285" fmla="*/ 1200765 w 5794893"/>
              <a:gd name="connsiteY3285" fmla="*/ 1348300 h 6858000"/>
              <a:gd name="connsiteX3286" fmla="*/ 1297860 w 5794893"/>
              <a:gd name="connsiteY3286" fmla="*/ 1451539 h 6858000"/>
              <a:gd name="connsiteX3287" fmla="*/ 1338417 w 5794893"/>
              <a:gd name="connsiteY3287" fmla="*/ 1402377 h 6858000"/>
              <a:gd name="connsiteX3288" fmla="*/ 1242552 w 5794893"/>
              <a:gd name="connsiteY3288" fmla="*/ 1299139 h 6858000"/>
              <a:gd name="connsiteX3289" fmla="*/ 1005350 w 5794893"/>
              <a:gd name="connsiteY3289" fmla="*/ 1297910 h 6858000"/>
              <a:gd name="connsiteX3290" fmla="*/ 959875 w 5794893"/>
              <a:gd name="connsiteY3290" fmla="*/ 1338468 h 6858000"/>
              <a:gd name="connsiteX3291" fmla="*/ 1037304 w 5794893"/>
              <a:gd name="connsiteY3291" fmla="*/ 1451539 h 6858000"/>
              <a:gd name="connsiteX3292" fmla="*/ 1082778 w 5794893"/>
              <a:gd name="connsiteY3292" fmla="*/ 1412210 h 6858000"/>
              <a:gd name="connsiteX3293" fmla="*/ 1005350 w 5794893"/>
              <a:gd name="connsiteY3293" fmla="*/ 1297910 h 6858000"/>
              <a:gd name="connsiteX3294" fmla="*/ 887362 w 5794893"/>
              <a:gd name="connsiteY3294" fmla="*/ 1299139 h 6858000"/>
              <a:gd name="connsiteX3295" fmla="*/ 840659 w 5794893"/>
              <a:gd name="connsiteY3295" fmla="*/ 1333551 h 6858000"/>
              <a:gd name="connsiteX3296" fmla="*/ 908255 w 5794893"/>
              <a:gd name="connsiteY3296" fmla="*/ 1451539 h 6858000"/>
              <a:gd name="connsiteX3297" fmla="*/ 954959 w 5794893"/>
              <a:gd name="connsiteY3297" fmla="*/ 1418355 h 6858000"/>
              <a:gd name="connsiteX3298" fmla="*/ 887362 w 5794893"/>
              <a:gd name="connsiteY3298" fmla="*/ 1299139 h 6858000"/>
              <a:gd name="connsiteX3299" fmla="*/ 178209 w 5794893"/>
              <a:gd name="connsiteY3299" fmla="*/ 1297910 h 6858000"/>
              <a:gd name="connsiteX3300" fmla="*/ 119216 w 5794893"/>
              <a:gd name="connsiteY3300" fmla="*/ 1302826 h 6858000"/>
              <a:gd name="connsiteX3301" fmla="*/ 129048 w 5794893"/>
              <a:gd name="connsiteY3301" fmla="*/ 1451539 h 6858000"/>
              <a:gd name="connsiteX3302" fmla="*/ 188042 w 5794893"/>
              <a:gd name="connsiteY3302" fmla="*/ 1446623 h 6858000"/>
              <a:gd name="connsiteX3303" fmla="*/ 178209 w 5794893"/>
              <a:gd name="connsiteY3303" fmla="*/ 1297910 h 6858000"/>
              <a:gd name="connsiteX3304" fmla="*/ 296197 w 5794893"/>
              <a:gd name="connsiteY3304" fmla="*/ 1297910 h 6858000"/>
              <a:gd name="connsiteX3305" fmla="*/ 239661 w 5794893"/>
              <a:gd name="connsiteY3305" fmla="*/ 1307742 h 6858000"/>
              <a:gd name="connsiteX3306" fmla="*/ 259326 w 5794893"/>
              <a:gd name="connsiteY3306" fmla="*/ 1451539 h 6858000"/>
              <a:gd name="connsiteX3307" fmla="*/ 315861 w 5794893"/>
              <a:gd name="connsiteY3307" fmla="*/ 1441706 h 6858000"/>
              <a:gd name="connsiteX3308" fmla="*/ 296197 w 5794893"/>
              <a:gd name="connsiteY3308" fmla="*/ 1297910 h 6858000"/>
              <a:gd name="connsiteX3309" fmla="*/ 415413 w 5794893"/>
              <a:gd name="connsiteY3309" fmla="*/ 1297910 h 6858000"/>
              <a:gd name="connsiteX3310" fmla="*/ 360106 w 5794893"/>
              <a:gd name="connsiteY3310" fmla="*/ 1312659 h 6858000"/>
              <a:gd name="connsiteX3311" fmla="*/ 389603 w 5794893"/>
              <a:gd name="connsiteY3311" fmla="*/ 1451539 h 6858000"/>
              <a:gd name="connsiteX3312" fmla="*/ 444910 w 5794893"/>
              <a:gd name="connsiteY3312" fmla="*/ 1436790 h 6858000"/>
              <a:gd name="connsiteX3313" fmla="*/ 415413 w 5794893"/>
              <a:gd name="connsiteY3313" fmla="*/ 1297910 h 6858000"/>
              <a:gd name="connsiteX3314" fmla="*/ 532171 w 5794893"/>
              <a:gd name="connsiteY3314" fmla="*/ 1297910 h 6858000"/>
              <a:gd name="connsiteX3315" fmla="*/ 479323 w 5794893"/>
              <a:gd name="connsiteY3315" fmla="*/ 1317575 h 6858000"/>
              <a:gd name="connsiteX3316" fmla="*/ 518652 w 5794893"/>
              <a:gd name="connsiteY3316" fmla="*/ 1451539 h 6858000"/>
              <a:gd name="connsiteX3317" fmla="*/ 571500 w 5794893"/>
              <a:gd name="connsiteY3317" fmla="*/ 1431874 h 6858000"/>
              <a:gd name="connsiteX3318" fmla="*/ 532171 w 5794893"/>
              <a:gd name="connsiteY3318" fmla="*/ 1297910 h 6858000"/>
              <a:gd name="connsiteX3319" fmla="*/ 651388 w 5794893"/>
              <a:gd name="connsiteY3319" fmla="*/ 1297910 h 6858000"/>
              <a:gd name="connsiteX3320" fmla="*/ 599769 w 5794893"/>
              <a:gd name="connsiteY3320" fmla="*/ 1322491 h 6858000"/>
              <a:gd name="connsiteX3321" fmla="*/ 648930 w 5794893"/>
              <a:gd name="connsiteY3321" fmla="*/ 1451539 h 6858000"/>
              <a:gd name="connsiteX3322" fmla="*/ 699320 w 5794893"/>
              <a:gd name="connsiteY3322" fmla="*/ 1426958 h 6858000"/>
              <a:gd name="connsiteX3323" fmla="*/ 651388 w 5794893"/>
              <a:gd name="connsiteY3323" fmla="*/ 1297910 h 6858000"/>
              <a:gd name="connsiteX3324" fmla="*/ 178209 w 5794893"/>
              <a:gd name="connsiteY3324" fmla="*/ 1488410 h 6858000"/>
              <a:gd name="connsiteX3325" fmla="*/ 119216 w 5794893"/>
              <a:gd name="connsiteY3325" fmla="*/ 1493326 h 6858000"/>
              <a:gd name="connsiteX3326" fmla="*/ 129048 w 5794893"/>
              <a:gd name="connsiteY3326" fmla="*/ 1642040 h 6858000"/>
              <a:gd name="connsiteX3327" fmla="*/ 188042 w 5794893"/>
              <a:gd name="connsiteY3327" fmla="*/ 1637123 h 6858000"/>
              <a:gd name="connsiteX3328" fmla="*/ 178209 w 5794893"/>
              <a:gd name="connsiteY3328" fmla="*/ 1488410 h 6858000"/>
              <a:gd name="connsiteX3329" fmla="*/ 651388 w 5794893"/>
              <a:gd name="connsiteY3329" fmla="*/ 1488410 h 6858000"/>
              <a:gd name="connsiteX3330" fmla="*/ 599769 w 5794893"/>
              <a:gd name="connsiteY3330" fmla="*/ 1512990 h 6858000"/>
              <a:gd name="connsiteX3331" fmla="*/ 648930 w 5794893"/>
              <a:gd name="connsiteY3331" fmla="*/ 1642040 h 6858000"/>
              <a:gd name="connsiteX3332" fmla="*/ 699320 w 5794893"/>
              <a:gd name="connsiteY3332" fmla="*/ 1617459 h 6858000"/>
              <a:gd name="connsiteX3333" fmla="*/ 651388 w 5794893"/>
              <a:gd name="connsiteY3333" fmla="*/ 1488410 h 6858000"/>
              <a:gd name="connsiteX3334" fmla="*/ 887362 w 5794893"/>
              <a:gd name="connsiteY3334" fmla="*/ 1488410 h 6858000"/>
              <a:gd name="connsiteX3335" fmla="*/ 840659 w 5794893"/>
              <a:gd name="connsiteY3335" fmla="*/ 1522823 h 6858000"/>
              <a:gd name="connsiteX3336" fmla="*/ 908255 w 5794893"/>
              <a:gd name="connsiteY3336" fmla="*/ 1642040 h 6858000"/>
              <a:gd name="connsiteX3337" fmla="*/ 954959 w 5794893"/>
              <a:gd name="connsiteY3337" fmla="*/ 1607627 h 6858000"/>
              <a:gd name="connsiteX3338" fmla="*/ 887362 w 5794893"/>
              <a:gd name="connsiteY3338" fmla="*/ 1488410 h 6858000"/>
              <a:gd name="connsiteX3339" fmla="*/ 1242552 w 5794893"/>
              <a:gd name="connsiteY3339" fmla="*/ 1488410 h 6858000"/>
              <a:gd name="connsiteX3340" fmla="*/ 1200765 w 5794893"/>
              <a:gd name="connsiteY3340" fmla="*/ 1537571 h 6858000"/>
              <a:gd name="connsiteX3341" fmla="*/ 1297860 w 5794893"/>
              <a:gd name="connsiteY3341" fmla="*/ 1642040 h 6858000"/>
              <a:gd name="connsiteX3342" fmla="*/ 1338417 w 5794893"/>
              <a:gd name="connsiteY3342" fmla="*/ 1592878 h 6858000"/>
              <a:gd name="connsiteX3343" fmla="*/ 1242552 w 5794893"/>
              <a:gd name="connsiteY3343" fmla="*/ 1488410 h 6858000"/>
              <a:gd name="connsiteX3344" fmla="*/ 1359311 w 5794893"/>
              <a:gd name="connsiteY3344" fmla="*/ 1488410 h 6858000"/>
              <a:gd name="connsiteX3345" fmla="*/ 1319982 w 5794893"/>
              <a:gd name="connsiteY3345" fmla="*/ 1543717 h 6858000"/>
              <a:gd name="connsiteX3346" fmla="*/ 1426908 w 5794893"/>
              <a:gd name="connsiteY3346" fmla="*/ 1640810 h 6858000"/>
              <a:gd name="connsiteX3347" fmla="*/ 1466237 w 5794893"/>
              <a:gd name="connsiteY3347" fmla="*/ 1586732 h 6858000"/>
              <a:gd name="connsiteX3348" fmla="*/ 1359311 w 5794893"/>
              <a:gd name="connsiteY3348" fmla="*/ 1488410 h 6858000"/>
              <a:gd name="connsiteX3349" fmla="*/ 1005350 w 5794893"/>
              <a:gd name="connsiteY3349" fmla="*/ 1489639 h 6858000"/>
              <a:gd name="connsiteX3350" fmla="*/ 959875 w 5794893"/>
              <a:gd name="connsiteY3350" fmla="*/ 1528968 h 6858000"/>
              <a:gd name="connsiteX3351" fmla="*/ 1037304 w 5794893"/>
              <a:gd name="connsiteY3351" fmla="*/ 1642040 h 6858000"/>
              <a:gd name="connsiteX3352" fmla="*/ 1082778 w 5794893"/>
              <a:gd name="connsiteY3352" fmla="*/ 1602710 h 6858000"/>
              <a:gd name="connsiteX3353" fmla="*/ 1005350 w 5794893"/>
              <a:gd name="connsiteY3353" fmla="*/ 1489639 h 6858000"/>
              <a:gd name="connsiteX3354" fmla="*/ 1123337 w 5794893"/>
              <a:gd name="connsiteY3354" fmla="*/ 1489639 h 6858000"/>
              <a:gd name="connsiteX3355" fmla="*/ 1080320 w 5794893"/>
              <a:gd name="connsiteY3355" fmla="*/ 1533885 h 6858000"/>
              <a:gd name="connsiteX3356" fmla="*/ 1167582 w 5794893"/>
              <a:gd name="connsiteY3356" fmla="*/ 1642040 h 6858000"/>
              <a:gd name="connsiteX3357" fmla="*/ 1210598 w 5794893"/>
              <a:gd name="connsiteY3357" fmla="*/ 1597794 h 6858000"/>
              <a:gd name="connsiteX3358" fmla="*/ 1123337 w 5794893"/>
              <a:gd name="connsiteY3358" fmla="*/ 1489639 h 6858000"/>
              <a:gd name="connsiteX3359" fmla="*/ 769375 w 5794893"/>
              <a:gd name="connsiteY3359" fmla="*/ 1489639 h 6858000"/>
              <a:gd name="connsiteX3360" fmla="*/ 720214 w 5794893"/>
              <a:gd name="connsiteY3360" fmla="*/ 1519136 h 6858000"/>
              <a:gd name="connsiteX3361" fmla="*/ 777978 w 5794893"/>
              <a:gd name="connsiteY3361" fmla="*/ 1643268 h 6858000"/>
              <a:gd name="connsiteX3362" fmla="*/ 827139 w 5794893"/>
              <a:gd name="connsiteY3362" fmla="*/ 1613771 h 6858000"/>
              <a:gd name="connsiteX3363" fmla="*/ 769375 w 5794893"/>
              <a:gd name="connsiteY3363" fmla="*/ 1489639 h 6858000"/>
              <a:gd name="connsiteX3364" fmla="*/ 296197 w 5794893"/>
              <a:gd name="connsiteY3364" fmla="*/ 1489639 h 6858000"/>
              <a:gd name="connsiteX3365" fmla="*/ 239661 w 5794893"/>
              <a:gd name="connsiteY3365" fmla="*/ 1499472 h 6858000"/>
              <a:gd name="connsiteX3366" fmla="*/ 259326 w 5794893"/>
              <a:gd name="connsiteY3366" fmla="*/ 1643268 h 6858000"/>
              <a:gd name="connsiteX3367" fmla="*/ 315861 w 5794893"/>
              <a:gd name="connsiteY3367" fmla="*/ 1633436 h 6858000"/>
              <a:gd name="connsiteX3368" fmla="*/ 296197 w 5794893"/>
              <a:gd name="connsiteY3368" fmla="*/ 1489639 h 6858000"/>
              <a:gd name="connsiteX3369" fmla="*/ 415413 w 5794893"/>
              <a:gd name="connsiteY3369" fmla="*/ 1489639 h 6858000"/>
              <a:gd name="connsiteX3370" fmla="*/ 360106 w 5794893"/>
              <a:gd name="connsiteY3370" fmla="*/ 1504388 h 6858000"/>
              <a:gd name="connsiteX3371" fmla="*/ 389603 w 5794893"/>
              <a:gd name="connsiteY3371" fmla="*/ 1642040 h 6858000"/>
              <a:gd name="connsiteX3372" fmla="*/ 444910 w 5794893"/>
              <a:gd name="connsiteY3372" fmla="*/ 1628520 h 6858000"/>
              <a:gd name="connsiteX3373" fmla="*/ 415413 w 5794893"/>
              <a:gd name="connsiteY3373" fmla="*/ 1489639 h 6858000"/>
              <a:gd name="connsiteX3374" fmla="*/ 532171 w 5794893"/>
              <a:gd name="connsiteY3374" fmla="*/ 1489639 h 6858000"/>
              <a:gd name="connsiteX3375" fmla="*/ 479323 w 5794893"/>
              <a:gd name="connsiteY3375" fmla="*/ 1509304 h 6858000"/>
              <a:gd name="connsiteX3376" fmla="*/ 518652 w 5794893"/>
              <a:gd name="connsiteY3376" fmla="*/ 1642040 h 6858000"/>
              <a:gd name="connsiteX3377" fmla="*/ 571500 w 5794893"/>
              <a:gd name="connsiteY3377" fmla="*/ 1623603 h 6858000"/>
              <a:gd name="connsiteX3378" fmla="*/ 532171 w 5794893"/>
              <a:gd name="connsiteY3378" fmla="*/ 1489639 h 6858000"/>
              <a:gd name="connsiteX3379" fmla="*/ 178209 w 5794893"/>
              <a:gd name="connsiteY3379" fmla="*/ 1681369 h 6858000"/>
              <a:gd name="connsiteX3380" fmla="*/ 119216 w 5794893"/>
              <a:gd name="connsiteY3380" fmla="*/ 1686285 h 6858000"/>
              <a:gd name="connsiteX3381" fmla="*/ 129048 w 5794893"/>
              <a:gd name="connsiteY3381" fmla="*/ 1834997 h 6858000"/>
              <a:gd name="connsiteX3382" fmla="*/ 188042 w 5794893"/>
              <a:gd name="connsiteY3382" fmla="*/ 1830081 h 6858000"/>
              <a:gd name="connsiteX3383" fmla="*/ 178209 w 5794893"/>
              <a:gd name="connsiteY3383" fmla="*/ 1681369 h 6858000"/>
              <a:gd name="connsiteX3384" fmla="*/ 296197 w 5794893"/>
              <a:gd name="connsiteY3384" fmla="*/ 1681369 h 6858000"/>
              <a:gd name="connsiteX3385" fmla="*/ 239661 w 5794893"/>
              <a:gd name="connsiteY3385" fmla="*/ 1691201 h 6858000"/>
              <a:gd name="connsiteX3386" fmla="*/ 259326 w 5794893"/>
              <a:gd name="connsiteY3386" fmla="*/ 1834997 h 6858000"/>
              <a:gd name="connsiteX3387" fmla="*/ 315861 w 5794893"/>
              <a:gd name="connsiteY3387" fmla="*/ 1825165 h 6858000"/>
              <a:gd name="connsiteX3388" fmla="*/ 296197 w 5794893"/>
              <a:gd name="connsiteY3388" fmla="*/ 1681369 h 6858000"/>
              <a:gd name="connsiteX3389" fmla="*/ 415413 w 5794893"/>
              <a:gd name="connsiteY3389" fmla="*/ 1681369 h 6858000"/>
              <a:gd name="connsiteX3390" fmla="*/ 360106 w 5794893"/>
              <a:gd name="connsiteY3390" fmla="*/ 1696117 h 6858000"/>
              <a:gd name="connsiteX3391" fmla="*/ 389603 w 5794893"/>
              <a:gd name="connsiteY3391" fmla="*/ 1834997 h 6858000"/>
              <a:gd name="connsiteX3392" fmla="*/ 444910 w 5794893"/>
              <a:gd name="connsiteY3392" fmla="*/ 1820249 h 6858000"/>
              <a:gd name="connsiteX3393" fmla="*/ 415413 w 5794893"/>
              <a:gd name="connsiteY3393" fmla="*/ 1681369 h 6858000"/>
              <a:gd name="connsiteX3394" fmla="*/ 532171 w 5794893"/>
              <a:gd name="connsiteY3394" fmla="*/ 1681369 h 6858000"/>
              <a:gd name="connsiteX3395" fmla="*/ 479323 w 5794893"/>
              <a:gd name="connsiteY3395" fmla="*/ 1701033 h 6858000"/>
              <a:gd name="connsiteX3396" fmla="*/ 518652 w 5794893"/>
              <a:gd name="connsiteY3396" fmla="*/ 1834997 h 6858000"/>
              <a:gd name="connsiteX3397" fmla="*/ 571500 w 5794893"/>
              <a:gd name="connsiteY3397" fmla="*/ 1815333 h 6858000"/>
              <a:gd name="connsiteX3398" fmla="*/ 532171 w 5794893"/>
              <a:gd name="connsiteY3398" fmla="*/ 1681369 h 6858000"/>
              <a:gd name="connsiteX3399" fmla="*/ 651388 w 5794893"/>
              <a:gd name="connsiteY3399" fmla="*/ 1681369 h 6858000"/>
              <a:gd name="connsiteX3400" fmla="*/ 599769 w 5794893"/>
              <a:gd name="connsiteY3400" fmla="*/ 1705949 h 6858000"/>
              <a:gd name="connsiteX3401" fmla="*/ 648930 w 5794893"/>
              <a:gd name="connsiteY3401" fmla="*/ 1834997 h 6858000"/>
              <a:gd name="connsiteX3402" fmla="*/ 699320 w 5794893"/>
              <a:gd name="connsiteY3402" fmla="*/ 1809188 h 6858000"/>
              <a:gd name="connsiteX3403" fmla="*/ 651388 w 5794893"/>
              <a:gd name="connsiteY3403" fmla="*/ 1681369 h 6858000"/>
              <a:gd name="connsiteX3404" fmla="*/ 769375 w 5794893"/>
              <a:gd name="connsiteY3404" fmla="*/ 1681369 h 6858000"/>
              <a:gd name="connsiteX3405" fmla="*/ 720214 w 5794893"/>
              <a:gd name="connsiteY3405" fmla="*/ 1709636 h 6858000"/>
              <a:gd name="connsiteX3406" fmla="*/ 777978 w 5794893"/>
              <a:gd name="connsiteY3406" fmla="*/ 1833769 h 6858000"/>
              <a:gd name="connsiteX3407" fmla="*/ 827139 w 5794893"/>
              <a:gd name="connsiteY3407" fmla="*/ 1804272 h 6858000"/>
              <a:gd name="connsiteX3408" fmla="*/ 769375 w 5794893"/>
              <a:gd name="connsiteY3408" fmla="*/ 1681369 h 6858000"/>
              <a:gd name="connsiteX3409" fmla="*/ 887362 w 5794893"/>
              <a:gd name="connsiteY3409" fmla="*/ 1681369 h 6858000"/>
              <a:gd name="connsiteX3410" fmla="*/ 840659 w 5794893"/>
              <a:gd name="connsiteY3410" fmla="*/ 1715782 h 6858000"/>
              <a:gd name="connsiteX3411" fmla="*/ 908255 w 5794893"/>
              <a:gd name="connsiteY3411" fmla="*/ 1834997 h 6858000"/>
              <a:gd name="connsiteX3412" fmla="*/ 954959 w 5794893"/>
              <a:gd name="connsiteY3412" fmla="*/ 1800584 h 6858000"/>
              <a:gd name="connsiteX3413" fmla="*/ 887362 w 5794893"/>
              <a:gd name="connsiteY3413" fmla="*/ 1681369 h 6858000"/>
              <a:gd name="connsiteX3414" fmla="*/ 1005350 w 5794893"/>
              <a:gd name="connsiteY3414" fmla="*/ 1681369 h 6858000"/>
              <a:gd name="connsiteX3415" fmla="*/ 959875 w 5794893"/>
              <a:gd name="connsiteY3415" fmla="*/ 1720698 h 6858000"/>
              <a:gd name="connsiteX3416" fmla="*/ 1037304 w 5794893"/>
              <a:gd name="connsiteY3416" fmla="*/ 1833769 h 6858000"/>
              <a:gd name="connsiteX3417" fmla="*/ 1082778 w 5794893"/>
              <a:gd name="connsiteY3417" fmla="*/ 1794440 h 6858000"/>
              <a:gd name="connsiteX3418" fmla="*/ 1005350 w 5794893"/>
              <a:gd name="connsiteY3418" fmla="*/ 1681369 h 6858000"/>
              <a:gd name="connsiteX3419" fmla="*/ 1242552 w 5794893"/>
              <a:gd name="connsiteY3419" fmla="*/ 1681369 h 6858000"/>
              <a:gd name="connsiteX3420" fmla="*/ 1200765 w 5794893"/>
              <a:gd name="connsiteY3420" fmla="*/ 1730530 h 6858000"/>
              <a:gd name="connsiteX3421" fmla="*/ 1297860 w 5794893"/>
              <a:gd name="connsiteY3421" fmla="*/ 1834997 h 6858000"/>
              <a:gd name="connsiteX3422" fmla="*/ 1338417 w 5794893"/>
              <a:gd name="connsiteY3422" fmla="*/ 1785836 h 6858000"/>
              <a:gd name="connsiteX3423" fmla="*/ 1242552 w 5794893"/>
              <a:gd name="connsiteY3423" fmla="*/ 1681369 h 6858000"/>
              <a:gd name="connsiteX3424" fmla="*/ 1359311 w 5794893"/>
              <a:gd name="connsiteY3424" fmla="*/ 1681369 h 6858000"/>
              <a:gd name="connsiteX3425" fmla="*/ 1319982 w 5794893"/>
              <a:gd name="connsiteY3425" fmla="*/ 1735446 h 6858000"/>
              <a:gd name="connsiteX3426" fmla="*/ 1426908 w 5794893"/>
              <a:gd name="connsiteY3426" fmla="*/ 1833769 h 6858000"/>
              <a:gd name="connsiteX3427" fmla="*/ 1466237 w 5794893"/>
              <a:gd name="connsiteY3427" fmla="*/ 1779691 h 6858000"/>
              <a:gd name="connsiteX3428" fmla="*/ 1359311 w 5794893"/>
              <a:gd name="connsiteY3428" fmla="*/ 1681369 h 6858000"/>
              <a:gd name="connsiteX3429" fmla="*/ 1476069 w 5794893"/>
              <a:gd name="connsiteY3429" fmla="*/ 1682597 h 6858000"/>
              <a:gd name="connsiteX3430" fmla="*/ 1439198 w 5794893"/>
              <a:gd name="connsiteY3430" fmla="*/ 1741591 h 6858000"/>
              <a:gd name="connsiteX3431" fmla="*/ 1555957 w 5794893"/>
              <a:gd name="connsiteY3431" fmla="*/ 1834997 h 6858000"/>
              <a:gd name="connsiteX3432" fmla="*/ 1592828 w 5794893"/>
              <a:gd name="connsiteY3432" fmla="*/ 1776004 h 6858000"/>
              <a:gd name="connsiteX3433" fmla="*/ 1476069 w 5794893"/>
              <a:gd name="connsiteY3433" fmla="*/ 1682597 h 6858000"/>
              <a:gd name="connsiteX3434" fmla="*/ 1123337 w 5794893"/>
              <a:gd name="connsiteY3434" fmla="*/ 1682597 h 6858000"/>
              <a:gd name="connsiteX3435" fmla="*/ 1080320 w 5794893"/>
              <a:gd name="connsiteY3435" fmla="*/ 1726842 h 6858000"/>
              <a:gd name="connsiteX3436" fmla="*/ 1167582 w 5794893"/>
              <a:gd name="connsiteY3436" fmla="*/ 1834997 h 6858000"/>
              <a:gd name="connsiteX3437" fmla="*/ 1210598 w 5794893"/>
              <a:gd name="connsiteY3437" fmla="*/ 1790752 h 6858000"/>
              <a:gd name="connsiteX3438" fmla="*/ 1123337 w 5794893"/>
              <a:gd name="connsiteY3438" fmla="*/ 1682597 h 6858000"/>
              <a:gd name="connsiteX3439" fmla="*/ 178209 w 5794893"/>
              <a:gd name="connsiteY3439" fmla="*/ 1873098 h 6858000"/>
              <a:gd name="connsiteX3440" fmla="*/ 119216 w 5794893"/>
              <a:gd name="connsiteY3440" fmla="*/ 1878014 h 6858000"/>
              <a:gd name="connsiteX3441" fmla="*/ 129048 w 5794893"/>
              <a:gd name="connsiteY3441" fmla="*/ 2026726 h 6858000"/>
              <a:gd name="connsiteX3442" fmla="*/ 188042 w 5794893"/>
              <a:gd name="connsiteY3442" fmla="*/ 2021810 h 6858000"/>
              <a:gd name="connsiteX3443" fmla="*/ 178209 w 5794893"/>
              <a:gd name="connsiteY3443" fmla="*/ 1873098 h 6858000"/>
              <a:gd name="connsiteX3444" fmla="*/ 415413 w 5794893"/>
              <a:gd name="connsiteY3444" fmla="*/ 1873098 h 6858000"/>
              <a:gd name="connsiteX3445" fmla="*/ 360106 w 5794893"/>
              <a:gd name="connsiteY3445" fmla="*/ 1887846 h 6858000"/>
              <a:gd name="connsiteX3446" fmla="*/ 389603 w 5794893"/>
              <a:gd name="connsiteY3446" fmla="*/ 2026726 h 6858000"/>
              <a:gd name="connsiteX3447" fmla="*/ 444910 w 5794893"/>
              <a:gd name="connsiteY3447" fmla="*/ 2011978 h 6858000"/>
              <a:gd name="connsiteX3448" fmla="*/ 415413 w 5794893"/>
              <a:gd name="connsiteY3448" fmla="*/ 1873098 h 6858000"/>
              <a:gd name="connsiteX3449" fmla="*/ 651388 w 5794893"/>
              <a:gd name="connsiteY3449" fmla="*/ 1873098 h 6858000"/>
              <a:gd name="connsiteX3450" fmla="*/ 599769 w 5794893"/>
              <a:gd name="connsiteY3450" fmla="*/ 1897679 h 6858000"/>
              <a:gd name="connsiteX3451" fmla="*/ 648930 w 5794893"/>
              <a:gd name="connsiteY3451" fmla="*/ 2026726 h 6858000"/>
              <a:gd name="connsiteX3452" fmla="*/ 699320 w 5794893"/>
              <a:gd name="connsiteY3452" fmla="*/ 2002146 h 6858000"/>
              <a:gd name="connsiteX3453" fmla="*/ 651388 w 5794893"/>
              <a:gd name="connsiteY3453" fmla="*/ 1873098 h 6858000"/>
              <a:gd name="connsiteX3454" fmla="*/ 1359311 w 5794893"/>
              <a:gd name="connsiteY3454" fmla="*/ 1873098 h 6858000"/>
              <a:gd name="connsiteX3455" fmla="*/ 1319982 w 5794893"/>
              <a:gd name="connsiteY3455" fmla="*/ 1928404 h 6858000"/>
              <a:gd name="connsiteX3456" fmla="*/ 1426908 w 5794893"/>
              <a:gd name="connsiteY3456" fmla="*/ 2026726 h 6858000"/>
              <a:gd name="connsiteX3457" fmla="*/ 1466237 w 5794893"/>
              <a:gd name="connsiteY3457" fmla="*/ 1972649 h 6858000"/>
              <a:gd name="connsiteX3458" fmla="*/ 1359311 w 5794893"/>
              <a:gd name="connsiteY3458" fmla="*/ 1873098 h 6858000"/>
              <a:gd name="connsiteX3459" fmla="*/ 1476069 w 5794893"/>
              <a:gd name="connsiteY3459" fmla="*/ 1874326 h 6858000"/>
              <a:gd name="connsiteX3460" fmla="*/ 1439198 w 5794893"/>
              <a:gd name="connsiteY3460" fmla="*/ 1933320 h 6858000"/>
              <a:gd name="connsiteX3461" fmla="*/ 1555957 w 5794893"/>
              <a:gd name="connsiteY3461" fmla="*/ 2026726 h 6858000"/>
              <a:gd name="connsiteX3462" fmla="*/ 1592828 w 5794893"/>
              <a:gd name="connsiteY3462" fmla="*/ 1967733 h 6858000"/>
              <a:gd name="connsiteX3463" fmla="*/ 1476069 w 5794893"/>
              <a:gd name="connsiteY3463" fmla="*/ 1874326 h 6858000"/>
              <a:gd name="connsiteX3464" fmla="*/ 769375 w 5794893"/>
              <a:gd name="connsiteY3464" fmla="*/ 1874326 h 6858000"/>
              <a:gd name="connsiteX3465" fmla="*/ 720214 w 5794893"/>
              <a:gd name="connsiteY3465" fmla="*/ 1903823 h 6858000"/>
              <a:gd name="connsiteX3466" fmla="*/ 777978 w 5794893"/>
              <a:gd name="connsiteY3466" fmla="*/ 2027956 h 6858000"/>
              <a:gd name="connsiteX3467" fmla="*/ 827139 w 5794893"/>
              <a:gd name="connsiteY3467" fmla="*/ 1998459 h 6858000"/>
              <a:gd name="connsiteX3468" fmla="*/ 769375 w 5794893"/>
              <a:gd name="connsiteY3468" fmla="*/ 1874326 h 6858000"/>
              <a:gd name="connsiteX3469" fmla="*/ 887362 w 5794893"/>
              <a:gd name="connsiteY3469" fmla="*/ 1874326 h 6858000"/>
              <a:gd name="connsiteX3470" fmla="*/ 840659 w 5794893"/>
              <a:gd name="connsiteY3470" fmla="*/ 1908739 h 6858000"/>
              <a:gd name="connsiteX3471" fmla="*/ 908255 w 5794893"/>
              <a:gd name="connsiteY3471" fmla="*/ 2026726 h 6858000"/>
              <a:gd name="connsiteX3472" fmla="*/ 954959 w 5794893"/>
              <a:gd name="connsiteY3472" fmla="*/ 1993543 h 6858000"/>
              <a:gd name="connsiteX3473" fmla="*/ 887362 w 5794893"/>
              <a:gd name="connsiteY3473" fmla="*/ 1874326 h 6858000"/>
              <a:gd name="connsiteX3474" fmla="*/ 1005350 w 5794893"/>
              <a:gd name="connsiteY3474" fmla="*/ 1874326 h 6858000"/>
              <a:gd name="connsiteX3475" fmla="*/ 959875 w 5794893"/>
              <a:gd name="connsiteY3475" fmla="*/ 1913655 h 6858000"/>
              <a:gd name="connsiteX3476" fmla="*/ 1037304 w 5794893"/>
              <a:gd name="connsiteY3476" fmla="*/ 2026726 h 6858000"/>
              <a:gd name="connsiteX3477" fmla="*/ 1082778 w 5794893"/>
              <a:gd name="connsiteY3477" fmla="*/ 1987397 h 6858000"/>
              <a:gd name="connsiteX3478" fmla="*/ 1005350 w 5794893"/>
              <a:gd name="connsiteY3478" fmla="*/ 1874326 h 6858000"/>
              <a:gd name="connsiteX3479" fmla="*/ 1123337 w 5794893"/>
              <a:gd name="connsiteY3479" fmla="*/ 1874326 h 6858000"/>
              <a:gd name="connsiteX3480" fmla="*/ 1080320 w 5794893"/>
              <a:gd name="connsiteY3480" fmla="*/ 1918571 h 6858000"/>
              <a:gd name="connsiteX3481" fmla="*/ 1167582 w 5794893"/>
              <a:gd name="connsiteY3481" fmla="*/ 2026726 h 6858000"/>
              <a:gd name="connsiteX3482" fmla="*/ 1210598 w 5794893"/>
              <a:gd name="connsiteY3482" fmla="*/ 1982481 h 6858000"/>
              <a:gd name="connsiteX3483" fmla="*/ 1123337 w 5794893"/>
              <a:gd name="connsiteY3483" fmla="*/ 1874326 h 6858000"/>
              <a:gd name="connsiteX3484" fmla="*/ 1242552 w 5794893"/>
              <a:gd name="connsiteY3484" fmla="*/ 1874326 h 6858000"/>
              <a:gd name="connsiteX3485" fmla="*/ 1200765 w 5794893"/>
              <a:gd name="connsiteY3485" fmla="*/ 1923488 h 6858000"/>
              <a:gd name="connsiteX3486" fmla="*/ 1297860 w 5794893"/>
              <a:gd name="connsiteY3486" fmla="*/ 2026726 h 6858000"/>
              <a:gd name="connsiteX3487" fmla="*/ 1338417 w 5794893"/>
              <a:gd name="connsiteY3487" fmla="*/ 1977565 h 6858000"/>
              <a:gd name="connsiteX3488" fmla="*/ 1242552 w 5794893"/>
              <a:gd name="connsiteY3488" fmla="*/ 1874326 h 6858000"/>
              <a:gd name="connsiteX3489" fmla="*/ 532171 w 5794893"/>
              <a:gd name="connsiteY3489" fmla="*/ 1874326 h 6858000"/>
              <a:gd name="connsiteX3490" fmla="*/ 479323 w 5794893"/>
              <a:gd name="connsiteY3490" fmla="*/ 1893991 h 6858000"/>
              <a:gd name="connsiteX3491" fmla="*/ 518652 w 5794893"/>
              <a:gd name="connsiteY3491" fmla="*/ 2026726 h 6858000"/>
              <a:gd name="connsiteX3492" fmla="*/ 571500 w 5794893"/>
              <a:gd name="connsiteY3492" fmla="*/ 2008292 h 6858000"/>
              <a:gd name="connsiteX3493" fmla="*/ 532171 w 5794893"/>
              <a:gd name="connsiteY3493" fmla="*/ 1874326 h 6858000"/>
              <a:gd name="connsiteX3494" fmla="*/ 296197 w 5794893"/>
              <a:gd name="connsiteY3494" fmla="*/ 1874326 h 6858000"/>
              <a:gd name="connsiteX3495" fmla="*/ 239661 w 5794893"/>
              <a:gd name="connsiteY3495" fmla="*/ 1884159 h 6858000"/>
              <a:gd name="connsiteX3496" fmla="*/ 259326 w 5794893"/>
              <a:gd name="connsiteY3496" fmla="*/ 2027956 h 6858000"/>
              <a:gd name="connsiteX3497" fmla="*/ 315861 w 5794893"/>
              <a:gd name="connsiteY3497" fmla="*/ 2018124 h 6858000"/>
              <a:gd name="connsiteX3498" fmla="*/ 296197 w 5794893"/>
              <a:gd name="connsiteY3498" fmla="*/ 1874326 h 6858000"/>
              <a:gd name="connsiteX3499" fmla="*/ 1242552 w 5794893"/>
              <a:gd name="connsiteY3499" fmla="*/ 2062369 h 6858000"/>
              <a:gd name="connsiteX3500" fmla="*/ 1200765 w 5794893"/>
              <a:gd name="connsiteY3500" fmla="*/ 2112759 h 6858000"/>
              <a:gd name="connsiteX3501" fmla="*/ 1297860 w 5794893"/>
              <a:gd name="connsiteY3501" fmla="*/ 2217227 h 6858000"/>
              <a:gd name="connsiteX3502" fmla="*/ 1338417 w 5794893"/>
              <a:gd name="connsiteY3502" fmla="*/ 2168066 h 6858000"/>
              <a:gd name="connsiteX3503" fmla="*/ 1242552 w 5794893"/>
              <a:gd name="connsiteY3503" fmla="*/ 2062369 h 6858000"/>
              <a:gd name="connsiteX3504" fmla="*/ 1476069 w 5794893"/>
              <a:gd name="connsiteY3504" fmla="*/ 2063597 h 6858000"/>
              <a:gd name="connsiteX3505" fmla="*/ 1439198 w 5794893"/>
              <a:gd name="connsiteY3505" fmla="*/ 2122591 h 6858000"/>
              <a:gd name="connsiteX3506" fmla="*/ 1555957 w 5794893"/>
              <a:gd name="connsiteY3506" fmla="*/ 2217227 h 6858000"/>
              <a:gd name="connsiteX3507" fmla="*/ 1592828 w 5794893"/>
              <a:gd name="connsiteY3507" fmla="*/ 2158234 h 6858000"/>
              <a:gd name="connsiteX3508" fmla="*/ 1476069 w 5794893"/>
              <a:gd name="connsiteY3508" fmla="*/ 2063597 h 6858000"/>
              <a:gd name="connsiteX3509" fmla="*/ 1359311 w 5794893"/>
              <a:gd name="connsiteY3509" fmla="*/ 2064827 h 6858000"/>
              <a:gd name="connsiteX3510" fmla="*/ 1319982 w 5794893"/>
              <a:gd name="connsiteY3510" fmla="*/ 2118905 h 6858000"/>
              <a:gd name="connsiteX3511" fmla="*/ 1426908 w 5794893"/>
              <a:gd name="connsiteY3511" fmla="*/ 2217227 h 6858000"/>
              <a:gd name="connsiteX3512" fmla="*/ 1466237 w 5794893"/>
              <a:gd name="connsiteY3512" fmla="*/ 2163150 h 6858000"/>
              <a:gd name="connsiteX3513" fmla="*/ 1359311 w 5794893"/>
              <a:gd name="connsiteY3513" fmla="*/ 2064827 h 6858000"/>
              <a:gd name="connsiteX3514" fmla="*/ 178209 w 5794893"/>
              <a:gd name="connsiteY3514" fmla="*/ 2063597 h 6858000"/>
              <a:gd name="connsiteX3515" fmla="*/ 119216 w 5794893"/>
              <a:gd name="connsiteY3515" fmla="*/ 2068514 h 6858000"/>
              <a:gd name="connsiteX3516" fmla="*/ 129048 w 5794893"/>
              <a:gd name="connsiteY3516" fmla="*/ 2217227 h 6858000"/>
              <a:gd name="connsiteX3517" fmla="*/ 188042 w 5794893"/>
              <a:gd name="connsiteY3517" fmla="*/ 2212311 h 6858000"/>
              <a:gd name="connsiteX3518" fmla="*/ 178209 w 5794893"/>
              <a:gd name="connsiteY3518" fmla="*/ 2063597 h 6858000"/>
              <a:gd name="connsiteX3519" fmla="*/ 296197 w 5794893"/>
              <a:gd name="connsiteY3519" fmla="*/ 2063597 h 6858000"/>
              <a:gd name="connsiteX3520" fmla="*/ 239661 w 5794893"/>
              <a:gd name="connsiteY3520" fmla="*/ 2073430 h 6858000"/>
              <a:gd name="connsiteX3521" fmla="*/ 259326 w 5794893"/>
              <a:gd name="connsiteY3521" fmla="*/ 2217227 h 6858000"/>
              <a:gd name="connsiteX3522" fmla="*/ 315861 w 5794893"/>
              <a:gd name="connsiteY3522" fmla="*/ 2207395 h 6858000"/>
              <a:gd name="connsiteX3523" fmla="*/ 296197 w 5794893"/>
              <a:gd name="connsiteY3523" fmla="*/ 2063597 h 6858000"/>
              <a:gd name="connsiteX3524" fmla="*/ 532171 w 5794893"/>
              <a:gd name="connsiteY3524" fmla="*/ 2063597 h 6858000"/>
              <a:gd name="connsiteX3525" fmla="*/ 479323 w 5794893"/>
              <a:gd name="connsiteY3525" fmla="*/ 2084492 h 6858000"/>
              <a:gd name="connsiteX3526" fmla="*/ 518652 w 5794893"/>
              <a:gd name="connsiteY3526" fmla="*/ 2217227 h 6858000"/>
              <a:gd name="connsiteX3527" fmla="*/ 571500 w 5794893"/>
              <a:gd name="connsiteY3527" fmla="*/ 2197563 h 6858000"/>
              <a:gd name="connsiteX3528" fmla="*/ 532171 w 5794893"/>
              <a:gd name="connsiteY3528" fmla="*/ 2063597 h 6858000"/>
              <a:gd name="connsiteX3529" fmla="*/ 651388 w 5794893"/>
              <a:gd name="connsiteY3529" fmla="*/ 2063597 h 6858000"/>
              <a:gd name="connsiteX3530" fmla="*/ 599769 w 5794893"/>
              <a:gd name="connsiteY3530" fmla="*/ 2089408 h 6858000"/>
              <a:gd name="connsiteX3531" fmla="*/ 648930 w 5794893"/>
              <a:gd name="connsiteY3531" fmla="*/ 2217227 h 6858000"/>
              <a:gd name="connsiteX3532" fmla="*/ 699320 w 5794893"/>
              <a:gd name="connsiteY3532" fmla="*/ 2192647 h 6858000"/>
              <a:gd name="connsiteX3533" fmla="*/ 651388 w 5794893"/>
              <a:gd name="connsiteY3533" fmla="*/ 2063597 h 6858000"/>
              <a:gd name="connsiteX3534" fmla="*/ 769375 w 5794893"/>
              <a:gd name="connsiteY3534" fmla="*/ 2063597 h 6858000"/>
              <a:gd name="connsiteX3535" fmla="*/ 720214 w 5794893"/>
              <a:gd name="connsiteY3535" fmla="*/ 2094324 h 6858000"/>
              <a:gd name="connsiteX3536" fmla="*/ 777978 w 5794893"/>
              <a:gd name="connsiteY3536" fmla="*/ 2217227 h 6858000"/>
              <a:gd name="connsiteX3537" fmla="*/ 827139 w 5794893"/>
              <a:gd name="connsiteY3537" fmla="*/ 2187731 h 6858000"/>
              <a:gd name="connsiteX3538" fmla="*/ 769375 w 5794893"/>
              <a:gd name="connsiteY3538" fmla="*/ 2063597 h 6858000"/>
              <a:gd name="connsiteX3539" fmla="*/ 887362 w 5794893"/>
              <a:gd name="connsiteY3539" fmla="*/ 2063597 h 6858000"/>
              <a:gd name="connsiteX3540" fmla="*/ 840659 w 5794893"/>
              <a:gd name="connsiteY3540" fmla="*/ 2098010 h 6858000"/>
              <a:gd name="connsiteX3541" fmla="*/ 908255 w 5794893"/>
              <a:gd name="connsiteY3541" fmla="*/ 2217227 h 6858000"/>
              <a:gd name="connsiteX3542" fmla="*/ 954959 w 5794893"/>
              <a:gd name="connsiteY3542" fmla="*/ 2182814 h 6858000"/>
              <a:gd name="connsiteX3543" fmla="*/ 887362 w 5794893"/>
              <a:gd name="connsiteY3543" fmla="*/ 2063597 h 6858000"/>
              <a:gd name="connsiteX3544" fmla="*/ 1005350 w 5794893"/>
              <a:gd name="connsiteY3544" fmla="*/ 2063597 h 6858000"/>
              <a:gd name="connsiteX3545" fmla="*/ 959875 w 5794893"/>
              <a:gd name="connsiteY3545" fmla="*/ 2101698 h 6858000"/>
              <a:gd name="connsiteX3546" fmla="*/ 1037304 w 5794893"/>
              <a:gd name="connsiteY3546" fmla="*/ 2215998 h 6858000"/>
              <a:gd name="connsiteX3547" fmla="*/ 1082778 w 5794893"/>
              <a:gd name="connsiteY3547" fmla="*/ 2176669 h 6858000"/>
              <a:gd name="connsiteX3548" fmla="*/ 1005350 w 5794893"/>
              <a:gd name="connsiteY3548" fmla="*/ 2063597 h 6858000"/>
              <a:gd name="connsiteX3549" fmla="*/ 1123337 w 5794893"/>
              <a:gd name="connsiteY3549" fmla="*/ 2063597 h 6858000"/>
              <a:gd name="connsiteX3550" fmla="*/ 1080320 w 5794893"/>
              <a:gd name="connsiteY3550" fmla="*/ 2109072 h 6858000"/>
              <a:gd name="connsiteX3551" fmla="*/ 1167582 w 5794893"/>
              <a:gd name="connsiteY3551" fmla="*/ 2217227 h 6858000"/>
              <a:gd name="connsiteX3552" fmla="*/ 1210598 w 5794893"/>
              <a:gd name="connsiteY3552" fmla="*/ 2172982 h 6858000"/>
              <a:gd name="connsiteX3553" fmla="*/ 1123337 w 5794893"/>
              <a:gd name="connsiteY3553" fmla="*/ 2063597 h 6858000"/>
              <a:gd name="connsiteX3554" fmla="*/ 415413 w 5794893"/>
              <a:gd name="connsiteY3554" fmla="*/ 2064827 h 6858000"/>
              <a:gd name="connsiteX3555" fmla="*/ 360106 w 5794893"/>
              <a:gd name="connsiteY3555" fmla="*/ 2079576 h 6858000"/>
              <a:gd name="connsiteX3556" fmla="*/ 389603 w 5794893"/>
              <a:gd name="connsiteY3556" fmla="*/ 2217227 h 6858000"/>
              <a:gd name="connsiteX3557" fmla="*/ 444910 w 5794893"/>
              <a:gd name="connsiteY3557" fmla="*/ 2203707 h 6858000"/>
              <a:gd name="connsiteX3558" fmla="*/ 415413 w 5794893"/>
              <a:gd name="connsiteY3558" fmla="*/ 2064827 h 6858000"/>
              <a:gd name="connsiteX3559" fmla="*/ 178209 w 5794893"/>
              <a:gd name="connsiteY3559" fmla="*/ 2252869 h 6858000"/>
              <a:gd name="connsiteX3560" fmla="*/ 119216 w 5794893"/>
              <a:gd name="connsiteY3560" fmla="*/ 2257785 h 6858000"/>
              <a:gd name="connsiteX3561" fmla="*/ 129048 w 5794893"/>
              <a:gd name="connsiteY3561" fmla="*/ 2406498 h 6858000"/>
              <a:gd name="connsiteX3562" fmla="*/ 188042 w 5794893"/>
              <a:gd name="connsiteY3562" fmla="*/ 2400353 h 6858000"/>
              <a:gd name="connsiteX3563" fmla="*/ 178209 w 5794893"/>
              <a:gd name="connsiteY3563" fmla="*/ 2252869 h 6858000"/>
              <a:gd name="connsiteX3564" fmla="*/ 415413 w 5794893"/>
              <a:gd name="connsiteY3564" fmla="*/ 2252869 h 6858000"/>
              <a:gd name="connsiteX3565" fmla="*/ 360106 w 5794893"/>
              <a:gd name="connsiteY3565" fmla="*/ 2267617 h 6858000"/>
              <a:gd name="connsiteX3566" fmla="*/ 389603 w 5794893"/>
              <a:gd name="connsiteY3566" fmla="*/ 2406498 h 6858000"/>
              <a:gd name="connsiteX3567" fmla="*/ 444910 w 5794893"/>
              <a:gd name="connsiteY3567" fmla="*/ 2390520 h 6858000"/>
              <a:gd name="connsiteX3568" fmla="*/ 415413 w 5794893"/>
              <a:gd name="connsiteY3568" fmla="*/ 2252869 h 6858000"/>
              <a:gd name="connsiteX3569" fmla="*/ 887362 w 5794893"/>
              <a:gd name="connsiteY3569" fmla="*/ 2252869 h 6858000"/>
              <a:gd name="connsiteX3570" fmla="*/ 840659 w 5794893"/>
              <a:gd name="connsiteY3570" fmla="*/ 2287282 h 6858000"/>
              <a:gd name="connsiteX3571" fmla="*/ 908255 w 5794893"/>
              <a:gd name="connsiteY3571" fmla="*/ 2406498 h 6858000"/>
              <a:gd name="connsiteX3572" fmla="*/ 954959 w 5794893"/>
              <a:gd name="connsiteY3572" fmla="*/ 2370856 h 6858000"/>
              <a:gd name="connsiteX3573" fmla="*/ 887362 w 5794893"/>
              <a:gd name="connsiteY3573" fmla="*/ 2252869 h 6858000"/>
              <a:gd name="connsiteX3574" fmla="*/ 1240094 w 5794893"/>
              <a:gd name="connsiteY3574" fmla="*/ 2252869 h 6858000"/>
              <a:gd name="connsiteX3575" fmla="*/ 1199537 w 5794893"/>
              <a:gd name="connsiteY3575" fmla="*/ 2302030 h 6858000"/>
              <a:gd name="connsiteX3576" fmla="*/ 1296630 w 5794893"/>
              <a:gd name="connsiteY3576" fmla="*/ 2406498 h 6858000"/>
              <a:gd name="connsiteX3577" fmla="*/ 1338417 w 5794893"/>
              <a:gd name="connsiteY3577" fmla="*/ 2357337 h 6858000"/>
              <a:gd name="connsiteX3578" fmla="*/ 1240094 w 5794893"/>
              <a:gd name="connsiteY3578" fmla="*/ 2252869 h 6858000"/>
              <a:gd name="connsiteX3579" fmla="*/ 1359311 w 5794893"/>
              <a:gd name="connsiteY3579" fmla="*/ 2254098 h 6858000"/>
              <a:gd name="connsiteX3580" fmla="*/ 1319982 w 5794893"/>
              <a:gd name="connsiteY3580" fmla="*/ 2308176 h 6858000"/>
              <a:gd name="connsiteX3581" fmla="*/ 1426908 w 5794893"/>
              <a:gd name="connsiteY3581" fmla="*/ 2407727 h 6858000"/>
              <a:gd name="connsiteX3582" fmla="*/ 1466237 w 5794893"/>
              <a:gd name="connsiteY3582" fmla="*/ 2352421 h 6858000"/>
              <a:gd name="connsiteX3583" fmla="*/ 1359311 w 5794893"/>
              <a:gd name="connsiteY3583" fmla="*/ 2254098 h 6858000"/>
              <a:gd name="connsiteX3584" fmla="*/ 1005350 w 5794893"/>
              <a:gd name="connsiteY3584" fmla="*/ 2254098 h 6858000"/>
              <a:gd name="connsiteX3585" fmla="*/ 959875 w 5794893"/>
              <a:gd name="connsiteY3585" fmla="*/ 2293427 h 6858000"/>
              <a:gd name="connsiteX3586" fmla="*/ 1037304 w 5794893"/>
              <a:gd name="connsiteY3586" fmla="*/ 2406498 h 6858000"/>
              <a:gd name="connsiteX3587" fmla="*/ 1082778 w 5794893"/>
              <a:gd name="connsiteY3587" fmla="*/ 2367169 h 6858000"/>
              <a:gd name="connsiteX3588" fmla="*/ 1005350 w 5794893"/>
              <a:gd name="connsiteY3588" fmla="*/ 2254098 h 6858000"/>
              <a:gd name="connsiteX3589" fmla="*/ 1123337 w 5794893"/>
              <a:gd name="connsiteY3589" fmla="*/ 2254098 h 6858000"/>
              <a:gd name="connsiteX3590" fmla="*/ 1080320 w 5794893"/>
              <a:gd name="connsiteY3590" fmla="*/ 2298344 h 6858000"/>
              <a:gd name="connsiteX3591" fmla="*/ 1167582 w 5794893"/>
              <a:gd name="connsiteY3591" fmla="*/ 2406498 h 6858000"/>
              <a:gd name="connsiteX3592" fmla="*/ 1210598 w 5794893"/>
              <a:gd name="connsiteY3592" fmla="*/ 2362253 h 6858000"/>
              <a:gd name="connsiteX3593" fmla="*/ 1123337 w 5794893"/>
              <a:gd name="connsiteY3593" fmla="*/ 2254098 h 6858000"/>
              <a:gd name="connsiteX3594" fmla="*/ 532171 w 5794893"/>
              <a:gd name="connsiteY3594" fmla="*/ 2254098 h 6858000"/>
              <a:gd name="connsiteX3595" fmla="*/ 479323 w 5794893"/>
              <a:gd name="connsiteY3595" fmla="*/ 2273763 h 6858000"/>
              <a:gd name="connsiteX3596" fmla="*/ 518652 w 5794893"/>
              <a:gd name="connsiteY3596" fmla="*/ 2406498 h 6858000"/>
              <a:gd name="connsiteX3597" fmla="*/ 571500 w 5794893"/>
              <a:gd name="connsiteY3597" fmla="*/ 2386834 h 6858000"/>
              <a:gd name="connsiteX3598" fmla="*/ 532171 w 5794893"/>
              <a:gd name="connsiteY3598" fmla="*/ 2254098 h 6858000"/>
              <a:gd name="connsiteX3599" fmla="*/ 651388 w 5794893"/>
              <a:gd name="connsiteY3599" fmla="*/ 2254098 h 6858000"/>
              <a:gd name="connsiteX3600" fmla="*/ 599769 w 5794893"/>
              <a:gd name="connsiteY3600" fmla="*/ 2277449 h 6858000"/>
              <a:gd name="connsiteX3601" fmla="*/ 648930 w 5794893"/>
              <a:gd name="connsiteY3601" fmla="*/ 2406498 h 6858000"/>
              <a:gd name="connsiteX3602" fmla="*/ 699320 w 5794893"/>
              <a:gd name="connsiteY3602" fmla="*/ 2381918 h 6858000"/>
              <a:gd name="connsiteX3603" fmla="*/ 651388 w 5794893"/>
              <a:gd name="connsiteY3603" fmla="*/ 2254098 h 6858000"/>
              <a:gd name="connsiteX3604" fmla="*/ 768145 w 5794893"/>
              <a:gd name="connsiteY3604" fmla="*/ 2254098 h 6858000"/>
              <a:gd name="connsiteX3605" fmla="*/ 720214 w 5794893"/>
              <a:gd name="connsiteY3605" fmla="*/ 2282365 h 6858000"/>
              <a:gd name="connsiteX3606" fmla="*/ 777978 w 5794893"/>
              <a:gd name="connsiteY3606" fmla="*/ 2406498 h 6858000"/>
              <a:gd name="connsiteX3607" fmla="*/ 827139 w 5794893"/>
              <a:gd name="connsiteY3607" fmla="*/ 2377002 h 6858000"/>
              <a:gd name="connsiteX3608" fmla="*/ 768145 w 5794893"/>
              <a:gd name="connsiteY3608" fmla="*/ 2254098 h 6858000"/>
              <a:gd name="connsiteX3609" fmla="*/ 296197 w 5794893"/>
              <a:gd name="connsiteY3609" fmla="*/ 2254098 h 6858000"/>
              <a:gd name="connsiteX3610" fmla="*/ 239661 w 5794893"/>
              <a:gd name="connsiteY3610" fmla="*/ 2262701 h 6858000"/>
              <a:gd name="connsiteX3611" fmla="*/ 259326 w 5794893"/>
              <a:gd name="connsiteY3611" fmla="*/ 2406498 h 6858000"/>
              <a:gd name="connsiteX3612" fmla="*/ 315861 w 5794893"/>
              <a:gd name="connsiteY3612" fmla="*/ 2396666 h 6858000"/>
              <a:gd name="connsiteX3613" fmla="*/ 296197 w 5794893"/>
              <a:gd name="connsiteY3613" fmla="*/ 2254098 h 6858000"/>
              <a:gd name="connsiteX3614" fmla="*/ 651388 w 5794893"/>
              <a:gd name="connsiteY3614" fmla="*/ 2447056 h 6858000"/>
              <a:gd name="connsiteX3615" fmla="*/ 599769 w 5794893"/>
              <a:gd name="connsiteY3615" fmla="*/ 2471637 h 6858000"/>
              <a:gd name="connsiteX3616" fmla="*/ 648930 w 5794893"/>
              <a:gd name="connsiteY3616" fmla="*/ 2600686 h 6858000"/>
              <a:gd name="connsiteX3617" fmla="*/ 699320 w 5794893"/>
              <a:gd name="connsiteY3617" fmla="*/ 2574875 h 6858000"/>
              <a:gd name="connsiteX3618" fmla="*/ 651388 w 5794893"/>
              <a:gd name="connsiteY3618" fmla="*/ 2447056 h 6858000"/>
              <a:gd name="connsiteX3619" fmla="*/ 887362 w 5794893"/>
              <a:gd name="connsiteY3619" fmla="*/ 2447056 h 6858000"/>
              <a:gd name="connsiteX3620" fmla="*/ 840659 w 5794893"/>
              <a:gd name="connsiteY3620" fmla="*/ 2481469 h 6858000"/>
              <a:gd name="connsiteX3621" fmla="*/ 908255 w 5794893"/>
              <a:gd name="connsiteY3621" fmla="*/ 2600686 h 6858000"/>
              <a:gd name="connsiteX3622" fmla="*/ 954959 w 5794893"/>
              <a:gd name="connsiteY3622" fmla="*/ 2566273 h 6858000"/>
              <a:gd name="connsiteX3623" fmla="*/ 887362 w 5794893"/>
              <a:gd name="connsiteY3623" fmla="*/ 2447056 h 6858000"/>
              <a:gd name="connsiteX3624" fmla="*/ 1123337 w 5794893"/>
              <a:gd name="connsiteY3624" fmla="*/ 2447056 h 6858000"/>
              <a:gd name="connsiteX3625" fmla="*/ 1080320 w 5794893"/>
              <a:gd name="connsiteY3625" fmla="*/ 2491301 h 6858000"/>
              <a:gd name="connsiteX3626" fmla="*/ 1167582 w 5794893"/>
              <a:gd name="connsiteY3626" fmla="*/ 2600686 h 6858000"/>
              <a:gd name="connsiteX3627" fmla="*/ 1210598 w 5794893"/>
              <a:gd name="connsiteY3627" fmla="*/ 2556441 h 6858000"/>
              <a:gd name="connsiteX3628" fmla="*/ 1123337 w 5794893"/>
              <a:gd name="connsiteY3628" fmla="*/ 2447056 h 6858000"/>
              <a:gd name="connsiteX3629" fmla="*/ 1242552 w 5794893"/>
              <a:gd name="connsiteY3629" fmla="*/ 2447056 h 6858000"/>
              <a:gd name="connsiteX3630" fmla="*/ 1200765 w 5794893"/>
              <a:gd name="connsiteY3630" fmla="*/ 2496217 h 6858000"/>
              <a:gd name="connsiteX3631" fmla="*/ 1297860 w 5794893"/>
              <a:gd name="connsiteY3631" fmla="*/ 2600686 h 6858000"/>
              <a:gd name="connsiteX3632" fmla="*/ 1338417 w 5794893"/>
              <a:gd name="connsiteY3632" fmla="*/ 2551524 h 6858000"/>
              <a:gd name="connsiteX3633" fmla="*/ 1242552 w 5794893"/>
              <a:gd name="connsiteY3633" fmla="*/ 2447056 h 6858000"/>
              <a:gd name="connsiteX3634" fmla="*/ 1359311 w 5794893"/>
              <a:gd name="connsiteY3634" fmla="*/ 2448286 h 6858000"/>
              <a:gd name="connsiteX3635" fmla="*/ 1319982 w 5794893"/>
              <a:gd name="connsiteY3635" fmla="*/ 2502363 h 6858000"/>
              <a:gd name="connsiteX3636" fmla="*/ 1426908 w 5794893"/>
              <a:gd name="connsiteY3636" fmla="*/ 2600686 h 6858000"/>
              <a:gd name="connsiteX3637" fmla="*/ 1466237 w 5794893"/>
              <a:gd name="connsiteY3637" fmla="*/ 2546608 h 6858000"/>
              <a:gd name="connsiteX3638" fmla="*/ 1359311 w 5794893"/>
              <a:gd name="connsiteY3638" fmla="*/ 2448286 h 6858000"/>
              <a:gd name="connsiteX3639" fmla="*/ 1005350 w 5794893"/>
              <a:gd name="connsiteY3639" fmla="*/ 2448286 h 6858000"/>
              <a:gd name="connsiteX3640" fmla="*/ 959875 w 5794893"/>
              <a:gd name="connsiteY3640" fmla="*/ 2487615 h 6858000"/>
              <a:gd name="connsiteX3641" fmla="*/ 1037304 w 5794893"/>
              <a:gd name="connsiteY3641" fmla="*/ 2600686 h 6858000"/>
              <a:gd name="connsiteX3642" fmla="*/ 1082778 w 5794893"/>
              <a:gd name="connsiteY3642" fmla="*/ 2561357 h 6858000"/>
              <a:gd name="connsiteX3643" fmla="*/ 1005350 w 5794893"/>
              <a:gd name="connsiteY3643" fmla="*/ 2448286 h 6858000"/>
              <a:gd name="connsiteX3644" fmla="*/ 769375 w 5794893"/>
              <a:gd name="connsiteY3644" fmla="*/ 2448286 h 6858000"/>
              <a:gd name="connsiteX3645" fmla="*/ 720214 w 5794893"/>
              <a:gd name="connsiteY3645" fmla="*/ 2477782 h 6858000"/>
              <a:gd name="connsiteX3646" fmla="*/ 777978 w 5794893"/>
              <a:gd name="connsiteY3646" fmla="*/ 2601914 h 6858000"/>
              <a:gd name="connsiteX3647" fmla="*/ 827139 w 5794893"/>
              <a:gd name="connsiteY3647" fmla="*/ 2572417 h 6858000"/>
              <a:gd name="connsiteX3648" fmla="*/ 769375 w 5794893"/>
              <a:gd name="connsiteY3648" fmla="*/ 2448286 h 6858000"/>
              <a:gd name="connsiteX3649" fmla="*/ 178209 w 5794893"/>
              <a:gd name="connsiteY3649" fmla="*/ 2448286 h 6858000"/>
              <a:gd name="connsiteX3650" fmla="*/ 119216 w 5794893"/>
              <a:gd name="connsiteY3650" fmla="*/ 2453202 h 6858000"/>
              <a:gd name="connsiteX3651" fmla="*/ 129048 w 5794893"/>
              <a:gd name="connsiteY3651" fmla="*/ 2601914 h 6858000"/>
              <a:gd name="connsiteX3652" fmla="*/ 188042 w 5794893"/>
              <a:gd name="connsiteY3652" fmla="*/ 2596998 h 6858000"/>
              <a:gd name="connsiteX3653" fmla="*/ 178209 w 5794893"/>
              <a:gd name="connsiteY3653" fmla="*/ 2448286 h 6858000"/>
              <a:gd name="connsiteX3654" fmla="*/ 297426 w 5794893"/>
              <a:gd name="connsiteY3654" fmla="*/ 2448286 h 6858000"/>
              <a:gd name="connsiteX3655" fmla="*/ 240891 w 5794893"/>
              <a:gd name="connsiteY3655" fmla="*/ 2458118 h 6858000"/>
              <a:gd name="connsiteX3656" fmla="*/ 260555 w 5794893"/>
              <a:gd name="connsiteY3656" fmla="*/ 2601914 h 6858000"/>
              <a:gd name="connsiteX3657" fmla="*/ 317091 w 5794893"/>
              <a:gd name="connsiteY3657" fmla="*/ 2592082 h 6858000"/>
              <a:gd name="connsiteX3658" fmla="*/ 297426 w 5794893"/>
              <a:gd name="connsiteY3658" fmla="*/ 2448286 h 6858000"/>
              <a:gd name="connsiteX3659" fmla="*/ 415413 w 5794893"/>
              <a:gd name="connsiteY3659" fmla="*/ 2448286 h 6858000"/>
              <a:gd name="connsiteX3660" fmla="*/ 360106 w 5794893"/>
              <a:gd name="connsiteY3660" fmla="*/ 2463034 h 6858000"/>
              <a:gd name="connsiteX3661" fmla="*/ 389603 w 5794893"/>
              <a:gd name="connsiteY3661" fmla="*/ 2601914 h 6858000"/>
              <a:gd name="connsiteX3662" fmla="*/ 444910 w 5794893"/>
              <a:gd name="connsiteY3662" fmla="*/ 2587166 h 6858000"/>
              <a:gd name="connsiteX3663" fmla="*/ 415413 w 5794893"/>
              <a:gd name="connsiteY3663" fmla="*/ 2448286 h 6858000"/>
              <a:gd name="connsiteX3664" fmla="*/ 532171 w 5794893"/>
              <a:gd name="connsiteY3664" fmla="*/ 2448286 h 6858000"/>
              <a:gd name="connsiteX3665" fmla="*/ 479323 w 5794893"/>
              <a:gd name="connsiteY3665" fmla="*/ 2467950 h 6858000"/>
              <a:gd name="connsiteX3666" fmla="*/ 518652 w 5794893"/>
              <a:gd name="connsiteY3666" fmla="*/ 2601914 h 6858000"/>
              <a:gd name="connsiteX3667" fmla="*/ 571500 w 5794893"/>
              <a:gd name="connsiteY3667" fmla="*/ 2582250 h 6858000"/>
              <a:gd name="connsiteX3668" fmla="*/ 532171 w 5794893"/>
              <a:gd name="connsiteY3668" fmla="*/ 2448286 h 6858000"/>
              <a:gd name="connsiteX3669" fmla="*/ 415413 w 5794893"/>
              <a:gd name="connsiteY3669" fmla="*/ 2641243 h 6858000"/>
              <a:gd name="connsiteX3670" fmla="*/ 360106 w 5794893"/>
              <a:gd name="connsiteY3670" fmla="*/ 2655992 h 6858000"/>
              <a:gd name="connsiteX3671" fmla="*/ 389603 w 5794893"/>
              <a:gd name="connsiteY3671" fmla="*/ 2794873 h 6858000"/>
              <a:gd name="connsiteX3672" fmla="*/ 444910 w 5794893"/>
              <a:gd name="connsiteY3672" fmla="*/ 2780125 h 6858000"/>
              <a:gd name="connsiteX3673" fmla="*/ 415413 w 5794893"/>
              <a:gd name="connsiteY3673" fmla="*/ 2641243 h 6858000"/>
              <a:gd name="connsiteX3674" fmla="*/ 651388 w 5794893"/>
              <a:gd name="connsiteY3674" fmla="*/ 2641243 h 6858000"/>
              <a:gd name="connsiteX3675" fmla="*/ 599769 w 5794893"/>
              <a:gd name="connsiteY3675" fmla="*/ 2665824 h 6858000"/>
              <a:gd name="connsiteX3676" fmla="*/ 648930 w 5794893"/>
              <a:gd name="connsiteY3676" fmla="*/ 2794873 h 6858000"/>
              <a:gd name="connsiteX3677" fmla="*/ 699320 w 5794893"/>
              <a:gd name="connsiteY3677" fmla="*/ 2769063 h 6858000"/>
              <a:gd name="connsiteX3678" fmla="*/ 651388 w 5794893"/>
              <a:gd name="connsiteY3678" fmla="*/ 2641243 h 6858000"/>
              <a:gd name="connsiteX3679" fmla="*/ 769375 w 5794893"/>
              <a:gd name="connsiteY3679" fmla="*/ 2642473 h 6858000"/>
              <a:gd name="connsiteX3680" fmla="*/ 720214 w 5794893"/>
              <a:gd name="connsiteY3680" fmla="*/ 2671970 h 6858000"/>
              <a:gd name="connsiteX3681" fmla="*/ 777978 w 5794893"/>
              <a:gd name="connsiteY3681" fmla="*/ 2796101 h 6858000"/>
              <a:gd name="connsiteX3682" fmla="*/ 827139 w 5794893"/>
              <a:gd name="connsiteY3682" fmla="*/ 2766605 h 6858000"/>
              <a:gd name="connsiteX3683" fmla="*/ 769375 w 5794893"/>
              <a:gd name="connsiteY3683" fmla="*/ 2642473 h 6858000"/>
              <a:gd name="connsiteX3684" fmla="*/ 887362 w 5794893"/>
              <a:gd name="connsiteY3684" fmla="*/ 2642473 h 6858000"/>
              <a:gd name="connsiteX3685" fmla="*/ 840659 w 5794893"/>
              <a:gd name="connsiteY3685" fmla="*/ 2676886 h 6858000"/>
              <a:gd name="connsiteX3686" fmla="*/ 908255 w 5794893"/>
              <a:gd name="connsiteY3686" fmla="*/ 2796101 h 6858000"/>
              <a:gd name="connsiteX3687" fmla="*/ 954959 w 5794893"/>
              <a:gd name="connsiteY3687" fmla="*/ 2761689 h 6858000"/>
              <a:gd name="connsiteX3688" fmla="*/ 887362 w 5794893"/>
              <a:gd name="connsiteY3688" fmla="*/ 2642473 h 6858000"/>
              <a:gd name="connsiteX3689" fmla="*/ 1005350 w 5794893"/>
              <a:gd name="connsiteY3689" fmla="*/ 2642473 h 6858000"/>
              <a:gd name="connsiteX3690" fmla="*/ 959875 w 5794893"/>
              <a:gd name="connsiteY3690" fmla="*/ 2681802 h 6858000"/>
              <a:gd name="connsiteX3691" fmla="*/ 1037304 w 5794893"/>
              <a:gd name="connsiteY3691" fmla="*/ 2794873 h 6858000"/>
              <a:gd name="connsiteX3692" fmla="*/ 1082778 w 5794893"/>
              <a:gd name="connsiteY3692" fmla="*/ 2755544 h 6858000"/>
              <a:gd name="connsiteX3693" fmla="*/ 1005350 w 5794893"/>
              <a:gd name="connsiteY3693" fmla="*/ 2642473 h 6858000"/>
              <a:gd name="connsiteX3694" fmla="*/ 1123337 w 5794893"/>
              <a:gd name="connsiteY3694" fmla="*/ 2642473 h 6858000"/>
              <a:gd name="connsiteX3695" fmla="*/ 1080320 w 5794893"/>
              <a:gd name="connsiteY3695" fmla="*/ 2686718 h 6858000"/>
              <a:gd name="connsiteX3696" fmla="*/ 1167582 w 5794893"/>
              <a:gd name="connsiteY3696" fmla="*/ 2796101 h 6858000"/>
              <a:gd name="connsiteX3697" fmla="*/ 1210598 w 5794893"/>
              <a:gd name="connsiteY3697" fmla="*/ 2751856 h 6858000"/>
              <a:gd name="connsiteX3698" fmla="*/ 1123337 w 5794893"/>
              <a:gd name="connsiteY3698" fmla="*/ 2642473 h 6858000"/>
              <a:gd name="connsiteX3699" fmla="*/ 1240094 w 5794893"/>
              <a:gd name="connsiteY3699" fmla="*/ 2642473 h 6858000"/>
              <a:gd name="connsiteX3700" fmla="*/ 1199537 w 5794893"/>
              <a:gd name="connsiteY3700" fmla="*/ 2691634 h 6858000"/>
              <a:gd name="connsiteX3701" fmla="*/ 1296630 w 5794893"/>
              <a:gd name="connsiteY3701" fmla="*/ 2794873 h 6858000"/>
              <a:gd name="connsiteX3702" fmla="*/ 1338417 w 5794893"/>
              <a:gd name="connsiteY3702" fmla="*/ 2745712 h 6858000"/>
              <a:gd name="connsiteX3703" fmla="*/ 1240094 w 5794893"/>
              <a:gd name="connsiteY3703" fmla="*/ 2642473 h 6858000"/>
              <a:gd name="connsiteX3704" fmla="*/ 1359311 w 5794893"/>
              <a:gd name="connsiteY3704" fmla="*/ 2642473 h 6858000"/>
              <a:gd name="connsiteX3705" fmla="*/ 1319982 w 5794893"/>
              <a:gd name="connsiteY3705" fmla="*/ 2696550 h 6858000"/>
              <a:gd name="connsiteX3706" fmla="*/ 1426908 w 5794893"/>
              <a:gd name="connsiteY3706" fmla="*/ 2794873 h 6858000"/>
              <a:gd name="connsiteX3707" fmla="*/ 1466237 w 5794893"/>
              <a:gd name="connsiteY3707" fmla="*/ 2740796 h 6858000"/>
              <a:gd name="connsiteX3708" fmla="*/ 1359311 w 5794893"/>
              <a:gd name="connsiteY3708" fmla="*/ 2642473 h 6858000"/>
              <a:gd name="connsiteX3709" fmla="*/ 532171 w 5794893"/>
              <a:gd name="connsiteY3709" fmla="*/ 2642473 h 6858000"/>
              <a:gd name="connsiteX3710" fmla="*/ 479323 w 5794893"/>
              <a:gd name="connsiteY3710" fmla="*/ 2662137 h 6858000"/>
              <a:gd name="connsiteX3711" fmla="*/ 518652 w 5794893"/>
              <a:gd name="connsiteY3711" fmla="*/ 2796101 h 6858000"/>
              <a:gd name="connsiteX3712" fmla="*/ 571500 w 5794893"/>
              <a:gd name="connsiteY3712" fmla="*/ 2776437 h 6858000"/>
              <a:gd name="connsiteX3713" fmla="*/ 532171 w 5794893"/>
              <a:gd name="connsiteY3713" fmla="*/ 2642473 h 6858000"/>
              <a:gd name="connsiteX3714" fmla="*/ 179439 w 5794893"/>
              <a:gd name="connsiteY3714" fmla="*/ 2642473 h 6858000"/>
              <a:gd name="connsiteX3715" fmla="*/ 120445 w 5794893"/>
              <a:gd name="connsiteY3715" fmla="*/ 2647389 h 6858000"/>
              <a:gd name="connsiteX3716" fmla="*/ 129048 w 5794893"/>
              <a:gd name="connsiteY3716" fmla="*/ 2796101 h 6858000"/>
              <a:gd name="connsiteX3717" fmla="*/ 189271 w 5794893"/>
              <a:gd name="connsiteY3717" fmla="*/ 2791185 h 6858000"/>
              <a:gd name="connsiteX3718" fmla="*/ 179439 w 5794893"/>
              <a:gd name="connsiteY3718" fmla="*/ 2642473 h 6858000"/>
              <a:gd name="connsiteX3719" fmla="*/ 296197 w 5794893"/>
              <a:gd name="connsiteY3719" fmla="*/ 2642473 h 6858000"/>
              <a:gd name="connsiteX3720" fmla="*/ 239661 w 5794893"/>
              <a:gd name="connsiteY3720" fmla="*/ 2652305 h 6858000"/>
              <a:gd name="connsiteX3721" fmla="*/ 259326 w 5794893"/>
              <a:gd name="connsiteY3721" fmla="*/ 2796101 h 6858000"/>
              <a:gd name="connsiteX3722" fmla="*/ 315861 w 5794893"/>
              <a:gd name="connsiteY3722" fmla="*/ 2786269 h 6858000"/>
              <a:gd name="connsiteX3723" fmla="*/ 296197 w 5794893"/>
              <a:gd name="connsiteY3723" fmla="*/ 2642473 h 6858000"/>
              <a:gd name="connsiteX3724" fmla="*/ 178209 w 5794893"/>
              <a:gd name="connsiteY3724" fmla="*/ 2836660 h 6858000"/>
              <a:gd name="connsiteX3725" fmla="*/ 119216 w 5794893"/>
              <a:gd name="connsiteY3725" fmla="*/ 2841576 h 6858000"/>
              <a:gd name="connsiteX3726" fmla="*/ 129048 w 5794893"/>
              <a:gd name="connsiteY3726" fmla="*/ 2990289 h 6858000"/>
              <a:gd name="connsiteX3727" fmla="*/ 188042 w 5794893"/>
              <a:gd name="connsiteY3727" fmla="*/ 2985373 h 6858000"/>
              <a:gd name="connsiteX3728" fmla="*/ 178209 w 5794893"/>
              <a:gd name="connsiteY3728" fmla="*/ 2836660 h 6858000"/>
              <a:gd name="connsiteX3729" fmla="*/ 296197 w 5794893"/>
              <a:gd name="connsiteY3729" fmla="*/ 2836660 h 6858000"/>
              <a:gd name="connsiteX3730" fmla="*/ 239661 w 5794893"/>
              <a:gd name="connsiteY3730" fmla="*/ 2846493 h 6858000"/>
              <a:gd name="connsiteX3731" fmla="*/ 259326 w 5794893"/>
              <a:gd name="connsiteY3731" fmla="*/ 2990289 h 6858000"/>
              <a:gd name="connsiteX3732" fmla="*/ 315861 w 5794893"/>
              <a:gd name="connsiteY3732" fmla="*/ 2980457 h 6858000"/>
              <a:gd name="connsiteX3733" fmla="*/ 296197 w 5794893"/>
              <a:gd name="connsiteY3733" fmla="*/ 2836660 h 6858000"/>
              <a:gd name="connsiteX3734" fmla="*/ 415413 w 5794893"/>
              <a:gd name="connsiteY3734" fmla="*/ 2836660 h 6858000"/>
              <a:gd name="connsiteX3735" fmla="*/ 360106 w 5794893"/>
              <a:gd name="connsiteY3735" fmla="*/ 2851409 h 6858000"/>
              <a:gd name="connsiteX3736" fmla="*/ 389603 w 5794893"/>
              <a:gd name="connsiteY3736" fmla="*/ 2990289 h 6858000"/>
              <a:gd name="connsiteX3737" fmla="*/ 444910 w 5794893"/>
              <a:gd name="connsiteY3737" fmla="*/ 2975540 h 6858000"/>
              <a:gd name="connsiteX3738" fmla="*/ 415413 w 5794893"/>
              <a:gd name="connsiteY3738" fmla="*/ 2836660 h 6858000"/>
              <a:gd name="connsiteX3739" fmla="*/ 532171 w 5794893"/>
              <a:gd name="connsiteY3739" fmla="*/ 2836660 h 6858000"/>
              <a:gd name="connsiteX3740" fmla="*/ 479323 w 5794893"/>
              <a:gd name="connsiteY3740" fmla="*/ 2856325 h 6858000"/>
              <a:gd name="connsiteX3741" fmla="*/ 518652 w 5794893"/>
              <a:gd name="connsiteY3741" fmla="*/ 2990289 h 6858000"/>
              <a:gd name="connsiteX3742" fmla="*/ 571500 w 5794893"/>
              <a:gd name="connsiteY3742" fmla="*/ 2970624 h 6858000"/>
              <a:gd name="connsiteX3743" fmla="*/ 532171 w 5794893"/>
              <a:gd name="connsiteY3743" fmla="*/ 2836660 h 6858000"/>
              <a:gd name="connsiteX3744" fmla="*/ 651388 w 5794893"/>
              <a:gd name="connsiteY3744" fmla="*/ 2836660 h 6858000"/>
              <a:gd name="connsiteX3745" fmla="*/ 599769 w 5794893"/>
              <a:gd name="connsiteY3745" fmla="*/ 2861241 h 6858000"/>
              <a:gd name="connsiteX3746" fmla="*/ 648930 w 5794893"/>
              <a:gd name="connsiteY3746" fmla="*/ 2990289 h 6858000"/>
              <a:gd name="connsiteX3747" fmla="*/ 699320 w 5794893"/>
              <a:gd name="connsiteY3747" fmla="*/ 2964480 h 6858000"/>
              <a:gd name="connsiteX3748" fmla="*/ 651388 w 5794893"/>
              <a:gd name="connsiteY3748" fmla="*/ 2836660 h 6858000"/>
              <a:gd name="connsiteX3749" fmla="*/ 769375 w 5794893"/>
              <a:gd name="connsiteY3749" fmla="*/ 2836660 h 6858000"/>
              <a:gd name="connsiteX3750" fmla="*/ 720214 w 5794893"/>
              <a:gd name="connsiteY3750" fmla="*/ 2864927 h 6858000"/>
              <a:gd name="connsiteX3751" fmla="*/ 777978 w 5794893"/>
              <a:gd name="connsiteY3751" fmla="*/ 2989060 h 6858000"/>
              <a:gd name="connsiteX3752" fmla="*/ 827139 w 5794893"/>
              <a:gd name="connsiteY3752" fmla="*/ 2959564 h 6858000"/>
              <a:gd name="connsiteX3753" fmla="*/ 769375 w 5794893"/>
              <a:gd name="connsiteY3753" fmla="*/ 2836660 h 6858000"/>
              <a:gd name="connsiteX3754" fmla="*/ 887362 w 5794893"/>
              <a:gd name="connsiteY3754" fmla="*/ 2836660 h 6858000"/>
              <a:gd name="connsiteX3755" fmla="*/ 840659 w 5794893"/>
              <a:gd name="connsiteY3755" fmla="*/ 2871073 h 6858000"/>
              <a:gd name="connsiteX3756" fmla="*/ 908255 w 5794893"/>
              <a:gd name="connsiteY3756" fmla="*/ 2990289 h 6858000"/>
              <a:gd name="connsiteX3757" fmla="*/ 954959 w 5794893"/>
              <a:gd name="connsiteY3757" fmla="*/ 2955876 h 6858000"/>
              <a:gd name="connsiteX3758" fmla="*/ 887362 w 5794893"/>
              <a:gd name="connsiteY3758" fmla="*/ 2836660 h 6858000"/>
              <a:gd name="connsiteX3759" fmla="*/ 1005350 w 5794893"/>
              <a:gd name="connsiteY3759" fmla="*/ 2836660 h 6858000"/>
              <a:gd name="connsiteX3760" fmla="*/ 959875 w 5794893"/>
              <a:gd name="connsiteY3760" fmla="*/ 2874760 h 6858000"/>
              <a:gd name="connsiteX3761" fmla="*/ 1037304 w 5794893"/>
              <a:gd name="connsiteY3761" fmla="*/ 2989060 h 6858000"/>
              <a:gd name="connsiteX3762" fmla="*/ 1082778 w 5794893"/>
              <a:gd name="connsiteY3762" fmla="*/ 2949731 h 6858000"/>
              <a:gd name="connsiteX3763" fmla="*/ 1005350 w 5794893"/>
              <a:gd name="connsiteY3763" fmla="*/ 2836660 h 6858000"/>
              <a:gd name="connsiteX3764" fmla="*/ 1240094 w 5794893"/>
              <a:gd name="connsiteY3764" fmla="*/ 2836660 h 6858000"/>
              <a:gd name="connsiteX3765" fmla="*/ 1199537 w 5794893"/>
              <a:gd name="connsiteY3765" fmla="*/ 2885822 h 6858000"/>
              <a:gd name="connsiteX3766" fmla="*/ 1296630 w 5794893"/>
              <a:gd name="connsiteY3766" fmla="*/ 2990289 h 6858000"/>
              <a:gd name="connsiteX3767" fmla="*/ 1338417 w 5794893"/>
              <a:gd name="connsiteY3767" fmla="*/ 2941127 h 6858000"/>
              <a:gd name="connsiteX3768" fmla="*/ 1240094 w 5794893"/>
              <a:gd name="connsiteY3768" fmla="*/ 2836660 h 6858000"/>
              <a:gd name="connsiteX3769" fmla="*/ 1359311 w 5794893"/>
              <a:gd name="connsiteY3769" fmla="*/ 2836660 h 6858000"/>
              <a:gd name="connsiteX3770" fmla="*/ 1319982 w 5794893"/>
              <a:gd name="connsiteY3770" fmla="*/ 2890738 h 6858000"/>
              <a:gd name="connsiteX3771" fmla="*/ 1426908 w 5794893"/>
              <a:gd name="connsiteY3771" fmla="*/ 2989060 h 6858000"/>
              <a:gd name="connsiteX3772" fmla="*/ 1466237 w 5794893"/>
              <a:gd name="connsiteY3772" fmla="*/ 2934983 h 6858000"/>
              <a:gd name="connsiteX3773" fmla="*/ 1359311 w 5794893"/>
              <a:gd name="connsiteY3773" fmla="*/ 2836660 h 6858000"/>
              <a:gd name="connsiteX3774" fmla="*/ 1123337 w 5794893"/>
              <a:gd name="connsiteY3774" fmla="*/ 2837889 h 6858000"/>
              <a:gd name="connsiteX3775" fmla="*/ 1080320 w 5794893"/>
              <a:gd name="connsiteY3775" fmla="*/ 2882134 h 6858000"/>
              <a:gd name="connsiteX3776" fmla="*/ 1167582 w 5794893"/>
              <a:gd name="connsiteY3776" fmla="*/ 2990289 h 6858000"/>
              <a:gd name="connsiteX3777" fmla="*/ 1210598 w 5794893"/>
              <a:gd name="connsiteY3777" fmla="*/ 2946044 h 6858000"/>
              <a:gd name="connsiteX3778" fmla="*/ 1123337 w 5794893"/>
              <a:gd name="connsiteY3778" fmla="*/ 2837889 h 6858000"/>
              <a:gd name="connsiteX3779" fmla="*/ 178209 w 5794893"/>
              <a:gd name="connsiteY3779" fmla="*/ 3030848 h 6858000"/>
              <a:gd name="connsiteX3780" fmla="*/ 119216 w 5794893"/>
              <a:gd name="connsiteY3780" fmla="*/ 3035764 h 6858000"/>
              <a:gd name="connsiteX3781" fmla="*/ 129048 w 5794893"/>
              <a:gd name="connsiteY3781" fmla="*/ 3184476 h 6858000"/>
              <a:gd name="connsiteX3782" fmla="*/ 188042 w 5794893"/>
              <a:gd name="connsiteY3782" fmla="*/ 3179560 h 6858000"/>
              <a:gd name="connsiteX3783" fmla="*/ 178209 w 5794893"/>
              <a:gd name="connsiteY3783" fmla="*/ 3030848 h 6858000"/>
              <a:gd name="connsiteX3784" fmla="*/ 296197 w 5794893"/>
              <a:gd name="connsiteY3784" fmla="*/ 3030848 h 6858000"/>
              <a:gd name="connsiteX3785" fmla="*/ 239661 w 5794893"/>
              <a:gd name="connsiteY3785" fmla="*/ 3040680 h 6858000"/>
              <a:gd name="connsiteX3786" fmla="*/ 259326 w 5794893"/>
              <a:gd name="connsiteY3786" fmla="*/ 3184476 h 6858000"/>
              <a:gd name="connsiteX3787" fmla="*/ 315861 w 5794893"/>
              <a:gd name="connsiteY3787" fmla="*/ 3174644 h 6858000"/>
              <a:gd name="connsiteX3788" fmla="*/ 296197 w 5794893"/>
              <a:gd name="connsiteY3788" fmla="*/ 3030848 h 6858000"/>
              <a:gd name="connsiteX3789" fmla="*/ 415413 w 5794893"/>
              <a:gd name="connsiteY3789" fmla="*/ 3030848 h 6858000"/>
              <a:gd name="connsiteX3790" fmla="*/ 360106 w 5794893"/>
              <a:gd name="connsiteY3790" fmla="*/ 3045596 h 6858000"/>
              <a:gd name="connsiteX3791" fmla="*/ 389603 w 5794893"/>
              <a:gd name="connsiteY3791" fmla="*/ 3184476 h 6858000"/>
              <a:gd name="connsiteX3792" fmla="*/ 444910 w 5794893"/>
              <a:gd name="connsiteY3792" fmla="*/ 3169728 h 6858000"/>
              <a:gd name="connsiteX3793" fmla="*/ 415413 w 5794893"/>
              <a:gd name="connsiteY3793" fmla="*/ 3030848 h 6858000"/>
              <a:gd name="connsiteX3794" fmla="*/ 532171 w 5794893"/>
              <a:gd name="connsiteY3794" fmla="*/ 3030848 h 6858000"/>
              <a:gd name="connsiteX3795" fmla="*/ 479323 w 5794893"/>
              <a:gd name="connsiteY3795" fmla="*/ 3050512 h 6858000"/>
              <a:gd name="connsiteX3796" fmla="*/ 518652 w 5794893"/>
              <a:gd name="connsiteY3796" fmla="*/ 3184476 h 6858000"/>
              <a:gd name="connsiteX3797" fmla="*/ 571500 w 5794893"/>
              <a:gd name="connsiteY3797" fmla="*/ 3164812 h 6858000"/>
              <a:gd name="connsiteX3798" fmla="*/ 532171 w 5794893"/>
              <a:gd name="connsiteY3798" fmla="*/ 3030848 h 6858000"/>
              <a:gd name="connsiteX3799" fmla="*/ 651388 w 5794893"/>
              <a:gd name="connsiteY3799" fmla="*/ 3030848 h 6858000"/>
              <a:gd name="connsiteX3800" fmla="*/ 599769 w 5794893"/>
              <a:gd name="connsiteY3800" fmla="*/ 3055428 h 6858000"/>
              <a:gd name="connsiteX3801" fmla="*/ 648930 w 5794893"/>
              <a:gd name="connsiteY3801" fmla="*/ 3184476 h 6858000"/>
              <a:gd name="connsiteX3802" fmla="*/ 699320 w 5794893"/>
              <a:gd name="connsiteY3802" fmla="*/ 3158667 h 6858000"/>
              <a:gd name="connsiteX3803" fmla="*/ 651388 w 5794893"/>
              <a:gd name="connsiteY3803" fmla="*/ 3030848 h 6858000"/>
              <a:gd name="connsiteX3804" fmla="*/ 887362 w 5794893"/>
              <a:gd name="connsiteY3804" fmla="*/ 3030848 h 6858000"/>
              <a:gd name="connsiteX3805" fmla="*/ 840659 w 5794893"/>
              <a:gd name="connsiteY3805" fmla="*/ 3065260 h 6858000"/>
              <a:gd name="connsiteX3806" fmla="*/ 908255 w 5794893"/>
              <a:gd name="connsiteY3806" fmla="*/ 3184476 h 6858000"/>
              <a:gd name="connsiteX3807" fmla="*/ 954959 w 5794893"/>
              <a:gd name="connsiteY3807" fmla="*/ 3148835 h 6858000"/>
              <a:gd name="connsiteX3808" fmla="*/ 887362 w 5794893"/>
              <a:gd name="connsiteY3808" fmla="*/ 3030848 h 6858000"/>
              <a:gd name="connsiteX3809" fmla="*/ 1005350 w 5794893"/>
              <a:gd name="connsiteY3809" fmla="*/ 3030848 h 6858000"/>
              <a:gd name="connsiteX3810" fmla="*/ 959875 w 5794893"/>
              <a:gd name="connsiteY3810" fmla="*/ 3070177 h 6858000"/>
              <a:gd name="connsiteX3811" fmla="*/ 1037304 w 5794893"/>
              <a:gd name="connsiteY3811" fmla="*/ 3183248 h 6858000"/>
              <a:gd name="connsiteX3812" fmla="*/ 1082778 w 5794893"/>
              <a:gd name="connsiteY3812" fmla="*/ 3143919 h 6858000"/>
              <a:gd name="connsiteX3813" fmla="*/ 1005350 w 5794893"/>
              <a:gd name="connsiteY3813" fmla="*/ 3030848 h 6858000"/>
              <a:gd name="connsiteX3814" fmla="*/ 1240094 w 5794893"/>
              <a:gd name="connsiteY3814" fmla="*/ 3030848 h 6858000"/>
              <a:gd name="connsiteX3815" fmla="*/ 1199537 w 5794893"/>
              <a:gd name="connsiteY3815" fmla="*/ 3080009 h 6858000"/>
              <a:gd name="connsiteX3816" fmla="*/ 1296630 w 5794893"/>
              <a:gd name="connsiteY3816" fmla="*/ 3184476 h 6858000"/>
              <a:gd name="connsiteX3817" fmla="*/ 1338417 w 5794893"/>
              <a:gd name="connsiteY3817" fmla="*/ 3135315 h 6858000"/>
              <a:gd name="connsiteX3818" fmla="*/ 1240094 w 5794893"/>
              <a:gd name="connsiteY3818" fmla="*/ 3030848 h 6858000"/>
              <a:gd name="connsiteX3819" fmla="*/ 1359311 w 5794893"/>
              <a:gd name="connsiteY3819" fmla="*/ 3032076 h 6858000"/>
              <a:gd name="connsiteX3820" fmla="*/ 1319982 w 5794893"/>
              <a:gd name="connsiteY3820" fmla="*/ 3086153 h 6858000"/>
              <a:gd name="connsiteX3821" fmla="*/ 1426908 w 5794893"/>
              <a:gd name="connsiteY3821" fmla="*/ 3185706 h 6858000"/>
              <a:gd name="connsiteX3822" fmla="*/ 1466237 w 5794893"/>
              <a:gd name="connsiteY3822" fmla="*/ 3130399 h 6858000"/>
              <a:gd name="connsiteX3823" fmla="*/ 1359311 w 5794893"/>
              <a:gd name="connsiteY3823" fmla="*/ 3032076 h 6858000"/>
              <a:gd name="connsiteX3824" fmla="*/ 1123337 w 5794893"/>
              <a:gd name="connsiteY3824" fmla="*/ 3032076 h 6858000"/>
              <a:gd name="connsiteX3825" fmla="*/ 1080320 w 5794893"/>
              <a:gd name="connsiteY3825" fmla="*/ 3076321 h 6858000"/>
              <a:gd name="connsiteX3826" fmla="*/ 1167582 w 5794893"/>
              <a:gd name="connsiteY3826" fmla="*/ 3184476 h 6858000"/>
              <a:gd name="connsiteX3827" fmla="*/ 1210598 w 5794893"/>
              <a:gd name="connsiteY3827" fmla="*/ 3140231 h 6858000"/>
              <a:gd name="connsiteX3828" fmla="*/ 1123337 w 5794893"/>
              <a:gd name="connsiteY3828" fmla="*/ 3032076 h 6858000"/>
              <a:gd name="connsiteX3829" fmla="*/ 770604 w 5794893"/>
              <a:gd name="connsiteY3829" fmla="*/ 3032076 h 6858000"/>
              <a:gd name="connsiteX3830" fmla="*/ 721442 w 5794893"/>
              <a:gd name="connsiteY3830" fmla="*/ 3061573 h 6858000"/>
              <a:gd name="connsiteX3831" fmla="*/ 779207 w 5794893"/>
              <a:gd name="connsiteY3831" fmla="*/ 3185706 h 6858000"/>
              <a:gd name="connsiteX3832" fmla="*/ 828369 w 5794893"/>
              <a:gd name="connsiteY3832" fmla="*/ 3154979 h 6858000"/>
              <a:gd name="connsiteX3833" fmla="*/ 770604 w 5794893"/>
              <a:gd name="connsiteY3833" fmla="*/ 3032076 h 6858000"/>
              <a:gd name="connsiteX3834" fmla="*/ 178209 w 5794893"/>
              <a:gd name="connsiteY3834" fmla="*/ 3225035 h 6858000"/>
              <a:gd name="connsiteX3835" fmla="*/ 119216 w 5794893"/>
              <a:gd name="connsiteY3835" fmla="*/ 3229951 h 6858000"/>
              <a:gd name="connsiteX3836" fmla="*/ 129048 w 5794893"/>
              <a:gd name="connsiteY3836" fmla="*/ 3378663 h 6858000"/>
              <a:gd name="connsiteX3837" fmla="*/ 188042 w 5794893"/>
              <a:gd name="connsiteY3837" fmla="*/ 3373747 h 6858000"/>
              <a:gd name="connsiteX3838" fmla="*/ 178209 w 5794893"/>
              <a:gd name="connsiteY3838" fmla="*/ 3225035 h 6858000"/>
              <a:gd name="connsiteX3839" fmla="*/ 296197 w 5794893"/>
              <a:gd name="connsiteY3839" fmla="*/ 3225035 h 6858000"/>
              <a:gd name="connsiteX3840" fmla="*/ 239661 w 5794893"/>
              <a:gd name="connsiteY3840" fmla="*/ 3234867 h 6858000"/>
              <a:gd name="connsiteX3841" fmla="*/ 259326 w 5794893"/>
              <a:gd name="connsiteY3841" fmla="*/ 3378663 h 6858000"/>
              <a:gd name="connsiteX3842" fmla="*/ 315861 w 5794893"/>
              <a:gd name="connsiteY3842" fmla="*/ 3368831 h 6858000"/>
              <a:gd name="connsiteX3843" fmla="*/ 296197 w 5794893"/>
              <a:gd name="connsiteY3843" fmla="*/ 3225035 h 6858000"/>
              <a:gd name="connsiteX3844" fmla="*/ 415413 w 5794893"/>
              <a:gd name="connsiteY3844" fmla="*/ 3225035 h 6858000"/>
              <a:gd name="connsiteX3845" fmla="*/ 360106 w 5794893"/>
              <a:gd name="connsiteY3845" fmla="*/ 3239783 h 6858000"/>
              <a:gd name="connsiteX3846" fmla="*/ 389603 w 5794893"/>
              <a:gd name="connsiteY3846" fmla="*/ 3378663 h 6858000"/>
              <a:gd name="connsiteX3847" fmla="*/ 444910 w 5794893"/>
              <a:gd name="connsiteY3847" fmla="*/ 3363915 h 6858000"/>
              <a:gd name="connsiteX3848" fmla="*/ 415413 w 5794893"/>
              <a:gd name="connsiteY3848" fmla="*/ 3225035 h 6858000"/>
              <a:gd name="connsiteX3849" fmla="*/ 532171 w 5794893"/>
              <a:gd name="connsiteY3849" fmla="*/ 3225035 h 6858000"/>
              <a:gd name="connsiteX3850" fmla="*/ 479323 w 5794893"/>
              <a:gd name="connsiteY3850" fmla="*/ 3244699 h 6858000"/>
              <a:gd name="connsiteX3851" fmla="*/ 518652 w 5794893"/>
              <a:gd name="connsiteY3851" fmla="*/ 3378663 h 6858000"/>
              <a:gd name="connsiteX3852" fmla="*/ 571500 w 5794893"/>
              <a:gd name="connsiteY3852" fmla="*/ 3358999 h 6858000"/>
              <a:gd name="connsiteX3853" fmla="*/ 532171 w 5794893"/>
              <a:gd name="connsiteY3853" fmla="*/ 3225035 h 6858000"/>
              <a:gd name="connsiteX3854" fmla="*/ 651388 w 5794893"/>
              <a:gd name="connsiteY3854" fmla="*/ 3225035 h 6858000"/>
              <a:gd name="connsiteX3855" fmla="*/ 599769 w 5794893"/>
              <a:gd name="connsiteY3855" fmla="*/ 3249616 h 6858000"/>
              <a:gd name="connsiteX3856" fmla="*/ 648930 w 5794893"/>
              <a:gd name="connsiteY3856" fmla="*/ 3378663 h 6858000"/>
              <a:gd name="connsiteX3857" fmla="*/ 699320 w 5794893"/>
              <a:gd name="connsiteY3857" fmla="*/ 3352854 h 6858000"/>
              <a:gd name="connsiteX3858" fmla="*/ 651388 w 5794893"/>
              <a:gd name="connsiteY3858" fmla="*/ 3225035 h 6858000"/>
              <a:gd name="connsiteX3859" fmla="*/ 1123337 w 5794893"/>
              <a:gd name="connsiteY3859" fmla="*/ 3225035 h 6858000"/>
              <a:gd name="connsiteX3860" fmla="*/ 1080320 w 5794893"/>
              <a:gd name="connsiteY3860" fmla="*/ 3269280 h 6858000"/>
              <a:gd name="connsiteX3861" fmla="*/ 1167582 w 5794893"/>
              <a:gd name="connsiteY3861" fmla="*/ 3378663 h 6858000"/>
              <a:gd name="connsiteX3862" fmla="*/ 1210598 w 5794893"/>
              <a:gd name="connsiteY3862" fmla="*/ 3334418 h 6858000"/>
              <a:gd name="connsiteX3863" fmla="*/ 1123337 w 5794893"/>
              <a:gd name="connsiteY3863" fmla="*/ 3225035 h 6858000"/>
              <a:gd name="connsiteX3864" fmla="*/ 1241324 w 5794893"/>
              <a:gd name="connsiteY3864" fmla="*/ 3225035 h 6858000"/>
              <a:gd name="connsiteX3865" fmla="*/ 1200765 w 5794893"/>
              <a:gd name="connsiteY3865" fmla="*/ 3274196 h 6858000"/>
              <a:gd name="connsiteX3866" fmla="*/ 1297860 w 5794893"/>
              <a:gd name="connsiteY3866" fmla="*/ 3378663 h 6858000"/>
              <a:gd name="connsiteX3867" fmla="*/ 1338417 w 5794893"/>
              <a:gd name="connsiteY3867" fmla="*/ 3329502 h 6858000"/>
              <a:gd name="connsiteX3868" fmla="*/ 1241324 w 5794893"/>
              <a:gd name="connsiteY3868" fmla="*/ 3225035 h 6858000"/>
              <a:gd name="connsiteX3869" fmla="*/ 1359311 w 5794893"/>
              <a:gd name="connsiteY3869" fmla="*/ 3226263 h 6858000"/>
              <a:gd name="connsiteX3870" fmla="*/ 1319982 w 5794893"/>
              <a:gd name="connsiteY3870" fmla="*/ 3280341 h 6858000"/>
              <a:gd name="connsiteX3871" fmla="*/ 1426908 w 5794893"/>
              <a:gd name="connsiteY3871" fmla="*/ 3379893 h 6858000"/>
              <a:gd name="connsiteX3872" fmla="*/ 1466237 w 5794893"/>
              <a:gd name="connsiteY3872" fmla="*/ 3324586 h 6858000"/>
              <a:gd name="connsiteX3873" fmla="*/ 1359311 w 5794893"/>
              <a:gd name="connsiteY3873" fmla="*/ 3226263 h 6858000"/>
              <a:gd name="connsiteX3874" fmla="*/ 1477299 w 5794893"/>
              <a:gd name="connsiteY3874" fmla="*/ 3226263 h 6858000"/>
              <a:gd name="connsiteX3875" fmla="*/ 1440428 w 5794893"/>
              <a:gd name="connsiteY3875" fmla="*/ 3285257 h 6858000"/>
              <a:gd name="connsiteX3876" fmla="*/ 1557185 w 5794893"/>
              <a:gd name="connsiteY3876" fmla="*/ 3378663 h 6858000"/>
              <a:gd name="connsiteX3877" fmla="*/ 1594056 w 5794893"/>
              <a:gd name="connsiteY3877" fmla="*/ 3319670 h 6858000"/>
              <a:gd name="connsiteX3878" fmla="*/ 1477299 w 5794893"/>
              <a:gd name="connsiteY3878" fmla="*/ 3226263 h 6858000"/>
              <a:gd name="connsiteX3879" fmla="*/ 769375 w 5794893"/>
              <a:gd name="connsiteY3879" fmla="*/ 3226263 h 6858000"/>
              <a:gd name="connsiteX3880" fmla="*/ 720214 w 5794893"/>
              <a:gd name="connsiteY3880" fmla="*/ 3255760 h 6858000"/>
              <a:gd name="connsiteX3881" fmla="*/ 777978 w 5794893"/>
              <a:gd name="connsiteY3881" fmla="*/ 3379893 h 6858000"/>
              <a:gd name="connsiteX3882" fmla="*/ 827139 w 5794893"/>
              <a:gd name="connsiteY3882" fmla="*/ 3350396 h 6858000"/>
              <a:gd name="connsiteX3883" fmla="*/ 769375 w 5794893"/>
              <a:gd name="connsiteY3883" fmla="*/ 3226263 h 6858000"/>
              <a:gd name="connsiteX3884" fmla="*/ 887362 w 5794893"/>
              <a:gd name="connsiteY3884" fmla="*/ 3226263 h 6858000"/>
              <a:gd name="connsiteX3885" fmla="*/ 840659 w 5794893"/>
              <a:gd name="connsiteY3885" fmla="*/ 3260676 h 6858000"/>
              <a:gd name="connsiteX3886" fmla="*/ 908255 w 5794893"/>
              <a:gd name="connsiteY3886" fmla="*/ 3378663 h 6858000"/>
              <a:gd name="connsiteX3887" fmla="*/ 954959 w 5794893"/>
              <a:gd name="connsiteY3887" fmla="*/ 3344250 h 6858000"/>
              <a:gd name="connsiteX3888" fmla="*/ 887362 w 5794893"/>
              <a:gd name="connsiteY3888" fmla="*/ 3226263 h 6858000"/>
              <a:gd name="connsiteX3889" fmla="*/ 1005350 w 5794893"/>
              <a:gd name="connsiteY3889" fmla="*/ 3226263 h 6858000"/>
              <a:gd name="connsiteX3890" fmla="*/ 959875 w 5794893"/>
              <a:gd name="connsiteY3890" fmla="*/ 3265592 h 6858000"/>
              <a:gd name="connsiteX3891" fmla="*/ 1037304 w 5794893"/>
              <a:gd name="connsiteY3891" fmla="*/ 3378663 h 6858000"/>
              <a:gd name="connsiteX3892" fmla="*/ 1082778 w 5794893"/>
              <a:gd name="connsiteY3892" fmla="*/ 3339334 h 6858000"/>
              <a:gd name="connsiteX3893" fmla="*/ 1005350 w 5794893"/>
              <a:gd name="connsiteY3893" fmla="*/ 3226263 h 6858000"/>
              <a:gd name="connsiteX3894" fmla="*/ 415413 w 5794893"/>
              <a:gd name="connsiteY3894" fmla="*/ 3419222 h 6858000"/>
              <a:gd name="connsiteX3895" fmla="*/ 360106 w 5794893"/>
              <a:gd name="connsiteY3895" fmla="*/ 3433971 h 6858000"/>
              <a:gd name="connsiteX3896" fmla="*/ 389603 w 5794893"/>
              <a:gd name="connsiteY3896" fmla="*/ 3572851 h 6858000"/>
              <a:gd name="connsiteX3897" fmla="*/ 444910 w 5794893"/>
              <a:gd name="connsiteY3897" fmla="*/ 3556874 h 6858000"/>
              <a:gd name="connsiteX3898" fmla="*/ 415413 w 5794893"/>
              <a:gd name="connsiteY3898" fmla="*/ 3419222 h 6858000"/>
              <a:gd name="connsiteX3899" fmla="*/ 1359311 w 5794893"/>
              <a:gd name="connsiteY3899" fmla="*/ 3419222 h 6858000"/>
              <a:gd name="connsiteX3900" fmla="*/ 1319982 w 5794893"/>
              <a:gd name="connsiteY3900" fmla="*/ 3474528 h 6858000"/>
              <a:gd name="connsiteX3901" fmla="*/ 1426908 w 5794893"/>
              <a:gd name="connsiteY3901" fmla="*/ 3571622 h 6858000"/>
              <a:gd name="connsiteX3902" fmla="*/ 1466237 w 5794893"/>
              <a:gd name="connsiteY3902" fmla="*/ 3517545 h 6858000"/>
              <a:gd name="connsiteX3903" fmla="*/ 1359311 w 5794893"/>
              <a:gd name="connsiteY3903" fmla="*/ 3419222 h 6858000"/>
              <a:gd name="connsiteX3904" fmla="*/ 532171 w 5794893"/>
              <a:gd name="connsiteY3904" fmla="*/ 3420451 h 6858000"/>
              <a:gd name="connsiteX3905" fmla="*/ 479323 w 5794893"/>
              <a:gd name="connsiteY3905" fmla="*/ 3440115 h 6858000"/>
              <a:gd name="connsiteX3906" fmla="*/ 518652 w 5794893"/>
              <a:gd name="connsiteY3906" fmla="*/ 3574080 h 6858000"/>
              <a:gd name="connsiteX3907" fmla="*/ 571500 w 5794893"/>
              <a:gd name="connsiteY3907" fmla="*/ 3554416 h 6858000"/>
              <a:gd name="connsiteX3908" fmla="*/ 532171 w 5794893"/>
              <a:gd name="connsiteY3908" fmla="*/ 3420451 h 6858000"/>
              <a:gd name="connsiteX3909" fmla="*/ 651388 w 5794893"/>
              <a:gd name="connsiteY3909" fmla="*/ 3420451 h 6858000"/>
              <a:gd name="connsiteX3910" fmla="*/ 599769 w 5794893"/>
              <a:gd name="connsiteY3910" fmla="*/ 3445031 h 6858000"/>
              <a:gd name="connsiteX3911" fmla="*/ 648930 w 5794893"/>
              <a:gd name="connsiteY3911" fmla="*/ 3574080 h 6858000"/>
              <a:gd name="connsiteX3912" fmla="*/ 699320 w 5794893"/>
              <a:gd name="connsiteY3912" fmla="*/ 3549500 h 6858000"/>
              <a:gd name="connsiteX3913" fmla="*/ 651388 w 5794893"/>
              <a:gd name="connsiteY3913" fmla="*/ 3420451 h 6858000"/>
              <a:gd name="connsiteX3914" fmla="*/ 768145 w 5794893"/>
              <a:gd name="connsiteY3914" fmla="*/ 3420451 h 6858000"/>
              <a:gd name="connsiteX3915" fmla="*/ 720214 w 5794893"/>
              <a:gd name="connsiteY3915" fmla="*/ 3449947 h 6858000"/>
              <a:gd name="connsiteX3916" fmla="*/ 777978 w 5794893"/>
              <a:gd name="connsiteY3916" fmla="*/ 3572851 h 6858000"/>
              <a:gd name="connsiteX3917" fmla="*/ 827139 w 5794893"/>
              <a:gd name="connsiteY3917" fmla="*/ 3543354 h 6858000"/>
              <a:gd name="connsiteX3918" fmla="*/ 768145 w 5794893"/>
              <a:gd name="connsiteY3918" fmla="*/ 3420451 h 6858000"/>
              <a:gd name="connsiteX3919" fmla="*/ 887362 w 5794893"/>
              <a:gd name="connsiteY3919" fmla="*/ 3420451 h 6858000"/>
              <a:gd name="connsiteX3920" fmla="*/ 840659 w 5794893"/>
              <a:gd name="connsiteY3920" fmla="*/ 3454863 h 6858000"/>
              <a:gd name="connsiteX3921" fmla="*/ 908255 w 5794893"/>
              <a:gd name="connsiteY3921" fmla="*/ 3574080 h 6858000"/>
              <a:gd name="connsiteX3922" fmla="*/ 954959 w 5794893"/>
              <a:gd name="connsiteY3922" fmla="*/ 3539667 h 6858000"/>
              <a:gd name="connsiteX3923" fmla="*/ 887362 w 5794893"/>
              <a:gd name="connsiteY3923" fmla="*/ 3420451 h 6858000"/>
              <a:gd name="connsiteX3924" fmla="*/ 1005350 w 5794893"/>
              <a:gd name="connsiteY3924" fmla="*/ 3420451 h 6858000"/>
              <a:gd name="connsiteX3925" fmla="*/ 959875 w 5794893"/>
              <a:gd name="connsiteY3925" fmla="*/ 3459780 h 6858000"/>
              <a:gd name="connsiteX3926" fmla="*/ 1037304 w 5794893"/>
              <a:gd name="connsiteY3926" fmla="*/ 3572851 h 6858000"/>
              <a:gd name="connsiteX3927" fmla="*/ 1082778 w 5794893"/>
              <a:gd name="connsiteY3927" fmla="*/ 3533522 h 6858000"/>
              <a:gd name="connsiteX3928" fmla="*/ 1005350 w 5794893"/>
              <a:gd name="connsiteY3928" fmla="*/ 3420451 h 6858000"/>
              <a:gd name="connsiteX3929" fmla="*/ 1123337 w 5794893"/>
              <a:gd name="connsiteY3929" fmla="*/ 3420451 h 6858000"/>
              <a:gd name="connsiteX3930" fmla="*/ 1080320 w 5794893"/>
              <a:gd name="connsiteY3930" fmla="*/ 3464696 h 6858000"/>
              <a:gd name="connsiteX3931" fmla="*/ 1167582 w 5794893"/>
              <a:gd name="connsiteY3931" fmla="*/ 3574080 h 6858000"/>
              <a:gd name="connsiteX3932" fmla="*/ 1210598 w 5794893"/>
              <a:gd name="connsiteY3932" fmla="*/ 3529835 h 6858000"/>
              <a:gd name="connsiteX3933" fmla="*/ 1123337 w 5794893"/>
              <a:gd name="connsiteY3933" fmla="*/ 3420451 h 6858000"/>
              <a:gd name="connsiteX3934" fmla="*/ 1242552 w 5794893"/>
              <a:gd name="connsiteY3934" fmla="*/ 3420451 h 6858000"/>
              <a:gd name="connsiteX3935" fmla="*/ 1200765 w 5794893"/>
              <a:gd name="connsiteY3935" fmla="*/ 3469612 h 6858000"/>
              <a:gd name="connsiteX3936" fmla="*/ 1297860 w 5794893"/>
              <a:gd name="connsiteY3936" fmla="*/ 3574080 h 6858000"/>
              <a:gd name="connsiteX3937" fmla="*/ 1338417 w 5794893"/>
              <a:gd name="connsiteY3937" fmla="*/ 3524919 h 6858000"/>
              <a:gd name="connsiteX3938" fmla="*/ 1242552 w 5794893"/>
              <a:gd name="connsiteY3938" fmla="*/ 3420451 h 6858000"/>
              <a:gd name="connsiteX3939" fmla="*/ 178209 w 5794893"/>
              <a:gd name="connsiteY3939" fmla="*/ 3420451 h 6858000"/>
              <a:gd name="connsiteX3940" fmla="*/ 119216 w 5794893"/>
              <a:gd name="connsiteY3940" fmla="*/ 3425367 h 6858000"/>
              <a:gd name="connsiteX3941" fmla="*/ 129048 w 5794893"/>
              <a:gd name="connsiteY3941" fmla="*/ 3574080 h 6858000"/>
              <a:gd name="connsiteX3942" fmla="*/ 188042 w 5794893"/>
              <a:gd name="connsiteY3942" fmla="*/ 3569164 h 6858000"/>
              <a:gd name="connsiteX3943" fmla="*/ 178209 w 5794893"/>
              <a:gd name="connsiteY3943" fmla="*/ 3420451 h 6858000"/>
              <a:gd name="connsiteX3944" fmla="*/ 296197 w 5794893"/>
              <a:gd name="connsiteY3944" fmla="*/ 3420451 h 6858000"/>
              <a:gd name="connsiteX3945" fmla="*/ 239661 w 5794893"/>
              <a:gd name="connsiteY3945" fmla="*/ 3430283 h 6858000"/>
              <a:gd name="connsiteX3946" fmla="*/ 259326 w 5794893"/>
              <a:gd name="connsiteY3946" fmla="*/ 3574080 h 6858000"/>
              <a:gd name="connsiteX3947" fmla="*/ 315861 w 5794893"/>
              <a:gd name="connsiteY3947" fmla="*/ 3564248 h 6858000"/>
              <a:gd name="connsiteX3948" fmla="*/ 296197 w 5794893"/>
              <a:gd name="connsiteY3948" fmla="*/ 3420451 h 6858000"/>
              <a:gd name="connsiteX3949" fmla="*/ 415413 w 5794893"/>
              <a:gd name="connsiteY3949" fmla="*/ 3607264 h 6858000"/>
              <a:gd name="connsiteX3950" fmla="*/ 360106 w 5794893"/>
              <a:gd name="connsiteY3950" fmla="*/ 3622012 h 6858000"/>
              <a:gd name="connsiteX3951" fmla="*/ 389603 w 5794893"/>
              <a:gd name="connsiteY3951" fmla="*/ 3760894 h 6858000"/>
              <a:gd name="connsiteX3952" fmla="*/ 444910 w 5794893"/>
              <a:gd name="connsiteY3952" fmla="*/ 3746145 h 6858000"/>
              <a:gd name="connsiteX3953" fmla="*/ 415413 w 5794893"/>
              <a:gd name="connsiteY3953" fmla="*/ 3607264 h 6858000"/>
              <a:gd name="connsiteX3954" fmla="*/ 651388 w 5794893"/>
              <a:gd name="connsiteY3954" fmla="*/ 3607264 h 6858000"/>
              <a:gd name="connsiteX3955" fmla="*/ 599769 w 5794893"/>
              <a:gd name="connsiteY3955" fmla="*/ 3631844 h 6858000"/>
              <a:gd name="connsiteX3956" fmla="*/ 648930 w 5794893"/>
              <a:gd name="connsiteY3956" fmla="*/ 3760894 h 6858000"/>
              <a:gd name="connsiteX3957" fmla="*/ 699320 w 5794893"/>
              <a:gd name="connsiteY3957" fmla="*/ 3736313 h 6858000"/>
              <a:gd name="connsiteX3958" fmla="*/ 651388 w 5794893"/>
              <a:gd name="connsiteY3958" fmla="*/ 3607264 h 6858000"/>
              <a:gd name="connsiteX3959" fmla="*/ 1123337 w 5794893"/>
              <a:gd name="connsiteY3959" fmla="*/ 3607264 h 6858000"/>
              <a:gd name="connsiteX3960" fmla="*/ 1080320 w 5794893"/>
              <a:gd name="connsiteY3960" fmla="*/ 3652739 h 6858000"/>
              <a:gd name="connsiteX3961" fmla="*/ 1167582 w 5794893"/>
              <a:gd name="connsiteY3961" fmla="*/ 3760894 h 6858000"/>
              <a:gd name="connsiteX3962" fmla="*/ 1210598 w 5794893"/>
              <a:gd name="connsiteY3962" fmla="*/ 3716648 h 6858000"/>
              <a:gd name="connsiteX3963" fmla="*/ 1123337 w 5794893"/>
              <a:gd name="connsiteY3963" fmla="*/ 3607264 h 6858000"/>
              <a:gd name="connsiteX3964" fmla="*/ 1241324 w 5794893"/>
              <a:gd name="connsiteY3964" fmla="*/ 3607264 h 6858000"/>
              <a:gd name="connsiteX3965" fmla="*/ 1199537 w 5794893"/>
              <a:gd name="connsiteY3965" fmla="*/ 3657655 h 6858000"/>
              <a:gd name="connsiteX3966" fmla="*/ 1297860 w 5794893"/>
              <a:gd name="connsiteY3966" fmla="*/ 3760894 h 6858000"/>
              <a:gd name="connsiteX3967" fmla="*/ 1338417 w 5794893"/>
              <a:gd name="connsiteY3967" fmla="*/ 3711732 h 6858000"/>
              <a:gd name="connsiteX3968" fmla="*/ 1241324 w 5794893"/>
              <a:gd name="connsiteY3968" fmla="*/ 3607264 h 6858000"/>
              <a:gd name="connsiteX3969" fmla="*/ 1359311 w 5794893"/>
              <a:gd name="connsiteY3969" fmla="*/ 3607264 h 6858000"/>
              <a:gd name="connsiteX3970" fmla="*/ 1319982 w 5794893"/>
              <a:gd name="connsiteY3970" fmla="*/ 3662571 h 6858000"/>
              <a:gd name="connsiteX3971" fmla="*/ 1426908 w 5794893"/>
              <a:gd name="connsiteY3971" fmla="*/ 3759664 h 6858000"/>
              <a:gd name="connsiteX3972" fmla="*/ 1466237 w 5794893"/>
              <a:gd name="connsiteY3972" fmla="*/ 3705586 h 6858000"/>
              <a:gd name="connsiteX3973" fmla="*/ 1359311 w 5794893"/>
              <a:gd name="connsiteY3973" fmla="*/ 3607264 h 6858000"/>
              <a:gd name="connsiteX3974" fmla="*/ 769375 w 5794893"/>
              <a:gd name="connsiteY3974" fmla="*/ 3608493 h 6858000"/>
              <a:gd name="connsiteX3975" fmla="*/ 720214 w 5794893"/>
              <a:gd name="connsiteY3975" fmla="*/ 3639219 h 6858000"/>
              <a:gd name="connsiteX3976" fmla="*/ 777978 w 5794893"/>
              <a:gd name="connsiteY3976" fmla="*/ 3762122 h 6858000"/>
              <a:gd name="connsiteX3977" fmla="*/ 827139 w 5794893"/>
              <a:gd name="connsiteY3977" fmla="*/ 3732625 h 6858000"/>
              <a:gd name="connsiteX3978" fmla="*/ 769375 w 5794893"/>
              <a:gd name="connsiteY3978" fmla="*/ 3608493 h 6858000"/>
              <a:gd name="connsiteX3979" fmla="*/ 1005350 w 5794893"/>
              <a:gd name="connsiteY3979" fmla="*/ 3608493 h 6858000"/>
              <a:gd name="connsiteX3980" fmla="*/ 959875 w 5794893"/>
              <a:gd name="connsiteY3980" fmla="*/ 3649051 h 6858000"/>
              <a:gd name="connsiteX3981" fmla="*/ 1037304 w 5794893"/>
              <a:gd name="connsiteY3981" fmla="*/ 3762122 h 6858000"/>
              <a:gd name="connsiteX3982" fmla="*/ 1082778 w 5794893"/>
              <a:gd name="connsiteY3982" fmla="*/ 3722793 h 6858000"/>
              <a:gd name="connsiteX3983" fmla="*/ 1005350 w 5794893"/>
              <a:gd name="connsiteY3983" fmla="*/ 3608493 h 6858000"/>
              <a:gd name="connsiteX3984" fmla="*/ 887362 w 5794893"/>
              <a:gd name="connsiteY3984" fmla="*/ 3609722 h 6858000"/>
              <a:gd name="connsiteX3985" fmla="*/ 840659 w 5794893"/>
              <a:gd name="connsiteY3985" fmla="*/ 3644135 h 6858000"/>
              <a:gd name="connsiteX3986" fmla="*/ 908255 w 5794893"/>
              <a:gd name="connsiteY3986" fmla="*/ 3762122 h 6858000"/>
              <a:gd name="connsiteX3987" fmla="*/ 954959 w 5794893"/>
              <a:gd name="connsiteY3987" fmla="*/ 3728939 h 6858000"/>
              <a:gd name="connsiteX3988" fmla="*/ 887362 w 5794893"/>
              <a:gd name="connsiteY3988" fmla="*/ 3609722 h 6858000"/>
              <a:gd name="connsiteX3989" fmla="*/ 532171 w 5794893"/>
              <a:gd name="connsiteY3989" fmla="*/ 3608493 h 6858000"/>
              <a:gd name="connsiteX3990" fmla="*/ 479323 w 5794893"/>
              <a:gd name="connsiteY3990" fmla="*/ 3628158 h 6858000"/>
              <a:gd name="connsiteX3991" fmla="*/ 518652 w 5794893"/>
              <a:gd name="connsiteY3991" fmla="*/ 3760894 h 6858000"/>
              <a:gd name="connsiteX3992" fmla="*/ 571500 w 5794893"/>
              <a:gd name="connsiteY3992" fmla="*/ 3742457 h 6858000"/>
              <a:gd name="connsiteX3993" fmla="*/ 532171 w 5794893"/>
              <a:gd name="connsiteY3993" fmla="*/ 3608493 h 6858000"/>
              <a:gd name="connsiteX3994" fmla="*/ 178209 w 5794893"/>
              <a:gd name="connsiteY3994" fmla="*/ 3608493 h 6858000"/>
              <a:gd name="connsiteX3995" fmla="*/ 119216 w 5794893"/>
              <a:gd name="connsiteY3995" fmla="*/ 3613409 h 6858000"/>
              <a:gd name="connsiteX3996" fmla="*/ 129048 w 5794893"/>
              <a:gd name="connsiteY3996" fmla="*/ 3762122 h 6858000"/>
              <a:gd name="connsiteX3997" fmla="*/ 188042 w 5794893"/>
              <a:gd name="connsiteY3997" fmla="*/ 3757206 h 6858000"/>
              <a:gd name="connsiteX3998" fmla="*/ 178209 w 5794893"/>
              <a:gd name="connsiteY3998" fmla="*/ 3608493 h 6858000"/>
              <a:gd name="connsiteX3999" fmla="*/ 296197 w 5794893"/>
              <a:gd name="connsiteY3999" fmla="*/ 3608493 h 6858000"/>
              <a:gd name="connsiteX4000" fmla="*/ 239661 w 5794893"/>
              <a:gd name="connsiteY4000" fmla="*/ 3618326 h 6858000"/>
              <a:gd name="connsiteX4001" fmla="*/ 259326 w 5794893"/>
              <a:gd name="connsiteY4001" fmla="*/ 3762122 h 6858000"/>
              <a:gd name="connsiteX4002" fmla="*/ 315861 w 5794893"/>
              <a:gd name="connsiteY4002" fmla="*/ 3752290 h 6858000"/>
              <a:gd name="connsiteX4003" fmla="*/ 296197 w 5794893"/>
              <a:gd name="connsiteY4003" fmla="*/ 3608493 h 6858000"/>
              <a:gd name="connsiteX4004" fmla="*/ 178209 w 5794893"/>
              <a:gd name="connsiteY4004" fmla="*/ 3798993 h 6858000"/>
              <a:gd name="connsiteX4005" fmla="*/ 119216 w 5794893"/>
              <a:gd name="connsiteY4005" fmla="*/ 3803909 h 6858000"/>
              <a:gd name="connsiteX4006" fmla="*/ 129048 w 5794893"/>
              <a:gd name="connsiteY4006" fmla="*/ 3952623 h 6858000"/>
              <a:gd name="connsiteX4007" fmla="*/ 188042 w 5794893"/>
              <a:gd name="connsiteY4007" fmla="*/ 3947707 h 6858000"/>
              <a:gd name="connsiteX4008" fmla="*/ 178209 w 5794893"/>
              <a:gd name="connsiteY4008" fmla="*/ 3798993 h 6858000"/>
              <a:gd name="connsiteX4009" fmla="*/ 296197 w 5794893"/>
              <a:gd name="connsiteY4009" fmla="*/ 3798993 h 6858000"/>
              <a:gd name="connsiteX4010" fmla="*/ 239661 w 5794893"/>
              <a:gd name="connsiteY4010" fmla="*/ 3808825 h 6858000"/>
              <a:gd name="connsiteX4011" fmla="*/ 259326 w 5794893"/>
              <a:gd name="connsiteY4011" fmla="*/ 3952623 h 6858000"/>
              <a:gd name="connsiteX4012" fmla="*/ 315861 w 5794893"/>
              <a:gd name="connsiteY4012" fmla="*/ 3942790 h 6858000"/>
              <a:gd name="connsiteX4013" fmla="*/ 296197 w 5794893"/>
              <a:gd name="connsiteY4013" fmla="*/ 3798993 h 6858000"/>
              <a:gd name="connsiteX4014" fmla="*/ 651388 w 5794893"/>
              <a:gd name="connsiteY4014" fmla="*/ 3798993 h 6858000"/>
              <a:gd name="connsiteX4015" fmla="*/ 599769 w 5794893"/>
              <a:gd name="connsiteY4015" fmla="*/ 3823574 h 6858000"/>
              <a:gd name="connsiteX4016" fmla="*/ 648930 w 5794893"/>
              <a:gd name="connsiteY4016" fmla="*/ 3952623 h 6858000"/>
              <a:gd name="connsiteX4017" fmla="*/ 699320 w 5794893"/>
              <a:gd name="connsiteY4017" fmla="*/ 3928042 h 6858000"/>
              <a:gd name="connsiteX4018" fmla="*/ 651388 w 5794893"/>
              <a:gd name="connsiteY4018" fmla="*/ 3798993 h 6858000"/>
              <a:gd name="connsiteX4019" fmla="*/ 887362 w 5794893"/>
              <a:gd name="connsiteY4019" fmla="*/ 3798993 h 6858000"/>
              <a:gd name="connsiteX4020" fmla="*/ 840659 w 5794893"/>
              <a:gd name="connsiteY4020" fmla="*/ 3833406 h 6858000"/>
              <a:gd name="connsiteX4021" fmla="*/ 908255 w 5794893"/>
              <a:gd name="connsiteY4021" fmla="*/ 3952623 h 6858000"/>
              <a:gd name="connsiteX4022" fmla="*/ 954959 w 5794893"/>
              <a:gd name="connsiteY4022" fmla="*/ 3918210 h 6858000"/>
              <a:gd name="connsiteX4023" fmla="*/ 887362 w 5794893"/>
              <a:gd name="connsiteY4023" fmla="*/ 3798993 h 6858000"/>
              <a:gd name="connsiteX4024" fmla="*/ 1005350 w 5794893"/>
              <a:gd name="connsiteY4024" fmla="*/ 3800223 h 6858000"/>
              <a:gd name="connsiteX4025" fmla="*/ 959875 w 5794893"/>
              <a:gd name="connsiteY4025" fmla="*/ 3839552 h 6858000"/>
              <a:gd name="connsiteX4026" fmla="*/ 1037304 w 5794893"/>
              <a:gd name="connsiteY4026" fmla="*/ 3952623 h 6858000"/>
              <a:gd name="connsiteX4027" fmla="*/ 1082778 w 5794893"/>
              <a:gd name="connsiteY4027" fmla="*/ 3913294 h 6858000"/>
              <a:gd name="connsiteX4028" fmla="*/ 1005350 w 5794893"/>
              <a:gd name="connsiteY4028" fmla="*/ 3800223 h 6858000"/>
              <a:gd name="connsiteX4029" fmla="*/ 1123337 w 5794893"/>
              <a:gd name="connsiteY4029" fmla="*/ 3800223 h 6858000"/>
              <a:gd name="connsiteX4030" fmla="*/ 1080320 w 5794893"/>
              <a:gd name="connsiteY4030" fmla="*/ 3844468 h 6858000"/>
              <a:gd name="connsiteX4031" fmla="*/ 1167582 w 5794893"/>
              <a:gd name="connsiteY4031" fmla="*/ 3952623 h 6858000"/>
              <a:gd name="connsiteX4032" fmla="*/ 1210598 w 5794893"/>
              <a:gd name="connsiteY4032" fmla="*/ 3908378 h 6858000"/>
              <a:gd name="connsiteX4033" fmla="*/ 1123337 w 5794893"/>
              <a:gd name="connsiteY4033" fmla="*/ 3800223 h 6858000"/>
              <a:gd name="connsiteX4034" fmla="*/ 1241324 w 5794893"/>
              <a:gd name="connsiteY4034" fmla="*/ 3800223 h 6858000"/>
              <a:gd name="connsiteX4035" fmla="*/ 1199537 w 5794893"/>
              <a:gd name="connsiteY4035" fmla="*/ 3849384 h 6858000"/>
              <a:gd name="connsiteX4036" fmla="*/ 1297860 w 5794893"/>
              <a:gd name="connsiteY4036" fmla="*/ 3953851 h 6858000"/>
              <a:gd name="connsiteX4037" fmla="*/ 1338417 w 5794893"/>
              <a:gd name="connsiteY4037" fmla="*/ 3904690 h 6858000"/>
              <a:gd name="connsiteX4038" fmla="*/ 1241324 w 5794893"/>
              <a:gd name="connsiteY4038" fmla="*/ 3800223 h 6858000"/>
              <a:gd name="connsiteX4039" fmla="*/ 1359311 w 5794893"/>
              <a:gd name="connsiteY4039" fmla="*/ 3800223 h 6858000"/>
              <a:gd name="connsiteX4040" fmla="*/ 1319982 w 5794893"/>
              <a:gd name="connsiteY4040" fmla="*/ 3854300 h 6858000"/>
              <a:gd name="connsiteX4041" fmla="*/ 1426908 w 5794893"/>
              <a:gd name="connsiteY4041" fmla="*/ 3952623 h 6858000"/>
              <a:gd name="connsiteX4042" fmla="*/ 1466237 w 5794893"/>
              <a:gd name="connsiteY4042" fmla="*/ 3898545 h 6858000"/>
              <a:gd name="connsiteX4043" fmla="*/ 1359311 w 5794893"/>
              <a:gd name="connsiteY4043" fmla="*/ 3800223 h 6858000"/>
              <a:gd name="connsiteX4044" fmla="*/ 769375 w 5794893"/>
              <a:gd name="connsiteY4044" fmla="*/ 3800223 h 6858000"/>
              <a:gd name="connsiteX4045" fmla="*/ 720214 w 5794893"/>
              <a:gd name="connsiteY4045" fmla="*/ 3829719 h 6858000"/>
              <a:gd name="connsiteX4046" fmla="*/ 777978 w 5794893"/>
              <a:gd name="connsiteY4046" fmla="*/ 3953851 h 6858000"/>
              <a:gd name="connsiteX4047" fmla="*/ 827139 w 5794893"/>
              <a:gd name="connsiteY4047" fmla="*/ 3924354 h 6858000"/>
              <a:gd name="connsiteX4048" fmla="*/ 769375 w 5794893"/>
              <a:gd name="connsiteY4048" fmla="*/ 3800223 h 6858000"/>
              <a:gd name="connsiteX4049" fmla="*/ 415413 w 5794893"/>
              <a:gd name="connsiteY4049" fmla="*/ 3800223 h 6858000"/>
              <a:gd name="connsiteX4050" fmla="*/ 360106 w 5794893"/>
              <a:gd name="connsiteY4050" fmla="*/ 3814971 h 6858000"/>
              <a:gd name="connsiteX4051" fmla="*/ 389603 w 5794893"/>
              <a:gd name="connsiteY4051" fmla="*/ 3952623 h 6858000"/>
              <a:gd name="connsiteX4052" fmla="*/ 444910 w 5794893"/>
              <a:gd name="connsiteY4052" fmla="*/ 3939103 h 6858000"/>
              <a:gd name="connsiteX4053" fmla="*/ 415413 w 5794893"/>
              <a:gd name="connsiteY4053" fmla="*/ 3800223 h 6858000"/>
              <a:gd name="connsiteX4054" fmla="*/ 532171 w 5794893"/>
              <a:gd name="connsiteY4054" fmla="*/ 3800223 h 6858000"/>
              <a:gd name="connsiteX4055" fmla="*/ 479323 w 5794893"/>
              <a:gd name="connsiteY4055" fmla="*/ 3819887 h 6858000"/>
              <a:gd name="connsiteX4056" fmla="*/ 518652 w 5794893"/>
              <a:gd name="connsiteY4056" fmla="*/ 3952623 h 6858000"/>
              <a:gd name="connsiteX4057" fmla="*/ 571500 w 5794893"/>
              <a:gd name="connsiteY4057" fmla="*/ 3934187 h 6858000"/>
              <a:gd name="connsiteX4058" fmla="*/ 532171 w 5794893"/>
              <a:gd name="connsiteY4058" fmla="*/ 3800223 h 6858000"/>
              <a:gd name="connsiteX4059" fmla="*/ 1240094 w 5794893"/>
              <a:gd name="connsiteY4059" fmla="*/ 3990722 h 6858000"/>
              <a:gd name="connsiteX4060" fmla="*/ 1198307 w 5794893"/>
              <a:gd name="connsiteY4060" fmla="*/ 4039883 h 6858000"/>
              <a:gd name="connsiteX4061" fmla="*/ 1200765 w 5794893"/>
              <a:gd name="connsiteY4061" fmla="*/ 4042342 h 6858000"/>
              <a:gd name="connsiteX4062" fmla="*/ 1199537 w 5794893"/>
              <a:gd name="connsiteY4062" fmla="*/ 4044800 h 6858000"/>
              <a:gd name="connsiteX4063" fmla="*/ 1296630 w 5794893"/>
              <a:gd name="connsiteY4063" fmla="*/ 4149268 h 6858000"/>
              <a:gd name="connsiteX4064" fmla="*/ 1338417 w 5794893"/>
              <a:gd name="connsiteY4064" fmla="*/ 4100107 h 6858000"/>
              <a:gd name="connsiteX4065" fmla="*/ 1335959 w 5794893"/>
              <a:gd name="connsiteY4065" fmla="*/ 4097649 h 6858000"/>
              <a:gd name="connsiteX4066" fmla="*/ 1337189 w 5794893"/>
              <a:gd name="connsiteY4066" fmla="*/ 4095191 h 6858000"/>
              <a:gd name="connsiteX4067" fmla="*/ 1240094 w 5794893"/>
              <a:gd name="connsiteY4067" fmla="*/ 3990722 h 6858000"/>
              <a:gd name="connsiteX4068" fmla="*/ 1359311 w 5794893"/>
              <a:gd name="connsiteY4068" fmla="*/ 3991952 h 6858000"/>
              <a:gd name="connsiteX4069" fmla="*/ 1319982 w 5794893"/>
              <a:gd name="connsiteY4069" fmla="*/ 4046029 h 6858000"/>
              <a:gd name="connsiteX4070" fmla="*/ 1322440 w 5794893"/>
              <a:gd name="connsiteY4070" fmla="*/ 4048487 h 6858000"/>
              <a:gd name="connsiteX4071" fmla="*/ 1321211 w 5794893"/>
              <a:gd name="connsiteY4071" fmla="*/ 4050945 h 6858000"/>
              <a:gd name="connsiteX4072" fmla="*/ 1428137 w 5794893"/>
              <a:gd name="connsiteY4072" fmla="*/ 4149268 h 6858000"/>
              <a:gd name="connsiteX4073" fmla="*/ 1467466 w 5794893"/>
              <a:gd name="connsiteY4073" fmla="*/ 4095191 h 6858000"/>
              <a:gd name="connsiteX4074" fmla="*/ 1465008 w 5794893"/>
              <a:gd name="connsiteY4074" fmla="*/ 4092733 h 6858000"/>
              <a:gd name="connsiteX4075" fmla="*/ 1466237 w 5794893"/>
              <a:gd name="connsiteY4075" fmla="*/ 4090275 h 6858000"/>
              <a:gd name="connsiteX4076" fmla="*/ 1359311 w 5794893"/>
              <a:gd name="connsiteY4076" fmla="*/ 3991952 h 6858000"/>
              <a:gd name="connsiteX4077" fmla="*/ 178209 w 5794893"/>
              <a:gd name="connsiteY4077" fmla="*/ 3991952 h 6858000"/>
              <a:gd name="connsiteX4078" fmla="*/ 119216 w 5794893"/>
              <a:gd name="connsiteY4078" fmla="*/ 3996868 h 6858000"/>
              <a:gd name="connsiteX4079" fmla="*/ 119216 w 5794893"/>
              <a:gd name="connsiteY4079" fmla="*/ 4000554 h 6858000"/>
              <a:gd name="connsiteX4080" fmla="*/ 129048 w 5794893"/>
              <a:gd name="connsiteY4080" fmla="*/ 4149268 h 6858000"/>
              <a:gd name="connsiteX4081" fmla="*/ 188042 w 5794893"/>
              <a:gd name="connsiteY4081" fmla="*/ 4144352 h 6858000"/>
              <a:gd name="connsiteX4082" fmla="*/ 188042 w 5794893"/>
              <a:gd name="connsiteY4082" fmla="*/ 4140664 h 6858000"/>
              <a:gd name="connsiteX4083" fmla="*/ 178209 w 5794893"/>
              <a:gd name="connsiteY4083" fmla="*/ 3991952 h 6858000"/>
              <a:gd name="connsiteX4084" fmla="*/ 296197 w 5794893"/>
              <a:gd name="connsiteY4084" fmla="*/ 3991952 h 6858000"/>
              <a:gd name="connsiteX4085" fmla="*/ 239661 w 5794893"/>
              <a:gd name="connsiteY4085" fmla="*/ 4001784 h 6858000"/>
              <a:gd name="connsiteX4086" fmla="*/ 240891 w 5794893"/>
              <a:gd name="connsiteY4086" fmla="*/ 4006700 h 6858000"/>
              <a:gd name="connsiteX4087" fmla="*/ 239661 w 5794893"/>
              <a:gd name="connsiteY4087" fmla="*/ 4006700 h 6858000"/>
              <a:gd name="connsiteX4088" fmla="*/ 259326 w 5794893"/>
              <a:gd name="connsiteY4088" fmla="*/ 4150497 h 6858000"/>
              <a:gd name="connsiteX4089" fmla="*/ 315861 w 5794893"/>
              <a:gd name="connsiteY4089" fmla="*/ 4140664 h 6858000"/>
              <a:gd name="connsiteX4090" fmla="*/ 314633 w 5794893"/>
              <a:gd name="connsiteY4090" fmla="*/ 4135748 h 6858000"/>
              <a:gd name="connsiteX4091" fmla="*/ 315861 w 5794893"/>
              <a:gd name="connsiteY4091" fmla="*/ 4135748 h 6858000"/>
              <a:gd name="connsiteX4092" fmla="*/ 296197 w 5794893"/>
              <a:gd name="connsiteY4092" fmla="*/ 3991952 h 6858000"/>
              <a:gd name="connsiteX4093" fmla="*/ 415413 w 5794893"/>
              <a:gd name="connsiteY4093" fmla="*/ 3991952 h 6858000"/>
              <a:gd name="connsiteX4094" fmla="*/ 360106 w 5794893"/>
              <a:gd name="connsiteY4094" fmla="*/ 4006700 h 6858000"/>
              <a:gd name="connsiteX4095" fmla="*/ 361336 w 5794893"/>
              <a:gd name="connsiteY4095" fmla="*/ 4011616 h 6858000"/>
              <a:gd name="connsiteX4096" fmla="*/ 360106 w 5794893"/>
              <a:gd name="connsiteY4096" fmla="*/ 4011616 h 6858000"/>
              <a:gd name="connsiteX4097" fmla="*/ 388375 w 5794893"/>
              <a:gd name="connsiteY4097" fmla="*/ 4150497 h 6858000"/>
              <a:gd name="connsiteX4098" fmla="*/ 443681 w 5794893"/>
              <a:gd name="connsiteY4098" fmla="*/ 4134520 h 6858000"/>
              <a:gd name="connsiteX4099" fmla="*/ 443681 w 5794893"/>
              <a:gd name="connsiteY4099" fmla="*/ 4129604 h 6858000"/>
              <a:gd name="connsiteX4100" fmla="*/ 444910 w 5794893"/>
              <a:gd name="connsiteY4100" fmla="*/ 4129604 h 6858000"/>
              <a:gd name="connsiteX4101" fmla="*/ 415413 w 5794893"/>
              <a:gd name="connsiteY4101" fmla="*/ 3991952 h 6858000"/>
              <a:gd name="connsiteX4102" fmla="*/ 532171 w 5794893"/>
              <a:gd name="connsiteY4102" fmla="*/ 3991952 h 6858000"/>
              <a:gd name="connsiteX4103" fmla="*/ 479323 w 5794893"/>
              <a:gd name="connsiteY4103" fmla="*/ 4011616 h 6858000"/>
              <a:gd name="connsiteX4104" fmla="*/ 480552 w 5794893"/>
              <a:gd name="connsiteY4104" fmla="*/ 4015303 h 6858000"/>
              <a:gd name="connsiteX4105" fmla="*/ 479323 w 5794893"/>
              <a:gd name="connsiteY4105" fmla="*/ 4015303 h 6858000"/>
              <a:gd name="connsiteX4106" fmla="*/ 518652 w 5794893"/>
              <a:gd name="connsiteY4106" fmla="*/ 4149268 h 6858000"/>
              <a:gd name="connsiteX4107" fmla="*/ 571500 w 5794893"/>
              <a:gd name="connsiteY4107" fmla="*/ 4129604 h 6858000"/>
              <a:gd name="connsiteX4108" fmla="*/ 570272 w 5794893"/>
              <a:gd name="connsiteY4108" fmla="*/ 4125916 h 6858000"/>
              <a:gd name="connsiteX4109" fmla="*/ 571500 w 5794893"/>
              <a:gd name="connsiteY4109" fmla="*/ 4125916 h 6858000"/>
              <a:gd name="connsiteX4110" fmla="*/ 532171 w 5794893"/>
              <a:gd name="connsiteY4110" fmla="*/ 3991952 h 6858000"/>
              <a:gd name="connsiteX4111" fmla="*/ 651388 w 5794893"/>
              <a:gd name="connsiteY4111" fmla="*/ 3991952 h 6858000"/>
              <a:gd name="connsiteX4112" fmla="*/ 599769 w 5794893"/>
              <a:gd name="connsiteY4112" fmla="*/ 4016532 h 6858000"/>
              <a:gd name="connsiteX4113" fmla="*/ 600997 w 5794893"/>
              <a:gd name="connsiteY4113" fmla="*/ 4020219 h 6858000"/>
              <a:gd name="connsiteX4114" fmla="*/ 599769 w 5794893"/>
              <a:gd name="connsiteY4114" fmla="*/ 4020219 h 6858000"/>
              <a:gd name="connsiteX4115" fmla="*/ 648930 w 5794893"/>
              <a:gd name="connsiteY4115" fmla="*/ 4149268 h 6858000"/>
              <a:gd name="connsiteX4116" fmla="*/ 699320 w 5794893"/>
              <a:gd name="connsiteY4116" fmla="*/ 4124687 h 6858000"/>
              <a:gd name="connsiteX4117" fmla="*/ 698091 w 5794893"/>
              <a:gd name="connsiteY4117" fmla="*/ 4121000 h 6858000"/>
              <a:gd name="connsiteX4118" fmla="*/ 699320 w 5794893"/>
              <a:gd name="connsiteY4118" fmla="*/ 4121000 h 6858000"/>
              <a:gd name="connsiteX4119" fmla="*/ 651388 w 5794893"/>
              <a:gd name="connsiteY4119" fmla="*/ 3991952 h 6858000"/>
              <a:gd name="connsiteX4120" fmla="*/ 769375 w 5794893"/>
              <a:gd name="connsiteY4120" fmla="*/ 3991952 h 6858000"/>
              <a:gd name="connsiteX4121" fmla="*/ 720214 w 5794893"/>
              <a:gd name="connsiteY4121" fmla="*/ 4021449 h 6858000"/>
              <a:gd name="connsiteX4122" fmla="*/ 722672 w 5794893"/>
              <a:gd name="connsiteY4122" fmla="*/ 4023907 h 6858000"/>
              <a:gd name="connsiteX4123" fmla="*/ 721442 w 5794893"/>
              <a:gd name="connsiteY4123" fmla="*/ 4025135 h 6858000"/>
              <a:gd name="connsiteX4124" fmla="*/ 779207 w 5794893"/>
              <a:gd name="connsiteY4124" fmla="*/ 4149268 h 6858000"/>
              <a:gd name="connsiteX4125" fmla="*/ 828369 w 5794893"/>
              <a:gd name="connsiteY4125" fmla="*/ 4119771 h 6858000"/>
              <a:gd name="connsiteX4126" fmla="*/ 827139 w 5794893"/>
              <a:gd name="connsiteY4126" fmla="*/ 4116084 h 6858000"/>
              <a:gd name="connsiteX4127" fmla="*/ 828369 w 5794893"/>
              <a:gd name="connsiteY4127" fmla="*/ 4114855 h 6858000"/>
              <a:gd name="connsiteX4128" fmla="*/ 769375 w 5794893"/>
              <a:gd name="connsiteY4128" fmla="*/ 3991952 h 6858000"/>
              <a:gd name="connsiteX4129" fmla="*/ 1005350 w 5794893"/>
              <a:gd name="connsiteY4129" fmla="*/ 3991952 h 6858000"/>
              <a:gd name="connsiteX4130" fmla="*/ 959875 w 5794893"/>
              <a:gd name="connsiteY4130" fmla="*/ 4031281 h 6858000"/>
              <a:gd name="connsiteX4131" fmla="*/ 962333 w 5794893"/>
              <a:gd name="connsiteY4131" fmla="*/ 4033739 h 6858000"/>
              <a:gd name="connsiteX4132" fmla="*/ 959875 w 5794893"/>
              <a:gd name="connsiteY4132" fmla="*/ 4034967 h 6858000"/>
              <a:gd name="connsiteX4133" fmla="*/ 1037304 w 5794893"/>
              <a:gd name="connsiteY4133" fmla="*/ 4148039 h 6858000"/>
              <a:gd name="connsiteX4134" fmla="*/ 1082778 w 5794893"/>
              <a:gd name="connsiteY4134" fmla="*/ 4108709 h 6858000"/>
              <a:gd name="connsiteX4135" fmla="*/ 1081550 w 5794893"/>
              <a:gd name="connsiteY4135" fmla="*/ 4106251 h 6858000"/>
              <a:gd name="connsiteX4136" fmla="*/ 1082778 w 5794893"/>
              <a:gd name="connsiteY4136" fmla="*/ 4105023 h 6858000"/>
              <a:gd name="connsiteX4137" fmla="*/ 1005350 w 5794893"/>
              <a:gd name="connsiteY4137" fmla="*/ 3991952 h 6858000"/>
              <a:gd name="connsiteX4138" fmla="*/ 1123337 w 5794893"/>
              <a:gd name="connsiteY4138" fmla="*/ 3991952 h 6858000"/>
              <a:gd name="connsiteX4139" fmla="*/ 1080320 w 5794893"/>
              <a:gd name="connsiteY4139" fmla="*/ 4036197 h 6858000"/>
              <a:gd name="connsiteX4140" fmla="*/ 1081550 w 5794893"/>
              <a:gd name="connsiteY4140" fmla="*/ 4041113 h 6858000"/>
              <a:gd name="connsiteX4141" fmla="*/ 1080320 w 5794893"/>
              <a:gd name="connsiteY4141" fmla="*/ 4042342 h 6858000"/>
              <a:gd name="connsiteX4142" fmla="*/ 1167582 w 5794893"/>
              <a:gd name="connsiteY4142" fmla="*/ 4150497 h 6858000"/>
              <a:gd name="connsiteX4143" fmla="*/ 1210598 w 5794893"/>
              <a:gd name="connsiteY4143" fmla="*/ 4106251 h 6858000"/>
              <a:gd name="connsiteX4144" fmla="*/ 1209369 w 5794893"/>
              <a:gd name="connsiteY4144" fmla="*/ 4103793 h 6858000"/>
              <a:gd name="connsiteX4145" fmla="*/ 1210598 w 5794893"/>
              <a:gd name="connsiteY4145" fmla="*/ 4101335 h 6858000"/>
              <a:gd name="connsiteX4146" fmla="*/ 1123337 w 5794893"/>
              <a:gd name="connsiteY4146" fmla="*/ 3991952 h 6858000"/>
              <a:gd name="connsiteX4147" fmla="*/ 887362 w 5794893"/>
              <a:gd name="connsiteY4147" fmla="*/ 3993180 h 6858000"/>
              <a:gd name="connsiteX4148" fmla="*/ 840659 w 5794893"/>
              <a:gd name="connsiteY4148" fmla="*/ 4027593 h 6858000"/>
              <a:gd name="connsiteX4149" fmla="*/ 841887 w 5794893"/>
              <a:gd name="connsiteY4149" fmla="*/ 4030051 h 6858000"/>
              <a:gd name="connsiteX4150" fmla="*/ 840659 w 5794893"/>
              <a:gd name="connsiteY4150" fmla="*/ 4031281 h 6858000"/>
              <a:gd name="connsiteX4151" fmla="*/ 908255 w 5794893"/>
              <a:gd name="connsiteY4151" fmla="*/ 4149268 h 6858000"/>
              <a:gd name="connsiteX4152" fmla="*/ 954959 w 5794893"/>
              <a:gd name="connsiteY4152" fmla="*/ 4114855 h 6858000"/>
              <a:gd name="connsiteX4153" fmla="*/ 953730 w 5794893"/>
              <a:gd name="connsiteY4153" fmla="*/ 4112397 h 6858000"/>
              <a:gd name="connsiteX4154" fmla="*/ 954959 w 5794893"/>
              <a:gd name="connsiteY4154" fmla="*/ 4111167 h 6858000"/>
              <a:gd name="connsiteX4155" fmla="*/ 887362 w 5794893"/>
              <a:gd name="connsiteY4155" fmla="*/ 3993180 h 6858000"/>
              <a:gd name="connsiteX4156" fmla="*/ 415413 w 5794893"/>
              <a:gd name="connsiteY4156" fmla="*/ 4189826 h 6858000"/>
              <a:gd name="connsiteX4157" fmla="*/ 360106 w 5794893"/>
              <a:gd name="connsiteY4157" fmla="*/ 4205804 h 6858000"/>
              <a:gd name="connsiteX4158" fmla="*/ 389603 w 5794893"/>
              <a:gd name="connsiteY4158" fmla="*/ 4343456 h 6858000"/>
              <a:gd name="connsiteX4159" fmla="*/ 444910 w 5794893"/>
              <a:gd name="connsiteY4159" fmla="*/ 4328707 h 6858000"/>
              <a:gd name="connsiteX4160" fmla="*/ 415413 w 5794893"/>
              <a:gd name="connsiteY4160" fmla="*/ 4189826 h 6858000"/>
              <a:gd name="connsiteX4161" fmla="*/ 532171 w 5794893"/>
              <a:gd name="connsiteY4161" fmla="*/ 4189826 h 6858000"/>
              <a:gd name="connsiteX4162" fmla="*/ 479323 w 5794893"/>
              <a:gd name="connsiteY4162" fmla="*/ 4209490 h 6858000"/>
              <a:gd name="connsiteX4163" fmla="*/ 518652 w 5794893"/>
              <a:gd name="connsiteY4163" fmla="*/ 4343456 h 6858000"/>
              <a:gd name="connsiteX4164" fmla="*/ 571500 w 5794893"/>
              <a:gd name="connsiteY4164" fmla="*/ 4323791 h 6858000"/>
              <a:gd name="connsiteX4165" fmla="*/ 532171 w 5794893"/>
              <a:gd name="connsiteY4165" fmla="*/ 4189826 h 6858000"/>
              <a:gd name="connsiteX4166" fmla="*/ 651388 w 5794893"/>
              <a:gd name="connsiteY4166" fmla="*/ 4189826 h 6858000"/>
              <a:gd name="connsiteX4167" fmla="*/ 599769 w 5794893"/>
              <a:gd name="connsiteY4167" fmla="*/ 4214406 h 6858000"/>
              <a:gd name="connsiteX4168" fmla="*/ 648930 w 5794893"/>
              <a:gd name="connsiteY4168" fmla="*/ 4343456 h 6858000"/>
              <a:gd name="connsiteX4169" fmla="*/ 699320 w 5794893"/>
              <a:gd name="connsiteY4169" fmla="*/ 4317645 h 6858000"/>
              <a:gd name="connsiteX4170" fmla="*/ 651388 w 5794893"/>
              <a:gd name="connsiteY4170" fmla="*/ 4189826 h 6858000"/>
              <a:gd name="connsiteX4171" fmla="*/ 769375 w 5794893"/>
              <a:gd name="connsiteY4171" fmla="*/ 4189826 h 6858000"/>
              <a:gd name="connsiteX4172" fmla="*/ 720214 w 5794893"/>
              <a:gd name="connsiteY4172" fmla="*/ 4220552 h 6858000"/>
              <a:gd name="connsiteX4173" fmla="*/ 777978 w 5794893"/>
              <a:gd name="connsiteY4173" fmla="*/ 4343456 h 6858000"/>
              <a:gd name="connsiteX4174" fmla="*/ 827139 w 5794893"/>
              <a:gd name="connsiteY4174" fmla="*/ 4313959 h 6858000"/>
              <a:gd name="connsiteX4175" fmla="*/ 769375 w 5794893"/>
              <a:gd name="connsiteY4175" fmla="*/ 4189826 h 6858000"/>
              <a:gd name="connsiteX4176" fmla="*/ 887362 w 5794893"/>
              <a:gd name="connsiteY4176" fmla="*/ 4189826 h 6858000"/>
              <a:gd name="connsiteX4177" fmla="*/ 840659 w 5794893"/>
              <a:gd name="connsiteY4177" fmla="*/ 4225468 h 6858000"/>
              <a:gd name="connsiteX4178" fmla="*/ 908255 w 5794893"/>
              <a:gd name="connsiteY4178" fmla="*/ 4343456 h 6858000"/>
              <a:gd name="connsiteX4179" fmla="*/ 954959 w 5794893"/>
              <a:gd name="connsiteY4179" fmla="*/ 4309043 h 6858000"/>
              <a:gd name="connsiteX4180" fmla="*/ 887362 w 5794893"/>
              <a:gd name="connsiteY4180" fmla="*/ 4189826 h 6858000"/>
              <a:gd name="connsiteX4181" fmla="*/ 1005350 w 5794893"/>
              <a:gd name="connsiteY4181" fmla="*/ 4189826 h 6858000"/>
              <a:gd name="connsiteX4182" fmla="*/ 959875 w 5794893"/>
              <a:gd name="connsiteY4182" fmla="*/ 4230384 h 6858000"/>
              <a:gd name="connsiteX4183" fmla="*/ 1037304 w 5794893"/>
              <a:gd name="connsiteY4183" fmla="*/ 4343456 h 6858000"/>
              <a:gd name="connsiteX4184" fmla="*/ 1082778 w 5794893"/>
              <a:gd name="connsiteY4184" fmla="*/ 4304126 h 6858000"/>
              <a:gd name="connsiteX4185" fmla="*/ 1005350 w 5794893"/>
              <a:gd name="connsiteY4185" fmla="*/ 4189826 h 6858000"/>
              <a:gd name="connsiteX4186" fmla="*/ 1123337 w 5794893"/>
              <a:gd name="connsiteY4186" fmla="*/ 4189826 h 6858000"/>
              <a:gd name="connsiteX4187" fmla="*/ 1080320 w 5794893"/>
              <a:gd name="connsiteY4187" fmla="*/ 4235301 h 6858000"/>
              <a:gd name="connsiteX4188" fmla="*/ 1167582 w 5794893"/>
              <a:gd name="connsiteY4188" fmla="*/ 4343456 h 6858000"/>
              <a:gd name="connsiteX4189" fmla="*/ 1210598 w 5794893"/>
              <a:gd name="connsiteY4189" fmla="*/ 4299210 h 6858000"/>
              <a:gd name="connsiteX4190" fmla="*/ 1123337 w 5794893"/>
              <a:gd name="connsiteY4190" fmla="*/ 4189826 h 6858000"/>
              <a:gd name="connsiteX4191" fmla="*/ 1241324 w 5794893"/>
              <a:gd name="connsiteY4191" fmla="*/ 4191055 h 6858000"/>
              <a:gd name="connsiteX4192" fmla="*/ 1199537 w 5794893"/>
              <a:gd name="connsiteY4192" fmla="*/ 4240217 h 6858000"/>
              <a:gd name="connsiteX4193" fmla="*/ 1297860 w 5794893"/>
              <a:gd name="connsiteY4193" fmla="*/ 4343456 h 6858000"/>
              <a:gd name="connsiteX4194" fmla="*/ 1338417 w 5794893"/>
              <a:gd name="connsiteY4194" fmla="*/ 4294294 h 6858000"/>
              <a:gd name="connsiteX4195" fmla="*/ 1241324 w 5794893"/>
              <a:gd name="connsiteY4195" fmla="*/ 4191055 h 6858000"/>
              <a:gd name="connsiteX4196" fmla="*/ 1359311 w 5794893"/>
              <a:gd name="connsiteY4196" fmla="*/ 4191055 h 6858000"/>
              <a:gd name="connsiteX4197" fmla="*/ 1319982 w 5794893"/>
              <a:gd name="connsiteY4197" fmla="*/ 4245133 h 6858000"/>
              <a:gd name="connsiteX4198" fmla="*/ 1426908 w 5794893"/>
              <a:gd name="connsiteY4198" fmla="*/ 4343456 h 6858000"/>
              <a:gd name="connsiteX4199" fmla="*/ 1466237 w 5794893"/>
              <a:gd name="connsiteY4199" fmla="*/ 4289378 h 6858000"/>
              <a:gd name="connsiteX4200" fmla="*/ 1359311 w 5794893"/>
              <a:gd name="connsiteY4200" fmla="*/ 4191055 h 6858000"/>
              <a:gd name="connsiteX4201" fmla="*/ 1477299 w 5794893"/>
              <a:gd name="connsiteY4201" fmla="*/ 4191055 h 6858000"/>
              <a:gd name="connsiteX4202" fmla="*/ 1440428 w 5794893"/>
              <a:gd name="connsiteY4202" fmla="*/ 4250049 h 6858000"/>
              <a:gd name="connsiteX4203" fmla="*/ 1557185 w 5794893"/>
              <a:gd name="connsiteY4203" fmla="*/ 4343456 h 6858000"/>
              <a:gd name="connsiteX4204" fmla="*/ 1594056 w 5794893"/>
              <a:gd name="connsiteY4204" fmla="*/ 4284462 h 6858000"/>
              <a:gd name="connsiteX4205" fmla="*/ 1477299 w 5794893"/>
              <a:gd name="connsiteY4205" fmla="*/ 4191055 h 6858000"/>
              <a:gd name="connsiteX4206" fmla="*/ 178209 w 5794893"/>
              <a:gd name="connsiteY4206" fmla="*/ 4191055 h 6858000"/>
              <a:gd name="connsiteX4207" fmla="*/ 119216 w 5794893"/>
              <a:gd name="connsiteY4207" fmla="*/ 4195972 h 6858000"/>
              <a:gd name="connsiteX4208" fmla="*/ 129048 w 5794893"/>
              <a:gd name="connsiteY4208" fmla="*/ 4343456 h 6858000"/>
              <a:gd name="connsiteX4209" fmla="*/ 188042 w 5794893"/>
              <a:gd name="connsiteY4209" fmla="*/ 4339768 h 6858000"/>
              <a:gd name="connsiteX4210" fmla="*/ 178209 w 5794893"/>
              <a:gd name="connsiteY4210" fmla="*/ 4191055 h 6858000"/>
              <a:gd name="connsiteX4211" fmla="*/ 296197 w 5794893"/>
              <a:gd name="connsiteY4211" fmla="*/ 4191055 h 6858000"/>
              <a:gd name="connsiteX4212" fmla="*/ 240891 w 5794893"/>
              <a:gd name="connsiteY4212" fmla="*/ 4200888 h 6858000"/>
              <a:gd name="connsiteX4213" fmla="*/ 259326 w 5794893"/>
              <a:gd name="connsiteY4213" fmla="*/ 4343456 h 6858000"/>
              <a:gd name="connsiteX4214" fmla="*/ 315861 w 5794893"/>
              <a:gd name="connsiteY4214" fmla="*/ 4334852 h 6858000"/>
              <a:gd name="connsiteX4215" fmla="*/ 296197 w 5794893"/>
              <a:gd name="connsiteY4215" fmla="*/ 4191055 h 6858000"/>
              <a:gd name="connsiteX4216" fmla="*/ 651388 w 5794893"/>
              <a:gd name="connsiteY4216" fmla="*/ 4384013 h 6858000"/>
              <a:gd name="connsiteX4217" fmla="*/ 599769 w 5794893"/>
              <a:gd name="connsiteY4217" fmla="*/ 4408594 h 6858000"/>
              <a:gd name="connsiteX4218" fmla="*/ 648930 w 5794893"/>
              <a:gd name="connsiteY4218" fmla="*/ 4537643 h 6858000"/>
              <a:gd name="connsiteX4219" fmla="*/ 699320 w 5794893"/>
              <a:gd name="connsiteY4219" fmla="*/ 4511832 h 6858000"/>
              <a:gd name="connsiteX4220" fmla="*/ 651388 w 5794893"/>
              <a:gd name="connsiteY4220" fmla="*/ 4384013 h 6858000"/>
              <a:gd name="connsiteX4221" fmla="*/ 887362 w 5794893"/>
              <a:gd name="connsiteY4221" fmla="*/ 4384013 h 6858000"/>
              <a:gd name="connsiteX4222" fmla="*/ 840659 w 5794893"/>
              <a:gd name="connsiteY4222" fmla="*/ 4419656 h 6858000"/>
              <a:gd name="connsiteX4223" fmla="*/ 908255 w 5794893"/>
              <a:gd name="connsiteY4223" fmla="*/ 4538871 h 6858000"/>
              <a:gd name="connsiteX4224" fmla="*/ 954959 w 5794893"/>
              <a:gd name="connsiteY4224" fmla="*/ 4503230 h 6858000"/>
              <a:gd name="connsiteX4225" fmla="*/ 887362 w 5794893"/>
              <a:gd name="connsiteY4225" fmla="*/ 4384013 h 6858000"/>
              <a:gd name="connsiteX4226" fmla="*/ 1123337 w 5794893"/>
              <a:gd name="connsiteY4226" fmla="*/ 4384013 h 6858000"/>
              <a:gd name="connsiteX4227" fmla="*/ 1080320 w 5794893"/>
              <a:gd name="connsiteY4227" fmla="*/ 4428258 h 6858000"/>
              <a:gd name="connsiteX4228" fmla="*/ 1167582 w 5794893"/>
              <a:gd name="connsiteY4228" fmla="*/ 4537643 h 6858000"/>
              <a:gd name="connsiteX4229" fmla="*/ 1210598 w 5794893"/>
              <a:gd name="connsiteY4229" fmla="*/ 4493398 h 6858000"/>
              <a:gd name="connsiteX4230" fmla="*/ 1123337 w 5794893"/>
              <a:gd name="connsiteY4230" fmla="*/ 4384013 h 6858000"/>
              <a:gd name="connsiteX4231" fmla="*/ 1240094 w 5794893"/>
              <a:gd name="connsiteY4231" fmla="*/ 4384013 h 6858000"/>
              <a:gd name="connsiteX4232" fmla="*/ 1199537 w 5794893"/>
              <a:gd name="connsiteY4232" fmla="*/ 4433174 h 6858000"/>
              <a:gd name="connsiteX4233" fmla="*/ 1296630 w 5794893"/>
              <a:gd name="connsiteY4233" fmla="*/ 4537643 h 6858000"/>
              <a:gd name="connsiteX4234" fmla="*/ 1338417 w 5794893"/>
              <a:gd name="connsiteY4234" fmla="*/ 4488482 h 6858000"/>
              <a:gd name="connsiteX4235" fmla="*/ 1240094 w 5794893"/>
              <a:gd name="connsiteY4235" fmla="*/ 4384013 h 6858000"/>
              <a:gd name="connsiteX4236" fmla="*/ 1359311 w 5794893"/>
              <a:gd name="connsiteY4236" fmla="*/ 4385243 h 6858000"/>
              <a:gd name="connsiteX4237" fmla="*/ 1319982 w 5794893"/>
              <a:gd name="connsiteY4237" fmla="*/ 4439320 h 6858000"/>
              <a:gd name="connsiteX4238" fmla="*/ 1426908 w 5794893"/>
              <a:gd name="connsiteY4238" fmla="*/ 4537643 h 6858000"/>
              <a:gd name="connsiteX4239" fmla="*/ 1466237 w 5794893"/>
              <a:gd name="connsiteY4239" fmla="*/ 4483565 h 6858000"/>
              <a:gd name="connsiteX4240" fmla="*/ 1359311 w 5794893"/>
              <a:gd name="connsiteY4240" fmla="*/ 4385243 h 6858000"/>
              <a:gd name="connsiteX4241" fmla="*/ 1005350 w 5794893"/>
              <a:gd name="connsiteY4241" fmla="*/ 4385243 h 6858000"/>
              <a:gd name="connsiteX4242" fmla="*/ 959875 w 5794893"/>
              <a:gd name="connsiteY4242" fmla="*/ 4423342 h 6858000"/>
              <a:gd name="connsiteX4243" fmla="*/ 1037304 w 5794893"/>
              <a:gd name="connsiteY4243" fmla="*/ 4537643 h 6858000"/>
              <a:gd name="connsiteX4244" fmla="*/ 1082778 w 5794893"/>
              <a:gd name="connsiteY4244" fmla="*/ 4498314 h 6858000"/>
              <a:gd name="connsiteX4245" fmla="*/ 1005350 w 5794893"/>
              <a:gd name="connsiteY4245" fmla="*/ 4385243 h 6858000"/>
              <a:gd name="connsiteX4246" fmla="*/ 769375 w 5794893"/>
              <a:gd name="connsiteY4246" fmla="*/ 4385243 h 6858000"/>
              <a:gd name="connsiteX4247" fmla="*/ 720214 w 5794893"/>
              <a:gd name="connsiteY4247" fmla="*/ 4413510 h 6858000"/>
              <a:gd name="connsiteX4248" fmla="*/ 777978 w 5794893"/>
              <a:gd name="connsiteY4248" fmla="*/ 4537643 h 6858000"/>
              <a:gd name="connsiteX4249" fmla="*/ 827139 w 5794893"/>
              <a:gd name="connsiteY4249" fmla="*/ 4508146 h 6858000"/>
              <a:gd name="connsiteX4250" fmla="*/ 769375 w 5794893"/>
              <a:gd name="connsiteY4250" fmla="*/ 4385243 h 6858000"/>
              <a:gd name="connsiteX4251" fmla="*/ 178209 w 5794893"/>
              <a:gd name="connsiteY4251" fmla="*/ 4385243 h 6858000"/>
              <a:gd name="connsiteX4252" fmla="*/ 119216 w 5794893"/>
              <a:gd name="connsiteY4252" fmla="*/ 4390159 h 6858000"/>
              <a:gd name="connsiteX4253" fmla="*/ 129048 w 5794893"/>
              <a:gd name="connsiteY4253" fmla="*/ 4538871 h 6858000"/>
              <a:gd name="connsiteX4254" fmla="*/ 188042 w 5794893"/>
              <a:gd name="connsiteY4254" fmla="*/ 4533955 h 6858000"/>
              <a:gd name="connsiteX4255" fmla="*/ 178209 w 5794893"/>
              <a:gd name="connsiteY4255" fmla="*/ 4385243 h 6858000"/>
              <a:gd name="connsiteX4256" fmla="*/ 296197 w 5794893"/>
              <a:gd name="connsiteY4256" fmla="*/ 4385243 h 6858000"/>
              <a:gd name="connsiteX4257" fmla="*/ 239661 w 5794893"/>
              <a:gd name="connsiteY4257" fmla="*/ 4395075 h 6858000"/>
              <a:gd name="connsiteX4258" fmla="*/ 259326 w 5794893"/>
              <a:gd name="connsiteY4258" fmla="*/ 4538871 h 6858000"/>
              <a:gd name="connsiteX4259" fmla="*/ 315861 w 5794893"/>
              <a:gd name="connsiteY4259" fmla="*/ 4529039 h 6858000"/>
              <a:gd name="connsiteX4260" fmla="*/ 296197 w 5794893"/>
              <a:gd name="connsiteY4260" fmla="*/ 4385243 h 6858000"/>
              <a:gd name="connsiteX4261" fmla="*/ 415413 w 5794893"/>
              <a:gd name="connsiteY4261" fmla="*/ 4385243 h 6858000"/>
              <a:gd name="connsiteX4262" fmla="*/ 360106 w 5794893"/>
              <a:gd name="connsiteY4262" fmla="*/ 4399991 h 6858000"/>
              <a:gd name="connsiteX4263" fmla="*/ 389603 w 5794893"/>
              <a:gd name="connsiteY4263" fmla="*/ 4538871 h 6858000"/>
              <a:gd name="connsiteX4264" fmla="*/ 444910 w 5794893"/>
              <a:gd name="connsiteY4264" fmla="*/ 4524123 h 6858000"/>
              <a:gd name="connsiteX4265" fmla="*/ 415413 w 5794893"/>
              <a:gd name="connsiteY4265" fmla="*/ 4385243 h 6858000"/>
              <a:gd name="connsiteX4266" fmla="*/ 532171 w 5794893"/>
              <a:gd name="connsiteY4266" fmla="*/ 4385243 h 6858000"/>
              <a:gd name="connsiteX4267" fmla="*/ 479323 w 5794893"/>
              <a:gd name="connsiteY4267" fmla="*/ 4404907 h 6858000"/>
              <a:gd name="connsiteX4268" fmla="*/ 518652 w 5794893"/>
              <a:gd name="connsiteY4268" fmla="*/ 4538871 h 6858000"/>
              <a:gd name="connsiteX4269" fmla="*/ 571500 w 5794893"/>
              <a:gd name="connsiteY4269" fmla="*/ 4519207 h 6858000"/>
              <a:gd name="connsiteX4270" fmla="*/ 532171 w 5794893"/>
              <a:gd name="connsiteY4270" fmla="*/ 4385243 h 6858000"/>
              <a:gd name="connsiteX4271" fmla="*/ 651388 w 5794893"/>
              <a:gd name="connsiteY4271" fmla="*/ 4578200 h 6858000"/>
              <a:gd name="connsiteX4272" fmla="*/ 599769 w 5794893"/>
              <a:gd name="connsiteY4272" fmla="*/ 4602781 h 6858000"/>
              <a:gd name="connsiteX4273" fmla="*/ 648930 w 5794893"/>
              <a:gd name="connsiteY4273" fmla="*/ 4731830 h 6858000"/>
              <a:gd name="connsiteX4274" fmla="*/ 699320 w 5794893"/>
              <a:gd name="connsiteY4274" fmla="*/ 4706020 h 6858000"/>
              <a:gd name="connsiteX4275" fmla="*/ 651388 w 5794893"/>
              <a:gd name="connsiteY4275" fmla="*/ 4578200 h 6858000"/>
              <a:gd name="connsiteX4276" fmla="*/ 769375 w 5794893"/>
              <a:gd name="connsiteY4276" fmla="*/ 4579430 h 6858000"/>
              <a:gd name="connsiteX4277" fmla="*/ 720214 w 5794893"/>
              <a:gd name="connsiteY4277" fmla="*/ 4607697 h 6858000"/>
              <a:gd name="connsiteX4278" fmla="*/ 777978 w 5794893"/>
              <a:gd name="connsiteY4278" fmla="*/ 4731830 h 6858000"/>
              <a:gd name="connsiteX4279" fmla="*/ 827139 w 5794893"/>
              <a:gd name="connsiteY4279" fmla="*/ 4702333 h 6858000"/>
              <a:gd name="connsiteX4280" fmla="*/ 769375 w 5794893"/>
              <a:gd name="connsiteY4280" fmla="*/ 4579430 h 6858000"/>
              <a:gd name="connsiteX4281" fmla="*/ 887362 w 5794893"/>
              <a:gd name="connsiteY4281" fmla="*/ 4579430 h 6858000"/>
              <a:gd name="connsiteX4282" fmla="*/ 840659 w 5794893"/>
              <a:gd name="connsiteY4282" fmla="*/ 4613843 h 6858000"/>
              <a:gd name="connsiteX4283" fmla="*/ 908255 w 5794893"/>
              <a:gd name="connsiteY4283" fmla="*/ 4733059 h 6858000"/>
              <a:gd name="connsiteX4284" fmla="*/ 954959 w 5794893"/>
              <a:gd name="connsiteY4284" fmla="*/ 4697417 h 6858000"/>
              <a:gd name="connsiteX4285" fmla="*/ 887362 w 5794893"/>
              <a:gd name="connsiteY4285" fmla="*/ 4579430 h 6858000"/>
              <a:gd name="connsiteX4286" fmla="*/ 1005350 w 5794893"/>
              <a:gd name="connsiteY4286" fmla="*/ 4579430 h 6858000"/>
              <a:gd name="connsiteX4287" fmla="*/ 959875 w 5794893"/>
              <a:gd name="connsiteY4287" fmla="*/ 4618759 h 6858000"/>
              <a:gd name="connsiteX4288" fmla="*/ 1037304 w 5794893"/>
              <a:gd name="connsiteY4288" fmla="*/ 4731830 h 6858000"/>
              <a:gd name="connsiteX4289" fmla="*/ 1082778 w 5794893"/>
              <a:gd name="connsiteY4289" fmla="*/ 4692501 h 6858000"/>
              <a:gd name="connsiteX4290" fmla="*/ 1005350 w 5794893"/>
              <a:gd name="connsiteY4290" fmla="*/ 4579430 h 6858000"/>
              <a:gd name="connsiteX4291" fmla="*/ 1123337 w 5794893"/>
              <a:gd name="connsiteY4291" fmla="*/ 4579430 h 6858000"/>
              <a:gd name="connsiteX4292" fmla="*/ 1080320 w 5794893"/>
              <a:gd name="connsiteY4292" fmla="*/ 4623675 h 6858000"/>
              <a:gd name="connsiteX4293" fmla="*/ 1167582 w 5794893"/>
              <a:gd name="connsiteY4293" fmla="*/ 4733059 h 6858000"/>
              <a:gd name="connsiteX4294" fmla="*/ 1210598 w 5794893"/>
              <a:gd name="connsiteY4294" fmla="*/ 4688813 h 6858000"/>
              <a:gd name="connsiteX4295" fmla="*/ 1123337 w 5794893"/>
              <a:gd name="connsiteY4295" fmla="*/ 4579430 h 6858000"/>
              <a:gd name="connsiteX4296" fmla="*/ 1240094 w 5794893"/>
              <a:gd name="connsiteY4296" fmla="*/ 4579430 h 6858000"/>
              <a:gd name="connsiteX4297" fmla="*/ 1199537 w 5794893"/>
              <a:gd name="connsiteY4297" fmla="*/ 4628591 h 6858000"/>
              <a:gd name="connsiteX4298" fmla="*/ 1296630 w 5794893"/>
              <a:gd name="connsiteY4298" fmla="*/ 4733059 h 6858000"/>
              <a:gd name="connsiteX4299" fmla="*/ 1338417 w 5794893"/>
              <a:gd name="connsiteY4299" fmla="*/ 4683897 h 6858000"/>
              <a:gd name="connsiteX4300" fmla="*/ 1240094 w 5794893"/>
              <a:gd name="connsiteY4300" fmla="*/ 4579430 h 6858000"/>
              <a:gd name="connsiteX4301" fmla="*/ 1359311 w 5794893"/>
              <a:gd name="connsiteY4301" fmla="*/ 4579430 h 6858000"/>
              <a:gd name="connsiteX4302" fmla="*/ 1319982 w 5794893"/>
              <a:gd name="connsiteY4302" fmla="*/ 4633507 h 6858000"/>
              <a:gd name="connsiteX4303" fmla="*/ 1426908 w 5794893"/>
              <a:gd name="connsiteY4303" fmla="*/ 4731830 h 6858000"/>
              <a:gd name="connsiteX4304" fmla="*/ 1466237 w 5794893"/>
              <a:gd name="connsiteY4304" fmla="*/ 4677753 h 6858000"/>
              <a:gd name="connsiteX4305" fmla="*/ 1359311 w 5794893"/>
              <a:gd name="connsiteY4305" fmla="*/ 4579430 h 6858000"/>
              <a:gd name="connsiteX4306" fmla="*/ 178209 w 5794893"/>
              <a:gd name="connsiteY4306" fmla="*/ 4579430 h 6858000"/>
              <a:gd name="connsiteX4307" fmla="*/ 119216 w 5794893"/>
              <a:gd name="connsiteY4307" fmla="*/ 4584346 h 6858000"/>
              <a:gd name="connsiteX4308" fmla="*/ 129048 w 5794893"/>
              <a:gd name="connsiteY4308" fmla="*/ 4733059 h 6858000"/>
              <a:gd name="connsiteX4309" fmla="*/ 188042 w 5794893"/>
              <a:gd name="connsiteY4309" fmla="*/ 4728142 h 6858000"/>
              <a:gd name="connsiteX4310" fmla="*/ 178209 w 5794893"/>
              <a:gd name="connsiteY4310" fmla="*/ 4579430 h 6858000"/>
              <a:gd name="connsiteX4311" fmla="*/ 296197 w 5794893"/>
              <a:gd name="connsiteY4311" fmla="*/ 4579430 h 6858000"/>
              <a:gd name="connsiteX4312" fmla="*/ 239661 w 5794893"/>
              <a:gd name="connsiteY4312" fmla="*/ 4589262 h 6858000"/>
              <a:gd name="connsiteX4313" fmla="*/ 259326 w 5794893"/>
              <a:gd name="connsiteY4313" fmla="*/ 4733059 h 6858000"/>
              <a:gd name="connsiteX4314" fmla="*/ 315861 w 5794893"/>
              <a:gd name="connsiteY4314" fmla="*/ 4723226 h 6858000"/>
              <a:gd name="connsiteX4315" fmla="*/ 296197 w 5794893"/>
              <a:gd name="connsiteY4315" fmla="*/ 4579430 h 6858000"/>
              <a:gd name="connsiteX4316" fmla="*/ 415413 w 5794893"/>
              <a:gd name="connsiteY4316" fmla="*/ 4579430 h 6858000"/>
              <a:gd name="connsiteX4317" fmla="*/ 360106 w 5794893"/>
              <a:gd name="connsiteY4317" fmla="*/ 4594178 h 6858000"/>
              <a:gd name="connsiteX4318" fmla="*/ 389603 w 5794893"/>
              <a:gd name="connsiteY4318" fmla="*/ 4733059 h 6858000"/>
              <a:gd name="connsiteX4319" fmla="*/ 444910 w 5794893"/>
              <a:gd name="connsiteY4319" fmla="*/ 4718310 h 6858000"/>
              <a:gd name="connsiteX4320" fmla="*/ 415413 w 5794893"/>
              <a:gd name="connsiteY4320" fmla="*/ 4579430 h 6858000"/>
              <a:gd name="connsiteX4321" fmla="*/ 532171 w 5794893"/>
              <a:gd name="connsiteY4321" fmla="*/ 4580658 h 6858000"/>
              <a:gd name="connsiteX4322" fmla="*/ 479323 w 5794893"/>
              <a:gd name="connsiteY4322" fmla="*/ 4600323 h 6858000"/>
              <a:gd name="connsiteX4323" fmla="*/ 518652 w 5794893"/>
              <a:gd name="connsiteY4323" fmla="*/ 4733059 h 6858000"/>
              <a:gd name="connsiteX4324" fmla="*/ 571500 w 5794893"/>
              <a:gd name="connsiteY4324" fmla="*/ 4714624 h 6858000"/>
              <a:gd name="connsiteX4325" fmla="*/ 532171 w 5794893"/>
              <a:gd name="connsiteY4325" fmla="*/ 4580658 h 6858000"/>
              <a:gd name="connsiteX4326" fmla="*/ 415413 w 5794893"/>
              <a:gd name="connsiteY4326" fmla="*/ 4772388 h 6858000"/>
              <a:gd name="connsiteX4327" fmla="*/ 360106 w 5794893"/>
              <a:gd name="connsiteY4327" fmla="*/ 4788366 h 6858000"/>
              <a:gd name="connsiteX4328" fmla="*/ 389603 w 5794893"/>
              <a:gd name="connsiteY4328" fmla="*/ 4927246 h 6858000"/>
              <a:gd name="connsiteX4329" fmla="*/ 444910 w 5794893"/>
              <a:gd name="connsiteY4329" fmla="*/ 4911269 h 6858000"/>
              <a:gd name="connsiteX4330" fmla="*/ 415413 w 5794893"/>
              <a:gd name="connsiteY4330" fmla="*/ 4772388 h 6858000"/>
              <a:gd name="connsiteX4331" fmla="*/ 532171 w 5794893"/>
              <a:gd name="connsiteY4331" fmla="*/ 4773617 h 6858000"/>
              <a:gd name="connsiteX4332" fmla="*/ 479323 w 5794893"/>
              <a:gd name="connsiteY4332" fmla="*/ 4794510 h 6858000"/>
              <a:gd name="connsiteX4333" fmla="*/ 518652 w 5794893"/>
              <a:gd name="connsiteY4333" fmla="*/ 4927246 h 6858000"/>
              <a:gd name="connsiteX4334" fmla="*/ 571500 w 5794893"/>
              <a:gd name="connsiteY4334" fmla="*/ 4907581 h 6858000"/>
              <a:gd name="connsiteX4335" fmla="*/ 532171 w 5794893"/>
              <a:gd name="connsiteY4335" fmla="*/ 4773617 h 6858000"/>
              <a:gd name="connsiteX4336" fmla="*/ 651388 w 5794893"/>
              <a:gd name="connsiteY4336" fmla="*/ 4773617 h 6858000"/>
              <a:gd name="connsiteX4337" fmla="*/ 599769 w 5794893"/>
              <a:gd name="connsiteY4337" fmla="*/ 4798198 h 6858000"/>
              <a:gd name="connsiteX4338" fmla="*/ 648930 w 5794893"/>
              <a:gd name="connsiteY4338" fmla="*/ 4927246 h 6858000"/>
              <a:gd name="connsiteX4339" fmla="*/ 699320 w 5794893"/>
              <a:gd name="connsiteY4339" fmla="*/ 4902665 h 6858000"/>
              <a:gd name="connsiteX4340" fmla="*/ 651388 w 5794893"/>
              <a:gd name="connsiteY4340" fmla="*/ 4773617 h 6858000"/>
              <a:gd name="connsiteX4341" fmla="*/ 769375 w 5794893"/>
              <a:gd name="connsiteY4341" fmla="*/ 4773617 h 6858000"/>
              <a:gd name="connsiteX4342" fmla="*/ 721442 w 5794893"/>
              <a:gd name="connsiteY4342" fmla="*/ 4803114 h 6858000"/>
              <a:gd name="connsiteX4343" fmla="*/ 779207 w 5794893"/>
              <a:gd name="connsiteY4343" fmla="*/ 4927246 h 6858000"/>
              <a:gd name="connsiteX4344" fmla="*/ 828369 w 5794893"/>
              <a:gd name="connsiteY4344" fmla="*/ 4897749 h 6858000"/>
              <a:gd name="connsiteX4345" fmla="*/ 769375 w 5794893"/>
              <a:gd name="connsiteY4345" fmla="*/ 4773617 h 6858000"/>
              <a:gd name="connsiteX4346" fmla="*/ 887362 w 5794893"/>
              <a:gd name="connsiteY4346" fmla="*/ 4773617 h 6858000"/>
              <a:gd name="connsiteX4347" fmla="*/ 840659 w 5794893"/>
              <a:gd name="connsiteY4347" fmla="*/ 4808030 h 6858000"/>
              <a:gd name="connsiteX4348" fmla="*/ 908255 w 5794893"/>
              <a:gd name="connsiteY4348" fmla="*/ 4927246 h 6858000"/>
              <a:gd name="connsiteX4349" fmla="*/ 954959 w 5794893"/>
              <a:gd name="connsiteY4349" fmla="*/ 4892833 h 6858000"/>
              <a:gd name="connsiteX4350" fmla="*/ 887362 w 5794893"/>
              <a:gd name="connsiteY4350" fmla="*/ 4773617 h 6858000"/>
              <a:gd name="connsiteX4351" fmla="*/ 1005350 w 5794893"/>
              <a:gd name="connsiteY4351" fmla="*/ 4773617 h 6858000"/>
              <a:gd name="connsiteX4352" fmla="*/ 959875 w 5794893"/>
              <a:gd name="connsiteY4352" fmla="*/ 4812946 h 6858000"/>
              <a:gd name="connsiteX4353" fmla="*/ 1037304 w 5794893"/>
              <a:gd name="connsiteY4353" fmla="*/ 4926017 h 6858000"/>
              <a:gd name="connsiteX4354" fmla="*/ 1082778 w 5794893"/>
              <a:gd name="connsiteY4354" fmla="*/ 4886688 h 6858000"/>
              <a:gd name="connsiteX4355" fmla="*/ 1005350 w 5794893"/>
              <a:gd name="connsiteY4355" fmla="*/ 4773617 h 6858000"/>
              <a:gd name="connsiteX4356" fmla="*/ 1123337 w 5794893"/>
              <a:gd name="connsiteY4356" fmla="*/ 4773617 h 6858000"/>
              <a:gd name="connsiteX4357" fmla="*/ 1080320 w 5794893"/>
              <a:gd name="connsiteY4357" fmla="*/ 4817863 h 6858000"/>
              <a:gd name="connsiteX4358" fmla="*/ 1167582 w 5794893"/>
              <a:gd name="connsiteY4358" fmla="*/ 4927246 h 6858000"/>
              <a:gd name="connsiteX4359" fmla="*/ 1210598 w 5794893"/>
              <a:gd name="connsiteY4359" fmla="*/ 4883001 h 6858000"/>
              <a:gd name="connsiteX4360" fmla="*/ 1123337 w 5794893"/>
              <a:gd name="connsiteY4360" fmla="*/ 4773617 h 6858000"/>
              <a:gd name="connsiteX4361" fmla="*/ 1240094 w 5794893"/>
              <a:gd name="connsiteY4361" fmla="*/ 4773617 h 6858000"/>
              <a:gd name="connsiteX4362" fmla="*/ 1199537 w 5794893"/>
              <a:gd name="connsiteY4362" fmla="*/ 4822779 h 6858000"/>
              <a:gd name="connsiteX4363" fmla="*/ 1296630 w 5794893"/>
              <a:gd name="connsiteY4363" fmla="*/ 4927246 h 6858000"/>
              <a:gd name="connsiteX4364" fmla="*/ 1338417 w 5794893"/>
              <a:gd name="connsiteY4364" fmla="*/ 4878085 h 6858000"/>
              <a:gd name="connsiteX4365" fmla="*/ 1240094 w 5794893"/>
              <a:gd name="connsiteY4365" fmla="*/ 4773617 h 6858000"/>
              <a:gd name="connsiteX4366" fmla="*/ 1359311 w 5794893"/>
              <a:gd name="connsiteY4366" fmla="*/ 4773617 h 6858000"/>
              <a:gd name="connsiteX4367" fmla="*/ 1319982 w 5794893"/>
              <a:gd name="connsiteY4367" fmla="*/ 4827695 h 6858000"/>
              <a:gd name="connsiteX4368" fmla="*/ 1426908 w 5794893"/>
              <a:gd name="connsiteY4368" fmla="*/ 4926017 h 6858000"/>
              <a:gd name="connsiteX4369" fmla="*/ 1466237 w 5794893"/>
              <a:gd name="connsiteY4369" fmla="*/ 4873168 h 6858000"/>
              <a:gd name="connsiteX4370" fmla="*/ 1359311 w 5794893"/>
              <a:gd name="connsiteY4370" fmla="*/ 4773617 h 6858000"/>
              <a:gd name="connsiteX4371" fmla="*/ 178209 w 5794893"/>
              <a:gd name="connsiteY4371" fmla="*/ 4773617 h 6858000"/>
              <a:gd name="connsiteX4372" fmla="*/ 119216 w 5794893"/>
              <a:gd name="connsiteY4372" fmla="*/ 4778533 h 6858000"/>
              <a:gd name="connsiteX4373" fmla="*/ 129048 w 5794893"/>
              <a:gd name="connsiteY4373" fmla="*/ 4927246 h 6858000"/>
              <a:gd name="connsiteX4374" fmla="*/ 188042 w 5794893"/>
              <a:gd name="connsiteY4374" fmla="*/ 4922330 h 6858000"/>
              <a:gd name="connsiteX4375" fmla="*/ 178209 w 5794893"/>
              <a:gd name="connsiteY4375" fmla="*/ 4773617 h 6858000"/>
              <a:gd name="connsiteX4376" fmla="*/ 296197 w 5794893"/>
              <a:gd name="connsiteY4376" fmla="*/ 4773617 h 6858000"/>
              <a:gd name="connsiteX4377" fmla="*/ 239661 w 5794893"/>
              <a:gd name="connsiteY4377" fmla="*/ 4783450 h 6858000"/>
              <a:gd name="connsiteX4378" fmla="*/ 259326 w 5794893"/>
              <a:gd name="connsiteY4378" fmla="*/ 4927246 h 6858000"/>
              <a:gd name="connsiteX4379" fmla="*/ 315861 w 5794893"/>
              <a:gd name="connsiteY4379" fmla="*/ 4917414 h 6858000"/>
              <a:gd name="connsiteX4380" fmla="*/ 296197 w 5794893"/>
              <a:gd name="connsiteY4380" fmla="*/ 4773617 h 6858000"/>
              <a:gd name="connsiteX4381" fmla="*/ 178209 w 5794893"/>
              <a:gd name="connsiteY4381" fmla="*/ 4967805 h 6858000"/>
              <a:gd name="connsiteX4382" fmla="*/ 119216 w 5794893"/>
              <a:gd name="connsiteY4382" fmla="*/ 4972721 h 6858000"/>
              <a:gd name="connsiteX4383" fmla="*/ 129048 w 5794893"/>
              <a:gd name="connsiteY4383" fmla="*/ 5121433 h 6858000"/>
              <a:gd name="connsiteX4384" fmla="*/ 188042 w 5794893"/>
              <a:gd name="connsiteY4384" fmla="*/ 5116517 h 6858000"/>
              <a:gd name="connsiteX4385" fmla="*/ 178209 w 5794893"/>
              <a:gd name="connsiteY4385" fmla="*/ 4967805 h 6858000"/>
              <a:gd name="connsiteX4386" fmla="*/ 296197 w 5794893"/>
              <a:gd name="connsiteY4386" fmla="*/ 4967805 h 6858000"/>
              <a:gd name="connsiteX4387" fmla="*/ 239661 w 5794893"/>
              <a:gd name="connsiteY4387" fmla="*/ 4977637 h 6858000"/>
              <a:gd name="connsiteX4388" fmla="*/ 259326 w 5794893"/>
              <a:gd name="connsiteY4388" fmla="*/ 5121433 h 6858000"/>
              <a:gd name="connsiteX4389" fmla="*/ 315861 w 5794893"/>
              <a:gd name="connsiteY4389" fmla="*/ 5111601 h 6858000"/>
              <a:gd name="connsiteX4390" fmla="*/ 296197 w 5794893"/>
              <a:gd name="connsiteY4390" fmla="*/ 4967805 h 6858000"/>
              <a:gd name="connsiteX4391" fmla="*/ 651388 w 5794893"/>
              <a:gd name="connsiteY4391" fmla="*/ 4967805 h 6858000"/>
              <a:gd name="connsiteX4392" fmla="*/ 599769 w 5794893"/>
              <a:gd name="connsiteY4392" fmla="*/ 4992385 h 6858000"/>
              <a:gd name="connsiteX4393" fmla="*/ 648930 w 5794893"/>
              <a:gd name="connsiteY4393" fmla="*/ 5121433 h 6858000"/>
              <a:gd name="connsiteX4394" fmla="*/ 699320 w 5794893"/>
              <a:gd name="connsiteY4394" fmla="*/ 5095624 h 6858000"/>
              <a:gd name="connsiteX4395" fmla="*/ 651388 w 5794893"/>
              <a:gd name="connsiteY4395" fmla="*/ 4967805 h 6858000"/>
              <a:gd name="connsiteX4396" fmla="*/ 769375 w 5794893"/>
              <a:gd name="connsiteY4396" fmla="*/ 4967805 h 6858000"/>
              <a:gd name="connsiteX4397" fmla="*/ 720214 w 5794893"/>
              <a:gd name="connsiteY4397" fmla="*/ 4998530 h 6858000"/>
              <a:gd name="connsiteX4398" fmla="*/ 777978 w 5794893"/>
              <a:gd name="connsiteY4398" fmla="*/ 5121433 h 6858000"/>
              <a:gd name="connsiteX4399" fmla="*/ 827139 w 5794893"/>
              <a:gd name="connsiteY4399" fmla="*/ 5091936 h 6858000"/>
              <a:gd name="connsiteX4400" fmla="*/ 769375 w 5794893"/>
              <a:gd name="connsiteY4400" fmla="*/ 4967805 h 6858000"/>
              <a:gd name="connsiteX4401" fmla="*/ 887362 w 5794893"/>
              <a:gd name="connsiteY4401" fmla="*/ 4967805 h 6858000"/>
              <a:gd name="connsiteX4402" fmla="*/ 840659 w 5794893"/>
              <a:gd name="connsiteY4402" fmla="*/ 5002218 h 6858000"/>
              <a:gd name="connsiteX4403" fmla="*/ 908255 w 5794893"/>
              <a:gd name="connsiteY4403" fmla="*/ 5121433 h 6858000"/>
              <a:gd name="connsiteX4404" fmla="*/ 954959 w 5794893"/>
              <a:gd name="connsiteY4404" fmla="*/ 5087020 h 6858000"/>
              <a:gd name="connsiteX4405" fmla="*/ 887362 w 5794893"/>
              <a:gd name="connsiteY4405" fmla="*/ 4967805 h 6858000"/>
              <a:gd name="connsiteX4406" fmla="*/ 1005350 w 5794893"/>
              <a:gd name="connsiteY4406" fmla="*/ 4967805 h 6858000"/>
              <a:gd name="connsiteX4407" fmla="*/ 959875 w 5794893"/>
              <a:gd name="connsiteY4407" fmla="*/ 5007134 h 6858000"/>
              <a:gd name="connsiteX4408" fmla="*/ 1037304 w 5794893"/>
              <a:gd name="connsiteY4408" fmla="*/ 5120205 h 6858000"/>
              <a:gd name="connsiteX4409" fmla="*/ 1082778 w 5794893"/>
              <a:gd name="connsiteY4409" fmla="*/ 5080876 h 6858000"/>
              <a:gd name="connsiteX4410" fmla="*/ 1005350 w 5794893"/>
              <a:gd name="connsiteY4410" fmla="*/ 4967805 h 6858000"/>
              <a:gd name="connsiteX4411" fmla="*/ 1123337 w 5794893"/>
              <a:gd name="connsiteY4411" fmla="*/ 4969033 h 6858000"/>
              <a:gd name="connsiteX4412" fmla="*/ 1080320 w 5794893"/>
              <a:gd name="connsiteY4412" fmla="*/ 5013278 h 6858000"/>
              <a:gd name="connsiteX4413" fmla="*/ 1167582 w 5794893"/>
              <a:gd name="connsiteY4413" fmla="*/ 5121433 h 6858000"/>
              <a:gd name="connsiteX4414" fmla="*/ 1210598 w 5794893"/>
              <a:gd name="connsiteY4414" fmla="*/ 5077188 h 6858000"/>
              <a:gd name="connsiteX4415" fmla="*/ 1123337 w 5794893"/>
              <a:gd name="connsiteY4415" fmla="*/ 4969033 h 6858000"/>
              <a:gd name="connsiteX4416" fmla="*/ 1241324 w 5794893"/>
              <a:gd name="connsiteY4416" fmla="*/ 4969033 h 6858000"/>
              <a:gd name="connsiteX4417" fmla="*/ 1200765 w 5794893"/>
              <a:gd name="connsiteY4417" fmla="*/ 5018194 h 6858000"/>
              <a:gd name="connsiteX4418" fmla="*/ 1297860 w 5794893"/>
              <a:gd name="connsiteY4418" fmla="*/ 5121433 h 6858000"/>
              <a:gd name="connsiteX4419" fmla="*/ 1338417 w 5794893"/>
              <a:gd name="connsiteY4419" fmla="*/ 5072272 h 6858000"/>
              <a:gd name="connsiteX4420" fmla="*/ 1241324 w 5794893"/>
              <a:gd name="connsiteY4420" fmla="*/ 4969033 h 6858000"/>
              <a:gd name="connsiteX4421" fmla="*/ 1359311 w 5794893"/>
              <a:gd name="connsiteY4421" fmla="*/ 4969033 h 6858000"/>
              <a:gd name="connsiteX4422" fmla="*/ 1319982 w 5794893"/>
              <a:gd name="connsiteY4422" fmla="*/ 5023110 h 6858000"/>
              <a:gd name="connsiteX4423" fmla="*/ 1426908 w 5794893"/>
              <a:gd name="connsiteY4423" fmla="*/ 5121433 h 6858000"/>
              <a:gd name="connsiteX4424" fmla="*/ 1466237 w 5794893"/>
              <a:gd name="connsiteY4424" fmla="*/ 5067356 h 6858000"/>
              <a:gd name="connsiteX4425" fmla="*/ 1359311 w 5794893"/>
              <a:gd name="connsiteY4425" fmla="*/ 4969033 h 6858000"/>
              <a:gd name="connsiteX4426" fmla="*/ 415413 w 5794893"/>
              <a:gd name="connsiteY4426" fmla="*/ 4969033 h 6858000"/>
              <a:gd name="connsiteX4427" fmla="*/ 360106 w 5794893"/>
              <a:gd name="connsiteY4427" fmla="*/ 4983781 h 6858000"/>
              <a:gd name="connsiteX4428" fmla="*/ 389603 w 5794893"/>
              <a:gd name="connsiteY4428" fmla="*/ 5122663 h 6858000"/>
              <a:gd name="connsiteX4429" fmla="*/ 444910 w 5794893"/>
              <a:gd name="connsiteY4429" fmla="*/ 5107914 h 6858000"/>
              <a:gd name="connsiteX4430" fmla="*/ 415413 w 5794893"/>
              <a:gd name="connsiteY4430" fmla="*/ 4969033 h 6858000"/>
              <a:gd name="connsiteX4431" fmla="*/ 532171 w 5794893"/>
              <a:gd name="connsiteY4431" fmla="*/ 4969033 h 6858000"/>
              <a:gd name="connsiteX4432" fmla="*/ 479323 w 5794893"/>
              <a:gd name="connsiteY4432" fmla="*/ 4988698 h 6858000"/>
              <a:gd name="connsiteX4433" fmla="*/ 518652 w 5794893"/>
              <a:gd name="connsiteY4433" fmla="*/ 5122663 h 6858000"/>
              <a:gd name="connsiteX4434" fmla="*/ 571500 w 5794893"/>
              <a:gd name="connsiteY4434" fmla="*/ 5102998 h 6858000"/>
              <a:gd name="connsiteX4435" fmla="*/ 532171 w 5794893"/>
              <a:gd name="connsiteY4435" fmla="*/ 4969033 h 6858000"/>
              <a:gd name="connsiteX4436" fmla="*/ 178209 w 5794893"/>
              <a:gd name="connsiteY4436" fmla="*/ 5161992 h 6858000"/>
              <a:gd name="connsiteX4437" fmla="*/ 119216 w 5794893"/>
              <a:gd name="connsiteY4437" fmla="*/ 5166908 h 6858000"/>
              <a:gd name="connsiteX4438" fmla="*/ 129048 w 5794893"/>
              <a:gd name="connsiteY4438" fmla="*/ 5315620 h 6858000"/>
              <a:gd name="connsiteX4439" fmla="*/ 188042 w 5794893"/>
              <a:gd name="connsiteY4439" fmla="*/ 5310704 h 6858000"/>
              <a:gd name="connsiteX4440" fmla="*/ 178209 w 5794893"/>
              <a:gd name="connsiteY4440" fmla="*/ 5161992 h 6858000"/>
              <a:gd name="connsiteX4441" fmla="*/ 296197 w 5794893"/>
              <a:gd name="connsiteY4441" fmla="*/ 5161992 h 6858000"/>
              <a:gd name="connsiteX4442" fmla="*/ 239661 w 5794893"/>
              <a:gd name="connsiteY4442" fmla="*/ 5171824 h 6858000"/>
              <a:gd name="connsiteX4443" fmla="*/ 259326 w 5794893"/>
              <a:gd name="connsiteY4443" fmla="*/ 5315620 h 6858000"/>
              <a:gd name="connsiteX4444" fmla="*/ 315861 w 5794893"/>
              <a:gd name="connsiteY4444" fmla="*/ 5305788 h 6858000"/>
              <a:gd name="connsiteX4445" fmla="*/ 296197 w 5794893"/>
              <a:gd name="connsiteY4445" fmla="*/ 5161992 h 6858000"/>
              <a:gd name="connsiteX4446" fmla="*/ 651388 w 5794893"/>
              <a:gd name="connsiteY4446" fmla="*/ 5161992 h 6858000"/>
              <a:gd name="connsiteX4447" fmla="*/ 599769 w 5794893"/>
              <a:gd name="connsiteY4447" fmla="*/ 5186573 h 6858000"/>
              <a:gd name="connsiteX4448" fmla="*/ 648930 w 5794893"/>
              <a:gd name="connsiteY4448" fmla="*/ 5315620 h 6858000"/>
              <a:gd name="connsiteX4449" fmla="*/ 699320 w 5794893"/>
              <a:gd name="connsiteY4449" fmla="*/ 5291040 h 6858000"/>
              <a:gd name="connsiteX4450" fmla="*/ 651388 w 5794893"/>
              <a:gd name="connsiteY4450" fmla="*/ 5161992 h 6858000"/>
              <a:gd name="connsiteX4451" fmla="*/ 769375 w 5794893"/>
              <a:gd name="connsiteY4451" fmla="*/ 5161992 h 6858000"/>
              <a:gd name="connsiteX4452" fmla="*/ 720214 w 5794893"/>
              <a:gd name="connsiteY4452" fmla="*/ 5192717 h 6858000"/>
              <a:gd name="connsiteX4453" fmla="*/ 777978 w 5794893"/>
              <a:gd name="connsiteY4453" fmla="*/ 5315620 h 6858000"/>
              <a:gd name="connsiteX4454" fmla="*/ 827139 w 5794893"/>
              <a:gd name="connsiteY4454" fmla="*/ 5286124 h 6858000"/>
              <a:gd name="connsiteX4455" fmla="*/ 769375 w 5794893"/>
              <a:gd name="connsiteY4455" fmla="*/ 5161992 h 6858000"/>
              <a:gd name="connsiteX4456" fmla="*/ 1359311 w 5794893"/>
              <a:gd name="connsiteY4456" fmla="*/ 5161992 h 6858000"/>
              <a:gd name="connsiteX4457" fmla="*/ 1319982 w 5794893"/>
              <a:gd name="connsiteY4457" fmla="*/ 5217298 h 6858000"/>
              <a:gd name="connsiteX4458" fmla="*/ 1426908 w 5794893"/>
              <a:gd name="connsiteY4458" fmla="*/ 5314392 h 6858000"/>
              <a:gd name="connsiteX4459" fmla="*/ 1466237 w 5794893"/>
              <a:gd name="connsiteY4459" fmla="*/ 5260315 h 6858000"/>
              <a:gd name="connsiteX4460" fmla="*/ 1359311 w 5794893"/>
              <a:gd name="connsiteY4460" fmla="*/ 5161992 h 6858000"/>
              <a:gd name="connsiteX4461" fmla="*/ 1476069 w 5794893"/>
              <a:gd name="connsiteY4461" fmla="*/ 5163220 h 6858000"/>
              <a:gd name="connsiteX4462" fmla="*/ 1439198 w 5794893"/>
              <a:gd name="connsiteY4462" fmla="*/ 5222214 h 6858000"/>
              <a:gd name="connsiteX4463" fmla="*/ 1555957 w 5794893"/>
              <a:gd name="connsiteY4463" fmla="*/ 5315620 h 6858000"/>
              <a:gd name="connsiteX4464" fmla="*/ 1592828 w 5794893"/>
              <a:gd name="connsiteY4464" fmla="*/ 5256627 h 6858000"/>
              <a:gd name="connsiteX4465" fmla="*/ 1476069 w 5794893"/>
              <a:gd name="connsiteY4465" fmla="*/ 5163220 h 6858000"/>
              <a:gd name="connsiteX4466" fmla="*/ 887362 w 5794893"/>
              <a:gd name="connsiteY4466" fmla="*/ 5163220 h 6858000"/>
              <a:gd name="connsiteX4467" fmla="*/ 840659 w 5794893"/>
              <a:gd name="connsiteY4467" fmla="*/ 5197633 h 6858000"/>
              <a:gd name="connsiteX4468" fmla="*/ 908255 w 5794893"/>
              <a:gd name="connsiteY4468" fmla="*/ 5315620 h 6858000"/>
              <a:gd name="connsiteX4469" fmla="*/ 954959 w 5794893"/>
              <a:gd name="connsiteY4469" fmla="*/ 5282437 h 6858000"/>
              <a:gd name="connsiteX4470" fmla="*/ 887362 w 5794893"/>
              <a:gd name="connsiteY4470" fmla="*/ 5163220 h 6858000"/>
              <a:gd name="connsiteX4471" fmla="*/ 1005350 w 5794893"/>
              <a:gd name="connsiteY4471" fmla="*/ 5163220 h 6858000"/>
              <a:gd name="connsiteX4472" fmla="*/ 959875 w 5794893"/>
              <a:gd name="connsiteY4472" fmla="*/ 5202549 h 6858000"/>
              <a:gd name="connsiteX4473" fmla="*/ 1037304 w 5794893"/>
              <a:gd name="connsiteY4473" fmla="*/ 5315620 h 6858000"/>
              <a:gd name="connsiteX4474" fmla="*/ 1082778 w 5794893"/>
              <a:gd name="connsiteY4474" fmla="*/ 5276291 h 6858000"/>
              <a:gd name="connsiteX4475" fmla="*/ 1005350 w 5794893"/>
              <a:gd name="connsiteY4475" fmla="*/ 5163220 h 6858000"/>
              <a:gd name="connsiteX4476" fmla="*/ 1123337 w 5794893"/>
              <a:gd name="connsiteY4476" fmla="*/ 5163220 h 6858000"/>
              <a:gd name="connsiteX4477" fmla="*/ 1080320 w 5794893"/>
              <a:gd name="connsiteY4477" fmla="*/ 5207466 h 6858000"/>
              <a:gd name="connsiteX4478" fmla="*/ 1167582 w 5794893"/>
              <a:gd name="connsiteY4478" fmla="*/ 5315620 h 6858000"/>
              <a:gd name="connsiteX4479" fmla="*/ 1210598 w 5794893"/>
              <a:gd name="connsiteY4479" fmla="*/ 5271375 h 6858000"/>
              <a:gd name="connsiteX4480" fmla="*/ 1123337 w 5794893"/>
              <a:gd name="connsiteY4480" fmla="*/ 5163220 h 6858000"/>
              <a:gd name="connsiteX4481" fmla="*/ 1242552 w 5794893"/>
              <a:gd name="connsiteY4481" fmla="*/ 5163220 h 6858000"/>
              <a:gd name="connsiteX4482" fmla="*/ 1200765 w 5794893"/>
              <a:gd name="connsiteY4482" fmla="*/ 5212382 h 6858000"/>
              <a:gd name="connsiteX4483" fmla="*/ 1297860 w 5794893"/>
              <a:gd name="connsiteY4483" fmla="*/ 5315620 h 6858000"/>
              <a:gd name="connsiteX4484" fmla="*/ 1338417 w 5794893"/>
              <a:gd name="connsiteY4484" fmla="*/ 5266459 h 6858000"/>
              <a:gd name="connsiteX4485" fmla="*/ 1242552 w 5794893"/>
              <a:gd name="connsiteY4485" fmla="*/ 5163220 h 6858000"/>
              <a:gd name="connsiteX4486" fmla="*/ 415413 w 5794893"/>
              <a:gd name="connsiteY4486" fmla="*/ 5163220 h 6858000"/>
              <a:gd name="connsiteX4487" fmla="*/ 360106 w 5794893"/>
              <a:gd name="connsiteY4487" fmla="*/ 5177969 h 6858000"/>
              <a:gd name="connsiteX4488" fmla="*/ 389603 w 5794893"/>
              <a:gd name="connsiteY4488" fmla="*/ 5316850 h 6858000"/>
              <a:gd name="connsiteX4489" fmla="*/ 444910 w 5794893"/>
              <a:gd name="connsiteY4489" fmla="*/ 5302102 h 6858000"/>
              <a:gd name="connsiteX4490" fmla="*/ 415413 w 5794893"/>
              <a:gd name="connsiteY4490" fmla="*/ 5163220 h 6858000"/>
              <a:gd name="connsiteX4491" fmla="*/ 532171 w 5794893"/>
              <a:gd name="connsiteY4491" fmla="*/ 5163220 h 6858000"/>
              <a:gd name="connsiteX4492" fmla="*/ 479323 w 5794893"/>
              <a:gd name="connsiteY4492" fmla="*/ 5182885 h 6858000"/>
              <a:gd name="connsiteX4493" fmla="*/ 518652 w 5794893"/>
              <a:gd name="connsiteY4493" fmla="*/ 5315620 h 6858000"/>
              <a:gd name="connsiteX4494" fmla="*/ 571500 w 5794893"/>
              <a:gd name="connsiteY4494" fmla="*/ 5297186 h 6858000"/>
              <a:gd name="connsiteX4495" fmla="*/ 532171 w 5794893"/>
              <a:gd name="connsiteY4495" fmla="*/ 5163220 h 6858000"/>
              <a:gd name="connsiteX4496" fmla="*/ 178209 w 5794893"/>
              <a:gd name="connsiteY4496" fmla="*/ 5350033 h 6858000"/>
              <a:gd name="connsiteX4497" fmla="*/ 119216 w 5794893"/>
              <a:gd name="connsiteY4497" fmla="*/ 5354950 h 6858000"/>
              <a:gd name="connsiteX4498" fmla="*/ 129048 w 5794893"/>
              <a:gd name="connsiteY4498" fmla="*/ 5503663 h 6858000"/>
              <a:gd name="connsiteX4499" fmla="*/ 188042 w 5794893"/>
              <a:gd name="connsiteY4499" fmla="*/ 5498747 h 6858000"/>
              <a:gd name="connsiteX4500" fmla="*/ 178209 w 5794893"/>
              <a:gd name="connsiteY4500" fmla="*/ 5350033 h 6858000"/>
              <a:gd name="connsiteX4501" fmla="*/ 296197 w 5794893"/>
              <a:gd name="connsiteY4501" fmla="*/ 5350033 h 6858000"/>
              <a:gd name="connsiteX4502" fmla="*/ 239661 w 5794893"/>
              <a:gd name="connsiteY4502" fmla="*/ 5359867 h 6858000"/>
              <a:gd name="connsiteX4503" fmla="*/ 259326 w 5794893"/>
              <a:gd name="connsiteY4503" fmla="*/ 5503663 h 6858000"/>
              <a:gd name="connsiteX4504" fmla="*/ 315861 w 5794893"/>
              <a:gd name="connsiteY4504" fmla="*/ 5493831 h 6858000"/>
              <a:gd name="connsiteX4505" fmla="*/ 296197 w 5794893"/>
              <a:gd name="connsiteY4505" fmla="*/ 5350033 h 6858000"/>
              <a:gd name="connsiteX4506" fmla="*/ 415413 w 5794893"/>
              <a:gd name="connsiteY4506" fmla="*/ 5350033 h 6858000"/>
              <a:gd name="connsiteX4507" fmla="*/ 360106 w 5794893"/>
              <a:gd name="connsiteY4507" fmla="*/ 5364783 h 6858000"/>
              <a:gd name="connsiteX4508" fmla="*/ 389603 w 5794893"/>
              <a:gd name="connsiteY4508" fmla="*/ 5503663 h 6858000"/>
              <a:gd name="connsiteX4509" fmla="*/ 444910 w 5794893"/>
              <a:gd name="connsiteY4509" fmla="*/ 5488915 h 6858000"/>
              <a:gd name="connsiteX4510" fmla="*/ 415413 w 5794893"/>
              <a:gd name="connsiteY4510" fmla="*/ 5350033 h 6858000"/>
              <a:gd name="connsiteX4511" fmla="*/ 532171 w 5794893"/>
              <a:gd name="connsiteY4511" fmla="*/ 5350033 h 6858000"/>
              <a:gd name="connsiteX4512" fmla="*/ 479323 w 5794893"/>
              <a:gd name="connsiteY4512" fmla="*/ 5369698 h 6858000"/>
              <a:gd name="connsiteX4513" fmla="*/ 518652 w 5794893"/>
              <a:gd name="connsiteY4513" fmla="*/ 5503663 h 6858000"/>
              <a:gd name="connsiteX4514" fmla="*/ 571500 w 5794893"/>
              <a:gd name="connsiteY4514" fmla="*/ 5483999 h 6858000"/>
              <a:gd name="connsiteX4515" fmla="*/ 532171 w 5794893"/>
              <a:gd name="connsiteY4515" fmla="*/ 5350033 h 6858000"/>
              <a:gd name="connsiteX4516" fmla="*/ 651388 w 5794893"/>
              <a:gd name="connsiteY4516" fmla="*/ 5350033 h 6858000"/>
              <a:gd name="connsiteX4517" fmla="*/ 599769 w 5794893"/>
              <a:gd name="connsiteY4517" fmla="*/ 5374614 h 6858000"/>
              <a:gd name="connsiteX4518" fmla="*/ 648930 w 5794893"/>
              <a:gd name="connsiteY4518" fmla="*/ 5503663 h 6858000"/>
              <a:gd name="connsiteX4519" fmla="*/ 699320 w 5794893"/>
              <a:gd name="connsiteY4519" fmla="*/ 5479083 h 6858000"/>
              <a:gd name="connsiteX4520" fmla="*/ 651388 w 5794893"/>
              <a:gd name="connsiteY4520" fmla="*/ 5350033 h 6858000"/>
              <a:gd name="connsiteX4521" fmla="*/ 769375 w 5794893"/>
              <a:gd name="connsiteY4521" fmla="*/ 5350033 h 6858000"/>
              <a:gd name="connsiteX4522" fmla="*/ 720214 w 5794893"/>
              <a:gd name="connsiteY4522" fmla="*/ 5378302 h 6858000"/>
              <a:gd name="connsiteX4523" fmla="*/ 777978 w 5794893"/>
              <a:gd name="connsiteY4523" fmla="*/ 5502434 h 6858000"/>
              <a:gd name="connsiteX4524" fmla="*/ 827139 w 5794893"/>
              <a:gd name="connsiteY4524" fmla="*/ 5472937 h 6858000"/>
              <a:gd name="connsiteX4525" fmla="*/ 769375 w 5794893"/>
              <a:gd name="connsiteY4525" fmla="*/ 5350033 h 6858000"/>
              <a:gd name="connsiteX4526" fmla="*/ 887362 w 5794893"/>
              <a:gd name="connsiteY4526" fmla="*/ 5350033 h 6858000"/>
              <a:gd name="connsiteX4527" fmla="*/ 840659 w 5794893"/>
              <a:gd name="connsiteY4527" fmla="*/ 5384448 h 6858000"/>
              <a:gd name="connsiteX4528" fmla="*/ 908255 w 5794893"/>
              <a:gd name="connsiteY4528" fmla="*/ 5503663 h 6858000"/>
              <a:gd name="connsiteX4529" fmla="*/ 954959 w 5794893"/>
              <a:gd name="connsiteY4529" fmla="*/ 5469250 h 6858000"/>
              <a:gd name="connsiteX4530" fmla="*/ 887362 w 5794893"/>
              <a:gd name="connsiteY4530" fmla="*/ 5350033 h 6858000"/>
              <a:gd name="connsiteX4531" fmla="*/ 1005350 w 5794893"/>
              <a:gd name="connsiteY4531" fmla="*/ 5350033 h 6858000"/>
              <a:gd name="connsiteX4532" fmla="*/ 959875 w 5794893"/>
              <a:gd name="connsiteY4532" fmla="*/ 5388134 h 6858000"/>
              <a:gd name="connsiteX4533" fmla="*/ 1037304 w 5794893"/>
              <a:gd name="connsiteY4533" fmla="*/ 5502434 h 6858000"/>
              <a:gd name="connsiteX4534" fmla="*/ 1082778 w 5794893"/>
              <a:gd name="connsiteY4534" fmla="*/ 5463106 h 6858000"/>
              <a:gd name="connsiteX4535" fmla="*/ 1005350 w 5794893"/>
              <a:gd name="connsiteY4535" fmla="*/ 5350033 h 6858000"/>
              <a:gd name="connsiteX4536" fmla="*/ 1123337 w 5794893"/>
              <a:gd name="connsiteY4536" fmla="*/ 5350033 h 6858000"/>
              <a:gd name="connsiteX4537" fmla="*/ 1080320 w 5794893"/>
              <a:gd name="connsiteY4537" fmla="*/ 5394279 h 6858000"/>
              <a:gd name="connsiteX4538" fmla="*/ 1167582 w 5794893"/>
              <a:gd name="connsiteY4538" fmla="*/ 5503663 h 6858000"/>
              <a:gd name="connsiteX4539" fmla="*/ 1210598 w 5794893"/>
              <a:gd name="connsiteY4539" fmla="*/ 5459418 h 6858000"/>
              <a:gd name="connsiteX4540" fmla="*/ 1123337 w 5794893"/>
              <a:gd name="connsiteY4540" fmla="*/ 5350033 h 6858000"/>
              <a:gd name="connsiteX4541" fmla="*/ 1242552 w 5794893"/>
              <a:gd name="connsiteY4541" fmla="*/ 5350033 h 6858000"/>
              <a:gd name="connsiteX4542" fmla="*/ 1200765 w 5794893"/>
              <a:gd name="connsiteY4542" fmla="*/ 5399195 h 6858000"/>
              <a:gd name="connsiteX4543" fmla="*/ 1297860 w 5794893"/>
              <a:gd name="connsiteY4543" fmla="*/ 5503663 h 6858000"/>
              <a:gd name="connsiteX4544" fmla="*/ 1338417 w 5794893"/>
              <a:gd name="connsiteY4544" fmla="*/ 5454502 h 6858000"/>
              <a:gd name="connsiteX4545" fmla="*/ 1242552 w 5794893"/>
              <a:gd name="connsiteY4545" fmla="*/ 5350033 h 6858000"/>
              <a:gd name="connsiteX4546" fmla="*/ 1359311 w 5794893"/>
              <a:gd name="connsiteY4546" fmla="*/ 5350033 h 6858000"/>
              <a:gd name="connsiteX4547" fmla="*/ 1319982 w 5794893"/>
              <a:gd name="connsiteY4547" fmla="*/ 5404111 h 6858000"/>
              <a:gd name="connsiteX4548" fmla="*/ 1426908 w 5794893"/>
              <a:gd name="connsiteY4548" fmla="*/ 5502434 h 6858000"/>
              <a:gd name="connsiteX4549" fmla="*/ 1466237 w 5794893"/>
              <a:gd name="connsiteY4549" fmla="*/ 5448356 h 6858000"/>
              <a:gd name="connsiteX4550" fmla="*/ 1359311 w 5794893"/>
              <a:gd name="connsiteY4550" fmla="*/ 5350033 h 6858000"/>
              <a:gd name="connsiteX4551" fmla="*/ 1476069 w 5794893"/>
              <a:gd name="connsiteY4551" fmla="*/ 5350033 h 6858000"/>
              <a:gd name="connsiteX4552" fmla="*/ 1439198 w 5794893"/>
              <a:gd name="connsiteY4552" fmla="*/ 5409028 h 6858000"/>
              <a:gd name="connsiteX4553" fmla="*/ 1555957 w 5794893"/>
              <a:gd name="connsiteY4553" fmla="*/ 5503663 h 6858000"/>
              <a:gd name="connsiteX4554" fmla="*/ 1592828 w 5794893"/>
              <a:gd name="connsiteY4554" fmla="*/ 5444670 h 6858000"/>
              <a:gd name="connsiteX4555" fmla="*/ 1476069 w 5794893"/>
              <a:gd name="connsiteY4555" fmla="*/ 5350033 h 6858000"/>
              <a:gd name="connsiteX4556" fmla="*/ 178209 w 5794893"/>
              <a:gd name="connsiteY4556" fmla="*/ 5541763 h 6858000"/>
              <a:gd name="connsiteX4557" fmla="*/ 119216 w 5794893"/>
              <a:gd name="connsiteY4557" fmla="*/ 5546679 h 6858000"/>
              <a:gd name="connsiteX4558" fmla="*/ 129048 w 5794893"/>
              <a:gd name="connsiteY4558" fmla="*/ 5695392 h 6858000"/>
              <a:gd name="connsiteX4559" fmla="*/ 188042 w 5794893"/>
              <a:gd name="connsiteY4559" fmla="*/ 5690476 h 6858000"/>
              <a:gd name="connsiteX4560" fmla="*/ 178209 w 5794893"/>
              <a:gd name="connsiteY4560" fmla="*/ 5541763 h 6858000"/>
              <a:gd name="connsiteX4561" fmla="*/ 296197 w 5794893"/>
              <a:gd name="connsiteY4561" fmla="*/ 5541763 h 6858000"/>
              <a:gd name="connsiteX4562" fmla="*/ 239661 w 5794893"/>
              <a:gd name="connsiteY4562" fmla="*/ 5551595 h 6858000"/>
              <a:gd name="connsiteX4563" fmla="*/ 259326 w 5794893"/>
              <a:gd name="connsiteY4563" fmla="*/ 5695392 h 6858000"/>
              <a:gd name="connsiteX4564" fmla="*/ 315861 w 5794893"/>
              <a:gd name="connsiteY4564" fmla="*/ 5685560 h 6858000"/>
              <a:gd name="connsiteX4565" fmla="*/ 296197 w 5794893"/>
              <a:gd name="connsiteY4565" fmla="*/ 5541763 h 6858000"/>
              <a:gd name="connsiteX4566" fmla="*/ 651388 w 5794893"/>
              <a:gd name="connsiteY4566" fmla="*/ 5541763 h 6858000"/>
              <a:gd name="connsiteX4567" fmla="*/ 599769 w 5794893"/>
              <a:gd name="connsiteY4567" fmla="*/ 5567573 h 6858000"/>
              <a:gd name="connsiteX4568" fmla="*/ 648930 w 5794893"/>
              <a:gd name="connsiteY4568" fmla="*/ 5695392 h 6858000"/>
              <a:gd name="connsiteX4569" fmla="*/ 699320 w 5794893"/>
              <a:gd name="connsiteY4569" fmla="*/ 5670812 h 6858000"/>
              <a:gd name="connsiteX4570" fmla="*/ 651388 w 5794893"/>
              <a:gd name="connsiteY4570" fmla="*/ 5541763 h 6858000"/>
              <a:gd name="connsiteX4571" fmla="*/ 769375 w 5794893"/>
              <a:gd name="connsiteY4571" fmla="*/ 5541763 h 6858000"/>
              <a:gd name="connsiteX4572" fmla="*/ 720214 w 5794893"/>
              <a:gd name="connsiteY4572" fmla="*/ 5572489 h 6858000"/>
              <a:gd name="connsiteX4573" fmla="*/ 777978 w 5794893"/>
              <a:gd name="connsiteY4573" fmla="*/ 5695392 h 6858000"/>
              <a:gd name="connsiteX4574" fmla="*/ 827139 w 5794893"/>
              <a:gd name="connsiteY4574" fmla="*/ 5665896 h 6858000"/>
              <a:gd name="connsiteX4575" fmla="*/ 769375 w 5794893"/>
              <a:gd name="connsiteY4575" fmla="*/ 5541763 h 6858000"/>
              <a:gd name="connsiteX4576" fmla="*/ 887362 w 5794893"/>
              <a:gd name="connsiteY4576" fmla="*/ 5541763 h 6858000"/>
              <a:gd name="connsiteX4577" fmla="*/ 840659 w 5794893"/>
              <a:gd name="connsiteY4577" fmla="*/ 5576176 h 6858000"/>
              <a:gd name="connsiteX4578" fmla="*/ 908255 w 5794893"/>
              <a:gd name="connsiteY4578" fmla="*/ 5695392 h 6858000"/>
              <a:gd name="connsiteX4579" fmla="*/ 954959 w 5794893"/>
              <a:gd name="connsiteY4579" fmla="*/ 5660980 h 6858000"/>
              <a:gd name="connsiteX4580" fmla="*/ 887362 w 5794893"/>
              <a:gd name="connsiteY4580" fmla="*/ 5541763 h 6858000"/>
              <a:gd name="connsiteX4581" fmla="*/ 1005350 w 5794893"/>
              <a:gd name="connsiteY4581" fmla="*/ 5541763 h 6858000"/>
              <a:gd name="connsiteX4582" fmla="*/ 959875 w 5794893"/>
              <a:gd name="connsiteY4582" fmla="*/ 5581093 h 6858000"/>
              <a:gd name="connsiteX4583" fmla="*/ 1037304 w 5794893"/>
              <a:gd name="connsiteY4583" fmla="*/ 5694163 h 6858000"/>
              <a:gd name="connsiteX4584" fmla="*/ 1082778 w 5794893"/>
              <a:gd name="connsiteY4584" fmla="*/ 5654835 h 6858000"/>
              <a:gd name="connsiteX4585" fmla="*/ 1005350 w 5794893"/>
              <a:gd name="connsiteY4585" fmla="*/ 5541763 h 6858000"/>
              <a:gd name="connsiteX4586" fmla="*/ 1123337 w 5794893"/>
              <a:gd name="connsiteY4586" fmla="*/ 5541763 h 6858000"/>
              <a:gd name="connsiteX4587" fmla="*/ 1080320 w 5794893"/>
              <a:gd name="connsiteY4587" fmla="*/ 5587238 h 6858000"/>
              <a:gd name="connsiteX4588" fmla="*/ 1167582 w 5794893"/>
              <a:gd name="connsiteY4588" fmla="*/ 5695392 h 6858000"/>
              <a:gd name="connsiteX4589" fmla="*/ 1210598 w 5794893"/>
              <a:gd name="connsiteY4589" fmla="*/ 5651147 h 6858000"/>
              <a:gd name="connsiteX4590" fmla="*/ 1123337 w 5794893"/>
              <a:gd name="connsiteY4590" fmla="*/ 5541763 h 6858000"/>
              <a:gd name="connsiteX4591" fmla="*/ 1242552 w 5794893"/>
              <a:gd name="connsiteY4591" fmla="*/ 5541763 h 6858000"/>
              <a:gd name="connsiteX4592" fmla="*/ 1200765 w 5794893"/>
              <a:gd name="connsiteY4592" fmla="*/ 5592154 h 6858000"/>
              <a:gd name="connsiteX4593" fmla="*/ 1297860 w 5794893"/>
              <a:gd name="connsiteY4593" fmla="*/ 5695392 h 6858000"/>
              <a:gd name="connsiteX4594" fmla="*/ 1338417 w 5794893"/>
              <a:gd name="connsiteY4594" fmla="*/ 5646231 h 6858000"/>
              <a:gd name="connsiteX4595" fmla="*/ 1242552 w 5794893"/>
              <a:gd name="connsiteY4595" fmla="*/ 5541763 h 6858000"/>
              <a:gd name="connsiteX4596" fmla="*/ 1359311 w 5794893"/>
              <a:gd name="connsiteY4596" fmla="*/ 5541763 h 6858000"/>
              <a:gd name="connsiteX4597" fmla="*/ 1319982 w 5794893"/>
              <a:gd name="connsiteY4597" fmla="*/ 5597070 h 6858000"/>
              <a:gd name="connsiteX4598" fmla="*/ 1426908 w 5794893"/>
              <a:gd name="connsiteY4598" fmla="*/ 5694163 h 6858000"/>
              <a:gd name="connsiteX4599" fmla="*/ 1466237 w 5794893"/>
              <a:gd name="connsiteY4599" fmla="*/ 5640085 h 6858000"/>
              <a:gd name="connsiteX4600" fmla="*/ 1359311 w 5794893"/>
              <a:gd name="connsiteY4600" fmla="*/ 5541763 h 6858000"/>
              <a:gd name="connsiteX4601" fmla="*/ 1476069 w 5794893"/>
              <a:gd name="connsiteY4601" fmla="*/ 5542992 h 6858000"/>
              <a:gd name="connsiteX4602" fmla="*/ 1439198 w 5794893"/>
              <a:gd name="connsiteY4602" fmla="*/ 5601986 h 6858000"/>
              <a:gd name="connsiteX4603" fmla="*/ 1555957 w 5794893"/>
              <a:gd name="connsiteY4603" fmla="*/ 5695392 h 6858000"/>
              <a:gd name="connsiteX4604" fmla="*/ 1592828 w 5794893"/>
              <a:gd name="connsiteY4604" fmla="*/ 5636399 h 6858000"/>
              <a:gd name="connsiteX4605" fmla="*/ 1476069 w 5794893"/>
              <a:gd name="connsiteY4605" fmla="*/ 5542992 h 6858000"/>
              <a:gd name="connsiteX4606" fmla="*/ 415413 w 5794893"/>
              <a:gd name="connsiteY4606" fmla="*/ 5542992 h 6858000"/>
              <a:gd name="connsiteX4607" fmla="*/ 360106 w 5794893"/>
              <a:gd name="connsiteY4607" fmla="*/ 5557741 h 6858000"/>
              <a:gd name="connsiteX4608" fmla="*/ 389603 w 5794893"/>
              <a:gd name="connsiteY4608" fmla="*/ 5695392 h 6858000"/>
              <a:gd name="connsiteX4609" fmla="*/ 444910 w 5794893"/>
              <a:gd name="connsiteY4609" fmla="*/ 5681872 h 6858000"/>
              <a:gd name="connsiteX4610" fmla="*/ 415413 w 5794893"/>
              <a:gd name="connsiteY4610" fmla="*/ 5542992 h 6858000"/>
              <a:gd name="connsiteX4611" fmla="*/ 532171 w 5794893"/>
              <a:gd name="connsiteY4611" fmla="*/ 5542992 h 6858000"/>
              <a:gd name="connsiteX4612" fmla="*/ 479323 w 5794893"/>
              <a:gd name="connsiteY4612" fmla="*/ 5562657 h 6858000"/>
              <a:gd name="connsiteX4613" fmla="*/ 518652 w 5794893"/>
              <a:gd name="connsiteY4613" fmla="*/ 5695392 h 6858000"/>
              <a:gd name="connsiteX4614" fmla="*/ 571500 w 5794893"/>
              <a:gd name="connsiteY4614" fmla="*/ 5676956 h 6858000"/>
              <a:gd name="connsiteX4615" fmla="*/ 532171 w 5794893"/>
              <a:gd name="connsiteY4615" fmla="*/ 5542992 h 6858000"/>
              <a:gd name="connsiteX4616" fmla="*/ 415413 w 5794893"/>
              <a:gd name="connsiteY4616" fmla="*/ 5733493 h 6858000"/>
              <a:gd name="connsiteX4617" fmla="*/ 360106 w 5794893"/>
              <a:gd name="connsiteY4617" fmla="*/ 5748240 h 6858000"/>
              <a:gd name="connsiteX4618" fmla="*/ 389603 w 5794893"/>
              <a:gd name="connsiteY4618" fmla="*/ 5887122 h 6858000"/>
              <a:gd name="connsiteX4619" fmla="*/ 444910 w 5794893"/>
              <a:gd name="connsiteY4619" fmla="*/ 5872373 h 6858000"/>
              <a:gd name="connsiteX4620" fmla="*/ 415413 w 5794893"/>
              <a:gd name="connsiteY4620" fmla="*/ 5733493 h 6858000"/>
              <a:gd name="connsiteX4621" fmla="*/ 651388 w 5794893"/>
              <a:gd name="connsiteY4621" fmla="*/ 5733493 h 6858000"/>
              <a:gd name="connsiteX4622" fmla="*/ 599769 w 5794893"/>
              <a:gd name="connsiteY4622" fmla="*/ 5758074 h 6858000"/>
              <a:gd name="connsiteX4623" fmla="*/ 648930 w 5794893"/>
              <a:gd name="connsiteY4623" fmla="*/ 5887122 h 6858000"/>
              <a:gd name="connsiteX4624" fmla="*/ 699320 w 5794893"/>
              <a:gd name="connsiteY4624" fmla="*/ 5862541 h 6858000"/>
              <a:gd name="connsiteX4625" fmla="*/ 651388 w 5794893"/>
              <a:gd name="connsiteY4625" fmla="*/ 5733493 h 6858000"/>
              <a:gd name="connsiteX4626" fmla="*/ 1123337 w 5794893"/>
              <a:gd name="connsiteY4626" fmla="*/ 5733493 h 6858000"/>
              <a:gd name="connsiteX4627" fmla="*/ 1080320 w 5794893"/>
              <a:gd name="connsiteY4627" fmla="*/ 5778967 h 6858000"/>
              <a:gd name="connsiteX4628" fmla="*/ 1167582 w 5794893"/>
              <a:gd name="connsiteY4628" fmla="*/ 5887122 h 6858000"/>
              <a:gd name="connsiteX4629" fmla="*/ 1210598 w 5794893"/>
              <a:gd name="connsiteY4629" fmla="*/ 5842877 h 6858000"/>
              <a:gd name="connsiteX4630" fmla="*/ 1123337 w 5794893"/>
              <a:gd name="connsiteY4630" fmla="*/ 5733493 h 6858000"/>
              <a:gd name="connsiteX4631" fmla="*/ 1242552 w 5794893"/>
              <a:gd name="connsiteY4631" fmla="*/ 5733493 h 6858000"/>
              <a:gd name="connsiteX4632" fmla="*/ 1200765 w 5794893"/>
              <a:gd name="connsiteY4632" fmla="*/ 5782655 h 6858000"/>
              <a:gd name="connsiteX4633" fmla="*/ 1297860 w 5794893"/>
              <a:gd name="connsiteY4633" fmla="*/ 5887122 h 6858000"/>
              <a:gd name="connsiteX4634" fmla="*/ 1338417 w 5794893"/>
              <a:gd name="connsiteY4634" fmla="*/ 5837960 h 6858000"/>
              <a:gd name="connsiteX4635" fmla="*/ 1242552 w 5794893"/>
              <a:gd name="connsiteY4635" fmla="*/ 5733493 h 6858000"/>
              <a:gd name="connsiteX4636" fmla="*/ 1359311 w 5794893"/>
              <a:gd name="connsiteY4636" fmla="*/ 5734722 h 6858000"/>
              <a:gd name="connsiteX4637" fmla="*/ 1319982 w 5794893"/>
              <a:gd name="connsiteY4637" fmla="*/ 5788799 h 6858000"/>
              <a:gd name="connsiteX4638" fmla="*/ 1426908 w 5794893"/>
              <a:gd name="connsiteY4638" fmla="*/ 5887122 h 6858000"/>
              <a:gd name="connsiteX4639" fmla="*/ 1466237 w 5794893"/>
              <a:gd name="connsiteY4639" fmla="*/ 5833044 h 6858000"/>
              <a:gd name="connsiteX4640" fmla="*/ 1359311 w 5794893"/>
              <a:gd name="connsiteY4640" fmla="*/ 5734722 h 6858000"/>
              <a:gd name="connsiteX4641" fmla="*/ 769375 w 5794893"/>
              <a:gd name="connsiteY4641" fmla="*/ 5734722 h 6858000"/>
              <a:gd name="connsiteX4642" fmla="*/ 720214 w 5794893"/>
              <a:gd name="connsiteY4642" fmla="*/ 5764218 h 6858000"/>
              <a:gd name="connsiteX4643" fmla="*/ 777978 w 5794893"/>
              <a:gd name="connsiteY4643" fmla="*/ 5888351 h 6858000"/>
              <a:gd name="connsiteX4644" fmla="*/ 827139 w 5794893"/>
              <a:gd name="connsiteY4644" fmla="*/ 5858853 h 6858000"/>
              <a:gd name="connsiteX4645" fmla="*/ 769375 w 5794893"/>
              <a:gd name="connsiteY4645" fmla="*/ 5734722 h 6858000"/>
              <a:gd name="connsiteX4646" fmla="*/ 1005350 w 5794893"/>
              <a:gd name="connsiteY4646" fmla="*/ 5734722 h 6858000"/>
              <a:gd name="connsiteX4647" fmla="*/ 959875 w 5794893"/>
              <a:gd name="connsiteY4647" fmla="*/ 5774051 h 6858000"/>
              <a:gd name="connsiteX4648" fmla="*/ 1037304 w 5794893"/>
              <a:gd name="connsiteY4648" fmla="*/ 5887122 h 6858000"/>
              <a:gd name="connsiteX4649" fmla="*/ 1082778 w 5794893"/>
              <a:gd name="connsiteY4649" fmla="*/ 5847793 h 6858000"/>
              <a:gd name="connsiteX4650" fmla="*/ 1005350 w 5794893"/>
              <a:gd name="connsiteY4650" fmla="*/ 5734722 h 6858000"/>
              <a:gd name="connsiteX4651" fmla="*/ 887362 w 5794893"/>
              <a:gd name="connsiteY4651" fmla="*/ 5735950 h 6858000"/>
              <a:gd name="connsiteX4652" fmla="*/ 840659 w 5794893"/>
              <a:gd name="connsiteY4652" fmla="*/ 5770364 h 6858000"/>
              <a:gd name="connsiteX4653" fmla="*/ 908255 w 5794893"/>
              <a:gd name="connsiteY4653" fmla="*/ 5888351 h 6858000"/>
              <a:gd name="connsiteX4654" fmla="*/ 954959 w 5794893"/>
              <a:gd name="connsiteY4654" fmla="*/ 5853937 h 6858000"/>
              <a:gd name="connsiteX4655" fmla="*/ 887362 w 5794893"/>
              <a:gd name="connsiteY4655" fmla="*/ 5735950 h 6858000"/>
              <a:gd name="connsiteX4656" fmla="*/ 532171 w 5794893"/>
              <a:gd name="connsiteY4656" fmla="*/ 5734722 h 6858000"/>
              <a:gd name="connsiteX4657" fmla="*/ 479323 w 5794893"/>
              <a:gd name="connsiteY4657" fmla="*/ 5754386 h 6858000"/>
              <a:gd name="connsiteX4658" fmla="*/ 518652 w 5794893"/>
              <a:gd name="connsiteY4658" fmla="*/ 5887122 h 6858000"/>
              <a:gd name="connsiteX4659" fmla="*/ 571500 w 5794893"/>
              <a:gd name="connsiteY4659" fmla="*/ 5868687 h 6858000"/>
              <a:gd name="connsiteX4660" fmla="*/ 532171 w 5794893"/>
              <a:gd name="connsiteY4660" fmla="*/ 5734722 h 6858000"/>
              <a:gd name="connsiteX4661" fmla="*/ 178209 w 5794893"/>
              <a:gd name="connsiteY4661" fmla="*/ 5734722 h 6858000"/>
              <a:gd name="connsiteX4662" fmla="*/ 119216 w 5794893"/>
              <a:gd name="connsiteY4662" fmla="*/ 5739638 h 6858000"/>
              <a:gd name="connsiteX4663" fmla="*/ 129048 w 5794893"/>
              <a:gd name="connsiteY4663" fmla="*/ 5888351 h 6858000"/>
              <a:gd name="connsiteX4664" fmla="*/ 188042 w 5794893"/>
              <a:gd name="connsiteY4664" fmla="*/ 5883434 h 6858000"/>
              <a:gd name="connsiteX4665" fmla="*/ 178209 w 5794893"/>
              <a:gd name="connsiteY4665" fmla="*/ 5734722 h 6858000"/>
              <a:gd name="connsiteX4666" fmla="*/ 296197 w 5794893"/>
              <a:gd name="connsiteY4666" fmla="*/ 5734722 h 6858000"/>
              <a:gd name="connsiteX4667" fmla="*/ 239661 w 5794893"/>
              <a:gd name="connsiteY4667" fmla="*/ 5744554 h 6858000"/>
              <a:gd name="connsiteX4668" fmla="*/ 259326 w 5794893"/>
              <a:gd name="connsiteY4668" fmla="*/ 5888351 h 6858000"/>
              <a:gd name="connsiteX4669" fmla="*/ 315861 w 5794893"/>
              <a:gd name="connsiteY4669" fmla="*/ 5878518 h 6858000"/>
              <a:gd name="connsiteX4670" fmla="*/ 296197 w 5794893"/>
              <a:gd name="connsiteY4670" fmla="*/ 5734722 h 6858000"/>
              <a:gd name="connsiteX4671" fmla="*/ 887362 w 5794893"/>
              <a:gd name="connsiteY4671" fmla="*/ 5925222 h 6858000"/>
              <a:gd name="connsiteX4672" fmla="*/ 840659 w 5794893"/>
              <a:gd name="connsiteY4672" fmla="*/ 5959634 h 6858000"/>
              <a:gd name="connsiteX4673" fmla="*/ 908255 w 5794893"/>
              <a:gd name="connsiteY4673" fmla="*/ 6078851 h 6858000"/>
              <a:gd name="connsiteX4674" fmla="*/ 954959 w 5794893"/>
              <a:gd name="connsiteY4674" fmla="*/ 6044438 h 6858000"/>
              <a:gd name="connsiteX4675" fmla="*/ 887362 w 5794893"/>
              <a:gd name="connsiteY4675" fmla="*/ 5925222 h 6858000"/>
              <a:gd name="connsiteX4676" fmla="*/ 1359311 w 5794893"/>
              <a:gd name="connsiteY4676" fmla="*/ 5925222 h 6858000"/>
              <a:gd name="connsiteX4677" fmla="*/ 1319982 w 5794893"/>
              <a:gd name="connsiteY4677" fmla="*/ 5980528 h 6858000"/>
              <a:gd name="connsiteX4678" fmla="*/ 1426908 w 5794893"/>
              <a:gd name="connsiteY4678" fmla="*/ 6077623 h 6858000"/>
              <a:gd name="connsiteX4679" fmla="*/ 1466237 w 5794893"/>
              <a:gd name="connsiteY4679" fmla="*/ 6023545 h 6858000"/>
              <a:gd name="connsiteX4680" fmla="*/ 1359311 w 5794893"/>
              <a:gd name="connsiteY4680" fmla="*/ 5925222 h 6858000"/>
              <a:gd name="connsiteX4681" fmla="*/ 1005350 w 5794893"/>
              <a:gd name="connsiteY4681" fmla="*/ 5926451 h 6858000"/>
              <a:gd name="connsiteX4682" fmla="*/ 959875 w 5794893"/>
              <a:gd name="connsiteY4682" fmla="*/ 5965780 h 6858000"/>
              <a:gd name="connsiteX4683" fmla="*/ 1037304 w 5794893"/>
              <a:gd name="connsiteY4683" fmla="*/ 6078851 h 6858000"/>
              <a:gd name="connsiteX4684" fmla="*/ 1082778 w 5794893"/>
              <a:gd name="connsiteY4684" fmla="*/ 6039522 h 6858000"/>
              <a:gd name="connsiteX4685" fmla="*/ 1005350 w 5794893"/>
              <a:gd name="connsiteY4685" fmla="*/ 5926451 h 6858000"/>
              <a:gd name="connsiteX4686" fmla="*/ 1123337 w 5794893"/>
              <a:gd name="connsiteY4686" fmla="*/ 5926451 h 6858000"/>
              <a:gd name="connsiteX4687" fmla="*/ 1080320 w 5794893"/>
              <a:gd name="connsiteY4687" fmla="*/ 5970696 h 6858000"/>
              <a:gd name="connsiteX4688" fmla="*/ 1167582 w 5794893"/>
              <a:gd name="connsiteY4688" fmla="*/ 6080079 h 6858000"/>
              <a:gd name="connsiteX4689" fmla="*/ 1210598 w 5794893"/>
              <a:gd name="connsiteY4689" fmla="*/ 6035835 h 6858000"/>
              <a:gd name="connsiteX4690" fmla="*/ 1123337 w 5794893"/>
              <a:gd name="connsiteY4690" fmla="*/ 5926451 h 6858000"/>
              <a:gd name="connsiteX4691" fmla="*/ 1242552 w 5794893"/>
              <a:gd name="connsiteY4691" fmla="*/ 5927679 h 6858000"/>
              <a:gd name="connsiteX4692" fmla="*/ 1200765 w 5794893"/>
              <a:gd name="connsiteY4692" fmla="*/ 5976841 h 6858000"/>
              <a:gd name="connsiteX4693" fmla="*/ 1297860 w 5794893"/>
              <a:gd name="connsiteY4693" fmla="*/ 6080079 h 6858000"/>
              <a:gd name="connsiteX4694" fmla="*/ 1338417 w 5794893"/>
              <a:gd name="connsiteY4694" fmla="*/ 6030918 h 6858000"/>
              <a:gd name="connsiteX4695" fmla="*/ 1242552 w 5794893"/>
              <a:gd name="connsiteY4695" fmla="*/ 5927679 h 6858000"/>
              <a:gd name="connsiteX4696" fmla="*/ 178209 w 5794893"/>
              <a:gd name="connsiteY4696" fmla="*/ 5926451 h 6858000"/>
              <a:gd name="connsiteX4697" fmla="*/ 119216 w 5794893"/>
              <a:gd name="connsiteY4697" fmla="*/ 5931367 h 6858000"/>
              <a:gd name="connsiteX4698" fmla="*/ 129048 w 5794893"/>
              <a:gd name="connsiteY4698" fmla="*/ 6080079 h 6858000"/>
              <a:gd name="connsiteX4699" fmla="*/ 188042 w 5794893"/>
              <a:gd name="connsiteY4699" fmla="*/ 6075163 h 6858000"/>
              <a:gd name="connsiteX4700" fmla="*/ 178209 w 5794893"/>
              <a:gd name="connsiteY4700" fmla="*/ 5926451 h 6858000"/>
              <a:gd name="connsiteX4701" fmla="*/ 296197 w 5794893"/>
              <a:gd name="connsiteY4701" fmla="*/ 5926451 h 6858000"/>
              <a:gd name="connsiteX4702" fmla="*/ 239661 w 5794893"/>
              <a:gd name="connsiteY4702" fmla="*/ 5936283 h 6858000"/>
              <a:gd name="connsiteX4703" fmla="*/ 259326 w 5794893"/>
              <a:gd name="connsiteY4703" fmla="*/ 6080079 h 6858000"/>
              <a:gd name="connsiteX4704" fmla="*/ 315861 w 5794893"/>
              <a:gd name="connsiteY4704" fmla="*/ 6070247 h 6858000"/>
              <a:gd name="connsiteX4705" fmla="*/ 296197 w 5794893"/>
              <a:gd name="connsiteY4705" fmla="*/ 5926451 h 6858000"/>
              <a:gd name="connsiteX4706" fmla="*/ 415413 w 5794893"/>
              <a:gd name="connsiteY4706" fmla="*/ 5926451 h 6858000"/>
              <a:gd name="connsiteX4707" fmla="*/ 360106 w 5794893"/>
              <a:gd name="connsiteY4707" fmla="*/ 5941199 h 6858000"/>
              <a:gd name="connsiteX4708" fmla="*/ 389603 w 5794893"/>
              <a:gd name="connsiteY4708" fmla="*/ 6080079 h 6858000"/>
              <a:gd name="connsiteX4709" fmla="*/ 444910 w 5794893"/>
              <a:gd name="connsiteY4709" fmla="*/ 6065332 h 6858000"/>
              <a:gd name="connsiteX4710" fmla="*/ 415413 w 5794893"/>
              <a:gd name="connsiteY4710" fmla="*/ 5926451 h 6858000"/>
              <a:gd name="connsiteX4711" fmla="*/ 532171 w 5794893"/>
              <a:gd name="connsiteY4711" fmla="*/ 5926451 h 6858000"/>
              <a:gd name="connsiteX4712" fmla="*/ 479323 w 5794893"/>
              <a:gd name="connsiteY4712" fmla="*/ 5946115 h 6858000"/>
              <a:gd name="connsiteX4713" fmla="*/ 518652 w 5794893"/>
              <a:gd name="connsiteY4713" fmla="*/ 6080079 h 6858000"/>
              <a:gd name="connsiteX4714" fmla="*/ 571500 w 5794893"/>
              <a:gd name="connsiteY4714" fmla="*/ 6060416 h 6858000"/>
              <a:gd name="connsiteX4715" fmla="*/ 532171 w 5794893"/>
              <a:gd name="connsiteY4715" fmla="*/ 5926451 h 6858000"/>
              <a:gd name="connsiteX4716" fmla="*/ 651388 w 5794893"/>
              <a:gd name="connsiteY4716" fmla="*/ 5926451 h 6858000"/>
              <a:gd name="connsiteX4717" fmla="*/ 599769 w 5794893"/>
              <a:gd name="connsiteY4717" fmla="*/ 5951031 h 6858000"/>
              <a:gd name="connsiteX4718" fmla="*/ 648930 w 5794893"/>
              <a:gd name="connsiteY4718" fmla="*/ 6080079 h 6858000"/>
              <a:gd name="connsiteX4719" fmla="*/ 699320 w 5794893"/>
              <a:gd name="connsiteY4719" fmla="*/ 6055499 h 6858000"/>
              <a:gd name="connsiteX4720" fmla="*/ 651388 w 5794893"/>
              <a:gd name="connsiteY4720" fmla="*/ 5926451 h 6858000"/>
              <a:gd name="connsiteX4721" fmla="*/ 769375 w 5794893"/>
              <a:gd name="connsiteY4721" fmla="*/ 5926451 h 6858000"/>
              <a:gd name="connsiteX4722" fmla="*/ 720214 w 5794893"/>
              <a:gd name="connsiteY4722" fmla="*/ 5957176 h 6858000"/>
              <a:gd name="connsiteX4723" fmla="*/ 777978 w 5794893"/>
              <a:gd name="connsiteY4723" fmla="*/ 6080079 h 6858000"/>
              <a:gd name="connsiteX4724" fmla="*/ 827139 w 5794893"/>
              <a:gd name="connsiteY4724" fmla="*/ 6050583 h 6858000"/>
              <a:gd name="connsiteX4725" fmla="*/ 769375 w 5794893"/>
              <a:gd name="connsiteY4725" fmla="*/ 5926451 h 6858000"/>
              <a:gd name="connsiteX4726" fmla="*/ 178209 w 5794893"/>
              <a:gd name="connsiteY4726" fmla="*/ 6115722 h 6858000"/>
              <a:gd name="connsiteX4727" fmla="*/ 119216 w 5794893"/>
              <a:gd name="connsiteY4727" fmla="*/ 6120638 h 6858000"/>
              <a:gd name="connsiteX4728" fmla="*/ 129048 w 5794893"/>
              <a:gd name="connsiteY4728" fmla="*/ 6269352 h 6858000"/>
              <a:gd name="connsiteX4729" fmla="*/ 188042 w 5794893"/>
              <a:gd name="connsiteY4729" fmla="*/ 6264434 h 6858000"/>
              <a:gd name="connsiteX4730" fmla="*/ 178209 w 5794893"/>
              <a:gd name="connsiteY4730" fmla="*/ 6115722 h 6858000"/>
              <a:gd name="connsiteX4731" fmla="*/ 296197 w 5794893"/>
              <a:gd name="connsiteY4731" fmla="*/ 6115722 h 6858000"/>
              <a:gd name="connsiteX4732" fmla="*/ 239661 w 5794893"/>
              <a:gd name="connsiteY4732" fmla="*/ 6125554 h 6858000"/>
              <a:gd name="connsiteX4733" fmla="*/ 259326 w 5794893"/>
              <a:gd name="connsiteY4733" fmla="*/ 6269352 h 6858000"/>
              <a:gd name="connsiteX4734" fmla="*/ 315861 w 5794893"/>
              <a:gd name="connsiteY4734" fmla="*/ 6259520 h 6858000"/>
              <a:gd name="connsiteX4735" fmla="*/ 296197 w 5794893"/>
              <a:gd name="connsiteY4735" fmla="*/ 6115722 h 6858000"/>
              <a:gd name="connsiteX4736" fmla="*/ 415413 w 5794893"/>
              <a:gd name="connsiteY4736" fmla="*/ 6115722 h 6858000"/>
              <a:gd name="connsiteX4737" fmla="*/ 360106 w 5794893"/>
              <a:gd name="connsiteY4737" fmla="*/ 6130470 h 6858000"/>
              <a:gd name="connsiteX4738" fmla="*/ 389603 w 5794893"/>
              <a:gd name="connsiteY4738" fmla="*/ 6269352 h 6858000"/>
              <a:gd name="connsiteX4739" fmla="*/ 444910 w 5794893"/>
              <a:gd name="connsiteY4739" fmla="*/ 6254602 h 6858000"/>
              <a:gd name="connsiteX4740" fmla="*/ 415413 w 5794893"/>
              <a:gd name="connsiteY4740" fmla="*/ 6115722 h 6858000"/>
              <a:gd name="connsiteX4741" fmla="*/ 651388 w 5794893"/>
              <a:gd name="connsiteY4741" fmla="*/ 6115722 h 6858000"/>
              <a:gd name="connsiteX4742" fmla="*/ 599769 w 5794893"/>
              <a:gd name="connsiteY4742" fmla="*/ 6140303 h 6858000"/>
              <a:gd name="connsiteX4743" fmla="*/ 648930 w 5794893"/>
              <a:gd name="connsiteY4743" fmla="*/ 6269352 h 6858000"/>
              <a:gd name="connsiteX4744" fmla="*/ 699320 w 5794893"/>
              <a:gd name="connsiteY4744" fmla="*/ 6244771 h 6858000"/>
              <a:gd name="connsiteX4745" fmla="*/ 651388 w 5794893"/>
              <a:gd name="connsiteY4745" fmla="*/ 6115722 h 6858000"/>
              <a:gd name="connsiteX4746" fmla="*/ 887362 w 5794893"/>
              <a:gd name="connsiteY4746" fmla="*/ 6115722 h 6858000"/>
              <a:gd name="connsiteX4747" fmla="*/ 840659 w 5794893"/>
              <a:gd name="connsiteY4747" fmla="*/ 6150135 h 6858000"/>
              <a:gd name="connsiteX4748" fmla="*/ 908255 w 5794893"/>
              <a:gd name="connsiteY4748" fmla="*/ 6269352 h 6858000"/>
              <a:gd name="connsiteX4749" fmla="*/ 954959 w 5794893"/>
              <a:gd name="connsiteY4749" fmla="*/ 6234938 h 6858000"/>
              <a:gd name="connsiteX4750" fmla="*/ 887362 w 5794893"/>
              <a:gd name="connsiteY4750" fmla="*/ 6115722 h 6858000"/>
              <a:gd name="connsiteX4751" fmla="*/ 1123337 w 5794893"/>
              <a:gd name="connsiteY4751" fmla="*/ 6115722 h 6858000"/>
              <a:gd name="connsiteX4752" fmla="*/ 1080320 w 5794893"/>
              <a:gd name="connsiteY4752" fmla="*/ 6159967 h 6858000"/>
              <a:gd name="connsiteX4753" fmla="*/ 1167582 w 5794893"/>
              <a:gd name="connsiteY4753" fmla="*/ 6269352 h 6858000"/>
              <a:gd name="connsiteX4754" fmla="*/ 1210598 w 5794893"/>
              <a:gd name="connsiteY4754" fmla="*/ 6225107 h 6858000"/>
              <a:gd name="connsiteX4755" fmla="*/ 1123337 w 5794893"/>
              <a:gd name="connsiteY4755" fmla="*/ 6115722 h 6858000"/>
              <a:gd name="connsiteX4756" fmla="*/ 1242552 w 5794893"/>
              <a:gd name="connsiteY4756" fmla="*/ 6115722 h 6858000"/>
              <a:gd name="connsiteX4757" fmla="*/ 1200765 w 5794893"/>
              <a:gd name="connsiteY4757" fmla="*/ 6164883 h 6858000"/>
              <a:gd name="connsiteX4758" fmla="*/ 1297860 w 5794893"/>
              <a:gd name="connsiteY4758" fmla="*/ 6269352 h 6858000"/>
              <a:gd name="connsiteX4759" fmla="*/ 1338417 w 5794893"/>
              <a:gd name="connsiteY4759" fmla="*/ 6220190 h 6858000"/>
              <a:gd name="connsiteX4760" fmla="*/ 1242552 w 5794893"/>
              <a:gd name="connsiteY4760" fmla="*/ 6115722 h 6858000"/>
              <a:gd name="connsiteX4761" fmla="*/ 1476069 w 5794893"/>
              <a:gd name="connsiteY4761" fmla="*/ 6115722 h 6858000"/>
              <a:gd name="connsiteX4762" fmla="*/ 1439198 w 5794893"/>
              <a:gd name="connsiteY4762" fmla="*/ 6174716 h 6858000"/>
              <a:gd name="connsiteX4763" fmla="*/ 1555957 w 5794893"/>
              <a:gd name="connsiteY4763" fmla="*/ 6269352 h 6858000"/>
              <a:gd name="connsiteX4764" fmla="*/ 1592828 w 5794893"/>
              <a:gd name="connsiteY4764" fmla="*/ 6210357 h 6858000"/>
              <a:gd name="connsiteX4765" fmla="*/ 1476069 w 5794893"/>
              <a:gd name="connsiteY4765" fmla="*/ 6115722 h 6858000"/>
              <a:gd name="connsiteX4766" fmla="*/ 1359311 w 5794893"/>
              <a:gd name="connsiteY4766" fmla="*/ 6116950 h 6858000"/>
              <a:gd name="connsiteX4767" fmla="*/ 1319982 w 5794893"/>
              <a:gd name="connsiteY4767" fmla="*/ 6171029 h 6858000"/>
              <a:gd name="connsiteX4768" fmla="*/ 1426908 w 5794893"/>
              <a:gd name="connsiteY4768" fmla="*/ 6269352 h 6858000"/>
              <a:gd name="connsiteX4769" fmla="*/ 1466237 w 5794893"/>
              <a:gd name="connsiteY4769" fmla="*/ 6215273 h 6858000"/>
              <a:gd name="connsiteX4770" fmla="*/ 1359311 w 5794893"/>
              <a:gd name="connsiteY4770" fmla="*/ 6116950 h 6858000"/>
              <a:gd name="connsiteX4771" fmla="*/ 1005350 w 5794893"/>
              <a:gd name="connsiteY4771" fmla="*/ 6116950 h 6858000"/>
              <a:gd name="connsiteX4772" fmla="*/ 959875 w 5794893"/>
              <a:gd name="connsiteY4772" fmla="*/ 6156279 h 6858000"/>
              <a:gd name="connsiteX4773" fmla="*/ 1037304 w 5794893"/>
              <a:gd name="connsiteY4773" fmla="*/ 6269352 h 6858000"/>
              <a:gd name="connsiteX4774" fmla="*/ 1082778 w 5794893"/>
              <a:gd name="connsiteY4774" fmla="*/ 6230021 h 6858000"/>
              <a:gd name="connsiteX4775" fmla="*/ 1005350 w 5794893"/>
              <a:gd name="connsiteY4775" fmla="*/ 6116950 h 6858000"/>
              <a:gd name="connsiteX4776" fmla="*/ 769375 w 5794893"/>
              <a:gd name="connsiteY4776" fmla="*/ 6116950 h 6858000"/>
              <a:gd name="connsiteX4777" fmla="*/ 720214 w 5794893"/>
              <a:gd name="connsiteY4777" fmla="*/ 6145219 h 6858000"/>
              <a:gd name="connsiteX4778" fmla="*/ 777978 w 5794893"/>
              <a:gd name="connsiteY4778" fmla="*/ 6269352 h 6858000"/>
              <a:gd name="connsiteX4779" fmla="*/ 827139 w 5794893"/>
              <a:gd name="connsiteY4779" fmla="*/ 6239854 h 6858000"/>
              <a:gd name="connsiteX4780" fmla="*/ 769375 w 5794893"/>
              <a:gd name="connsiteY4780" fmla="*/ 6116950 h 6858000"/>
              <a:gd name="connsiteX4781" fmla="*/ 532171 w 5794893"/>
              <a:gd name="connsiteY4781" fmla="*/ 6116950 h 6858000"/>
              <a:gd name="connsiteX4782" fmla="*/ 479323 w 5794893"/>
              <a:gd name="connsiteY4782" fmla="*/ 6136615 h 6858000"/>
              <a:gd name="connsiteX4783" fmla="*/ 518652 w 5794893"/>
              <a:gd name="connsiteY4783" fmla="*/ 6269352 h 6858000"/>
              <a:gd name="connsiteX4784" fmla="*/ 571500 w 5794893"/>
              <a:gd name="connsiteY4784" fmla="*/ 6250916 h 6858000"/>
              <a:gd name="connsiteX4785" fmla="*/ 532171 w 5794893"/>
              <a:gd name="connsiteY4785" fmla="*/ 6116950 h 6858000"/>
              <a:gd name="connsiteX4786" fmla="*/ 1241324 w 5794893"/>
              <a:gd name="connsiteY4786" fmla="*/ 6304993 h 6858000"/>
              <a:gd name="connsiteX4787" fmla="*/ 1200765 w 5794893"/>
              <a:gd name="connsiteY4787" fmla="*/ 6354154 h 6858000"/>
              <a:gd name="connsiteX4788" fmla="*/ 1297860 w 5794893"/>
              <a:gd name="connsiteY4788" fmla="*/ 6458622 h 6858000"/>
              <a:gd name="connsiteX4789" fmla="*/ 1338417 w 5794893"/>
              <a:gd name="connsiteY4789" fmla="*/ 6409460 h 6858000"/>
              <a:gd name="connsiteX4790" fmla="*/ 1241324 w 5794893"/>
              <a:gd name="connsiteY4790" fmla="*/ 6304993 h 6858000"/>
              <a:gd name="connsiteX4791" fmla="*/ 1477299 w 5794893"/>
              <a:gd name="connsiteY4791" fmla="*/ 6306223 h 6858000"/>
              <a:gd name="connsiteX4792" fmla="*/ 1440428 w 5794893"/>
              <a:gd name="connsiteY4792" fmla="*/ 6365215 h 6858000"/>
              <a:gd name="connsiteX4793" fmla="*/ 1557185 w 5794893"/>
              <a:gd name="connsiteY4793" fmla="*/ 6458622 h 6858000"/>
              <a:gd name="connsiteX4794" fmla="*/ 1594056 w 5794893"/>
              <a:gd name="connsiteY4794" fmla="*/ 6399628 h 6858000"/>
              <a:gd name="connsiteX4795" fmla="*/ 1477299 w 5794893"/>
              <a:gd name="connsiteY4795" fmla="*/ 6306223 h 6858000"/>
              <a:gd name="connsiteX4796" fmla="*/ 1359311 w 5794893"/>
              <a:gd name="connsiteY4796" fmla="*/ 6307451 h 6858000"/>
              <a:gd name="connsiteX4797" fmla="*/ 1319982 w 5794893"/>
              <a:gd name="connsiteY4797" fmla="*/ 6361529 h 6858000"/>
              <a:gd name="connsiteX4798" fmla="*/ 1426908 w 5794893"/>
              <a:gd name="connsiteY4798" fmla="*/ 6459851 h 6858000"/>
              <a:gd name="connsiteX4799" fmla="*/ 1466237 w 5794893"/>
              <a:gd name="connsiteY4799" fmla="*/ 6405774 h 6858000"/>
              <a:gd name="connsiteX4800" fmla="*/ 1359311 w 5794893"/>
              <a:gd name="connsiteY4800" fmla="*/ 6307451 h 6858000"/>
              <a:gd name="connsiteX4801" fmla="*/ 178209 w 5794893"/>
              <a:gd name="connsiteY4801" fmla="*/ 6306223 h 6858000"/>
              <a:gd name="connsiteX4802" fmla="*/ 119216 w 5794893"/>
              <a:gd name="connsiteY4802" fmla="*/ 6311138 h 6858000"/>
              <a:gd name="connsiteX4803" fmla="*/ 129048 w 5794893"/>
              <a:gd name="connsiteY4803" fmla="*/ 6459851 h 6858000"/>
              <a:gd name="connsiteX4804" fmla="*/ 188042 w 5794893"/>
              <a:gd name="connsiteY4804" fmla="*/ 6454935 h 6858000"/>
              <a:gd name="connsiteX4805" fmla="*/ 178209 w 5794893"/>
              <a:gd name="connsiteY4805" fmla="*/ 6306223 h 6858000"/>
              <a:gd name="connsiteX4806" fmla="*/ 296197 w 5794893"/>
              <a:gd name="connsiteY4806" fmla="*/ 6306223 h 6858000"/>
              <a:gd name="connsiteX4807" fmla="*/ 239661 w 5794893"/>
              <a:gd name="connsiteY4807" fmla="*/ 6316054 h 6858000"/>
              <a:gd name="connsiteX4808" fmla="*/ 259326 w 5794893"/>
              <a:gd name="connsiteY4808" fmla="*/ 6459851 h 6858000"/>
              <a:gd name="connsiteX4809" fmla="*/ 315861 w 5794893"/>
              <a:gd name="connsiteY4809" fmla="*/ 6450019 h 6858000"/>
              <a:gd name="connsiteX4810" fmla="*/ 296197 w 5794893"/>
              <a:gd name="connsiteY4810" fmla="*/ 6306223 h 6858000"/>
              <a:gd name="connsiteX4811" fmla="*/ 415413 w 5794893"/>
              <a:gd name="connsiteY4811" fmla="*/ 6306223 h 6858000"/>
              <a:gd name="connsiteX4812" fmla="*/ 360106 w 5794893"/>
              <a:gd name="connsiteY4812" fmla="*/ 6320971 h 6858000"/>
              <a:gd name="connsiteX4813" fmla="*/ 389603 w 5794893"/>
              <a:gd name="connsiteY4813" fmla="*/ 6459851 h 6858000"/>
              <a:gd name="connsiteX4814" fmla="*/ 444910 w 5794893"/>
              <a:gd name="connsiteY4814" fmla="*/ 6445103 h 6858000"/>
              <a:gd name="connsiteX4815" fmla="*/ 415413 w 5794893"/>
              <a:gd name="connsiteY4815" fmla="*/ 6306223 h 6858000"/>
              <a:gd name="connsiteX4816" fmla="*/ 532171 w 5794893"/>
              <a:gd name="connsiteY4816" fmla="*/ 6306223 h 6858000"/>
              <a:gd name="connsiteX4817" fmla="*/ 479323 w 5794893"/>
              <a:gd name="connsiteY4817" fmla="*/ 6325886 h 6858000"/>
              <a:gd name="connsiteX4818" fmla="*/ 518652 w 5794893"/>
              <a:gd name="connsiteY4818" fmla="*/ 6459851 h 6858000"/>
              <a:gd name="connsiteX4819" fmla="*/ 571500 w 5794893"/>
              <a:gd name="connsiteY4819" fmla="*/ 6440187 h 6858000"/>
              <a:gd name="connsiteX4820" fmla="*/ 532171 w 5794893"/>
              <a:gd name="connsiteY4820" fmla="*/ 6306223 h 6858000"/>
              <a:gd name="connsiteX4821" fmla="*/ 651388 w 5794893"/>
              <a:gd name="connsiteY4821" fmla="*/ 6306223 h 6858000"/>
              <a:gd name="connsiteX4822" fmla="*/ 599769 w 5794893"/>
              <a:gd name="connsiteY4822" fmla="*/ 6330803 h 6858000"/>
              <a:gd name="connsiteX4823" fmla="*/ 648930 w 5794893"/>
              <a:gd name="connsiteY4823" fmla="*/ 6459851 h 6858000"/>
              <a:gd name="connsiteX4824" fmla="*/ 699320 w 5794893"/>
              <a:gd name="connsiteY4824" fmla="*/ 6435271 h 6858000"/>
              <a:gd name="connsiteX4825" fmla="*/ 651388 w 5794893"/>
              <a:gd name="connsiteY4825" fmla="*/ 6306223 h 6858000"/>
              <a:gd name="connsiteX4826" fmla="*/ 769375 w 5794893"/>
              <a:gd name="connsiteY4826" fmla="*/ 6306223 h 6858000"/>
              <a:gd name="connsiteX4827" fmla="*/ 720214 w 5794893"/>
              <a:gd name="connsiteY4827" fmla="*/ 6335718 h 6858000"/>
              <a:gd name="connsiteX4828" fmla="*/ 777978 w 5794893"/>
              <a:gd name="connsiteY4828" fmla="*/ 6459851 h 6858000"/>
              <a:gd name="connsiteX4829" fmla="*/ 827139 w 5794893"/>
              <a:gd name="connsiteY4829" fmla="*/ 6430355 h 6858000"/>
              <a:gd name="connsiteX4830" fmla="*/ 769375 w 5794893"/>
              <a:gd name="connsiteY4830" fmla="*/ 6306223 h 6858000"/>
              <a:gd name="connsiteX4831" fmla="*/ 887362 w 5794893"/>
              <a:gd name="connsiteY4831" fmla="*/ 6306223 h 6858000"/>
              <a:gd name="connsiteX4832" fmla="*/ 840659 w 5794893"/>
              <a:gd name="connsiteY4832" fmla="*/ 6340634 h 6858000"/>
              <a:gd name="connsiteX4833" fmla="*/ 908255 w 5794893"/>
              <a:gd name="connsiteY4833" fmla="*/ 6459851 h 6858000"/>
              <a:gd name="connsiteX4834" fmla="*/ 954959 w 5794893"/>
              <a:gd name="connsiteY4834" fmla="*/ 6425438 h 6858000"/>
              <a:gd name="connsiteX4835" fmla="*/ 887362 w 5794893"/>
              <a:gd name="connsiteY4835" fmla="*/ 6306223 h 6858000"/>
              <a:gd name="connsiteX4836" fmla="*/ 1005350 w 5794893"/>
              <a:gd name="connsiteY4836" fmla="*/ 6307451 h 6858000"/>
              <a:gd name="connsiteX4837" fmla="*/ 959875 w 5794893"/>
              <a:gd name="connsiteY4837" fmla="*/ 6346780 h 6858000"/>
              <a:gd name="connsiteX4838" fmla="*/ 1037304 w 5794893"/>
              <a:gd name="connsiteY4838" fmla="*/ 6459851 h 6858000"/>
              <a:gd name="connsiteX4839" fmla="*/ 1082778 w 5794893"/>
              <a:gd name="connsiteY4839" fmla="*/ 6420522 h 6858000"/>
              <a:gd name="connsiteX4840" fmla="*/ 1005350 w 5794893"/>
              <a:gd name="connsiteY4840" fmla="*/ 6307451 h 6858000"/>
              <a:gd name="connsiteX4841" fmla="*/ 1123337 w 5794893"/>
              <a:gd name="connsiteY4841" fmla="*/ 6307451 h 6858000"/>
              <a:gd name="connsiteX4842" fmla="*/ 1080320 w 5794893"/>
              <a:gd name="connsiteY4842" fmla="*/ 6351696 h 6858000"/>
              <a:gd name="connsiteX4843" fmla="*/ 1167582 w 5794893"/>
              <a:gd name="connsiteY4843" fmla="*/ 6459851 h 6858000"/>
              <a:gd name="connsiteX4844" fmla="*/ 1210598 w 5794893"/>
              <a:gd name="connsiteY4844" fmla="*/ 6415606 h 6858000"/>
              <a:gd name="connsiteX4845" fmla="*/ 1123337 w 5794893"/>
              <a:gd name="connsiteY4845" fmla="*/ 6307451 h 6858000"/>
              <a:gd name="connsiteX4846" fmla="*/ 178209 w 5794893"/>
              <a:gd name="connsiteY4846" fmla="*/ 6500409 h 6858000"/>
              <a:gd name="connsiteX4847" fmla="*/ 119216 w 5794893"/>
              <a:gd name="connsiteY4847" fmla="*/ 6505326 h 6858000"/>
              <a:gd name="connsiteX4848" fmla="*/ 129048 w 5794893"/>
              <a:gd name="connsiteY4848" fmla="*/ 6654039 h 6858000"/>
              <a:gd name="connsiteX4849" fmla="*/ 188042 w 5794893"/>
              <a:gd name="connsiteY4849" fmla="*/ 6649123 h 6858000"/>
              <a:gd name="connsiteX4850" fmla="*/ 178209 w 5794893"/>
              <a:gd name="connsiteY4850" fmla="*/ 6500409 h 6858000"/>
              <a:gd name="connsiteX4851" fmla="*/ 296197 w 5794893"/>
              <a:gd name="connsiteY4851" fmla="*/ 6500409 h 6858000"/>
              <a:gd name="connsiteX4852" fmla="*/ 240891 w 5794893"/>
              <a:gd name="connsiteY4852" fmla="*/ 6510241 h 6858000"/>
              <a:gd name="connsiteX4853" fmla="*/ 259326 w 5794893"/>
              <a:gd name="connsiteY4853" fmla="*/ 6654039 h 6858000"/>
              <a:gd name="connsiteX4854" fmla="*/ 315861 w 5794893"/>
              <a:gd name="connsiteY4854" fmla="*/ 6644206 h 6858000"/>
              <a:gd name="connsiteX4855" fmla="*/ 296197 w 5794893"/>
              <a:gd name="connsiteY4855" fmla="*/ 6500409 h 6858000"/>
              <a:gd name="connsiteX4856" fmla="*/ 415413 w 5794893"/>
              <a:gd name="connsiteY4856" fmla="*/ 6500409 h 6858000"/>
              <a:gd name="connsiteX4857" fmla="*/ 360106 w 5794893"/>
              <a:gd name="connsiteY4857" fmla="*/ 6515159 h 6858000"/>
              <a:gd name="connsiteX4858" fmla="*/ 389603 w 5794893"/>
              <a:gd name="connsiteY4858" fmla="*/ 6654039 h 6858000"/>
              <a:gd name="connsiteX4859" fmla="*/ 444910 w 5794893"/>
              <a:gd name="connsiteY4859" fmla="*/ 6639290 h 6858000"/>
              <a:gd name="connsiteX4860" fmla="*/ 415413 w 5794893"/>
              <a:gd name="connsiteY4860" fmla="*/ 6500409 h 6858000"/>
              <a:gd name="connsiteX4861" fmla="*/ 532171 w 5794893"/>
              <a:gd name="connsiteY4861" fmla="*/ 6500409 h 6858000"/>
              <a:gd name="connsiteX4862" fmla="*/ 479323 w 5794893"/>
              <a:gd name="connsiteY4862" fmla="*/ 6520073 h 6858000"/>
              <a:gd name="connsiteX4863" fmla="*/ 518652 w 5794893"/>
              <a:gd name="connsiteY4863" fmla="*/ 6654039 h 6858000"/>
              <a:gd name="connsiteX4864" fmla="*/ 571500 w 5794893"/>
              <a:gd name="connsiteY4864" fmla="*/ 6634374 h 6858000"/>
              <a:gd name="connsiteX4865" fmla="*/ 532171 w 5794893"/>
              <a:gd name="connsiteY4865" fmla="*/ 6500409 h 6858000"/>
              <a:gd name="connsiteX4866" fmla="*/ 651388 w 5794893"/>
              <a:gd name="connsiteY4866" fmla="*/ 6500409 h 6858000"/>
              <a:gd name="connsiteX4867" fmla="*/ 599769 w 5794893"/>
              <a:gd name="connsiteY4867" fmla="*/ 6524990 h 6858000"/>
              <a:gd name="connsiteX4868" fmla="*/ 648930 w 5794893"/>
              <a:gd name="connsiteY4868" fmla="*/ 6654039 h 6858000"/>
              <a:gd name="connsiteX4869" fmla="*/ 699320 w 5794893"/>
              <a:gd name="connsiteY4869" fmla="*/ 6629458 h 6858000"/>
              <a:gd name="connsiteX4870" fmla="*/ 651388 w 5794893"/>
              <a:gd name="connsiteY4870" fmla="*/ 6500409 h 6858000"/>
              <a:gd name="connsiteX4871" fmla="*/ 769375 w 5794893"/>
              <a:gd name="connsiteY4871" fmla="*/ 6500409 h 6858000"/>
              <a:gd name="connsiteX4872" fmla="*/ 720214 w 5794893"/>
              <a:gd name="connsiteY4872" fmla="*/ 6531135 h 6858000"/>
              <a:gd name="connsiteX4873" fmla="*/ 777978 w 5794893"/>
              <a:gd name="connsiteY4873" fmla="*/ 6654039 h 6858000"/>
              <a:gd name="connsiteX4874" fmla="*/ 827139 w 5794893"/>
              <a:gd name="connsiteY4874" fmla="*/ 6624542 h 6858000"/>
              <a:gd name="connsiteX4875" fmla="*/ 769375 w 5794893"/>
              <a:gd name="connsiteY4875" fmla="*/ 6500409 h 6858000"/>
              <a:gd name="connsiteX4876" fmla="*/ 1005350 w 5794893"/>
              <a:gd name="connsiteY4876" fmla="*/ 6500409 h 6858000"/>
              <a:gd name="connsiteX4877" fmla="*/ 959875 w 5794893"/>
              <a:gd name="connsiteY4877" fmla="*/ 6539739 h 6858000"/>
              <a:gd name="connsiteX4878" fmla="*/ 1037304 w 5794893"/>
              <a:gd name="connsiteY4878" fmla="*/ 6652810 h 6858000"/>
              <a:gd name="connsiteX4879" fmla="*/ 1082778 w 5794893"/>
              <a:gd name="connsiteY4879" fmla="*/ 6613481 h 6858000"/>
              <a:gd name="connsiteX4880" fmla="*/ 1005350 w 5794893"/>
              <a:gd name="connsiteY4880" fmla="*/ 6500409 h 6858000"/>
              <a:gd name="connsiteX4881" fmla="*/ 1242552 w 5794893"/>
              <a:gd name="connsiteY4881" fmla="*/ 6500409 h 6858000"/>
              <a:gd name="connsiteX4882" fmla="*/ 1200765 w 5794893"/>
              <a:gd name="connsiteY4882" fmla="*/ 6549570 h 6858000"/>
              <a:gd name="connsiteX4883" fmla="*/ 1297860 w 5794893"/>
              <a:gd name="connsiteY4883" fmla="*/ 6654039 h 6858000"/>
              <a:gd name="connsiteX4884" fmla="*/ 1338417 w 5794893"/>
              <a:gd name="connsiteY4884" fmla="*/ 6604877 h 6858000"/>
              <a:gd name="connsiteX4885" fmla="*/ 1242552 w 5794893"/>
              <a:gd name="connsiteY4885" fmla="*/ 6500409 h 6858000"/>
              <a:gd name="connsiteX4886" fmla="*/ 1359311 w 5794893"/>
              <a:gd name="connsiteY4886" fmla="*/ 6500409 h 6858000"/>
              <a:gd name="connsiteX4887" fmla="*/ 1319982 w 5794893"/>
              <a:gd name="connsiteY4887" fmla="*/ 6555716 h 6858000"/>
              <a:gd name="connsiteX4888" fmla="*/ 1426908 w 5794893"/>
              <a:gd name="connsiteY4888" fmla="*/ 6652810 h 6858000"/>
              <a:gd name="connsiteX4889" fmla="*/ 1466237 w 5794893"/>
              <a:gd name="connsiteY4889" fmla="*/ 6598732 h 6858000"/>
              <a:gd name="connsiteX4890" fmla="*/ 1359311 w 5794893"/>
              <a:gd name="connsiteY4890" fmla="*/ 6500409 h 6858000"/>
              <a:gd name="connsiteX4891" fmla="*/ 1477299 w 5794893"/>
              <a:gd name="connsiteY4891" fmla="*/ 6500409 h 6858000"/>
              <a:gd name="connsiteX4892" fmla="*/ 1440428 w 5794893"/>
              <a:gd name="connsiteY4892" fmla="*/ 6559402 h 6858000"/>
              <a:gd name="connsiteX4893" fmla="*/ 1557185 w 5794893"/>
              <a:gd name="connsiteY4893" fmla="*/ 6652810 h 6858000"/>
              <a:gd name="connsiteX4894" fmla="*/ 1594056 w 5794893"/>
              <a:gd name="connsiteY4894" fmla="*/ 6593815 h 6858000"/>
              <a:gd name="connsiteX4895" fmla="*/ 1477299 w 5794893"/>
              <a:gd name="connsiteY4895" fmla="*/ 6500409 h 6858000"/>
              <a:gd name="connsiteX4896" fmla="*/ 1123337 w 5794893"/>
              <a:gd name="connsiteY4896" fmla="*/ 6501639 h 6858000"/>
              <a:gd name="connsiteX4897" fmla="*/ 1080320 w 5794893"/>
              <a:gd name="connsiteY4897" fmla="*/ 6545884 h 6858000"/>
              <a:gd name="connsiteX4898" fmla="*/ 1167582 w 5794893"/>
              <a:gd name="connsiteY4898" fmla="*/ 6654039 h 6858000"/>
              <a:gd name="connsiteX4899" fmla="*/ 1210598 w 5794893"/>
              <a:gd name="connsiteY4899" fmla="*/ 6609793 h 6858000"/>
              <a:gd name="connsiteX4900" fmla="*/ 1123337 w 5794893"/>
              <a:gd name="connsiteY4900" fmla="*/ 6501639 h 6858000"/>
              <a:gd name="connsiteX4901" fmla="*/ 887362 w 5794893"/>
              <a:gd name="connsiteY4901" fmla="*/ 6501639 h 6858000"/>
              <a:gd name="connsiteX4902" fmla="*/ 840659 w 5794893"/>
              <a:gd name="connsiteY4902" fmla="*/ 6536051 h 6858000"/>
              <a:gd name="connsiteX4903" fmla="*/ 908255 w 5794893"/>
              <a:gd name="connsiteY4903" fmla="*/ 6654039 h 6858000"/>
              <a:gd name="connsiteX4904" fmla="*/ 954959 w 5794893"/>
              <a:gd name="connsiteY4904" fmla="*/ 6620854 h 6858000"/>
              <a:gd name="connsiteX4905" fmla="*/ 887362 w 5794893"/>
              <a:gd name="connsiteY4905" fmla="*/ 6501639 h 6858000"/>
              <a:gd name="connsiteX4906" fmla="*/ 178209 w 5794893"/>
              <a:gd name="connsiteY4906" fmla="*/ 6694596 h 6858000"/>
              <a:gd name="connsiteX4907" fmla="*/ 119216 w 5794893"/>
              <a:gd name="connsiteY4907" fmla="*/ 6699514 h 6858000"/>
              <a:gd name="connsiteX4908" fmla="*/ 129048 w 5794893"/>
              <a:gd name="connsiteY4908" fmla="*/ 6848226 h 6858000"/>
              <a:gd name="connsiteX4909" fmla="*/ 188042 w 5794893"/>
              <a:gd name="connsiteY4909" fmla="*/ 6843310 h 6858000"/>
              <a:gd name="connsiteX4910" fmla="*/ 178209 w 5794893"/>
              <a:gd name="connsiteY4910" fmla="*/ 6694596 h 6858000"/>
              <a:gd name="connsiteX4911" fmla="*/ 296197 w 5794893"/>
              <a:gd name="connsiteY4911" fmla="*/ 6694596 h 6858000"/>
              <a:gd name="connsiteX4912" fmla="*/ 239661 w 5794893"/>
              <a:gd name="connsiteY4912" fmla="*/ 6704428 h 6858000"/>
              <a:gd name="connsiteX4913" fmla="*/ 259326 w 5794893"/>
              <a:gd name="connsiteY4913" fmla="*/ 6848226 h 6858000"/>
              <a:gd name="connsiteX4914" fmla="*/ 315861 w 5794893"/>
              <a:gd name="connsiteY4914" fmla="*/ 6838394 h 6858000"/>
              <a:gd name="connsiteX4915" fmla="*/ 296197 w 5794893"/>
              <a:gd name="connsiteY4915" fmla="*/ 6694596 h 6858000"/>
              <a:gd name="connsiteX4916" fmla="*/ 415413 w 5794893"/>
              <a:gd name="connsiteY4916" fmla="*/ 6694596 h 6858000"/>
              <a:gd name="connsiteX4917" fmla="*/ 360106 w 5794893"/>
              <a:gd name="connsiteY4917" fmla="*/ 6709345 h 6858000"/>
              <a:gd name="connsiteX4918" fmla="*/ 389603 w 5794893"/>
              <a:gd name="connsiteY4918" fmla="*/ 6848226 h 6858000"/>
              <a:gd name="connsiteX4919" fmla="*/ 444910 w 5794893"/>
              <a:gd name="connsiteY4919" fmla="*/ 6833478 h 6858000"/>
              <a:gd name="connsiteX4920" fmla="*/ 415413 w 5794893"/>
              <a:gd name="connsiteY4920" fmla="*/ 6694596 h 6858000"/>
              <a:gd name="connsiteX4921" fmla="*/ 651388 w 5794893"/>
              <a:gd name="connsiteY4921" fmla="*/ 6694596 h 6858000"/>
              <a:gd name="connsiteX4922" fmla="*/ 599769 w 5794893"/>
              <a:gd name="connsiteY4922" fmla="*/ 6719177 h 6858000"/>
              <a:gd name="connsiteX4923" fmla="*/ 648930 w 5794893"/>
              <a:gd name="connsiteY4923" fmla="*/ 6848226 h 6858000"/>
              <a:gd name="connsiteX4924" fmla="*/ 699320 w 5794893"/>
              <a:gd name="connsiteY4924" fmla="*/ 6823645 h 6858000"/>
              <a:gd name="connsiteX4925" fmla="*/ 651388 w 5794893"/>
              <a:gd name="connsiteY4925" fmla="*/ 6694596 h 6858000"/>
              <a:gd name="connsiteX4926" fmla="*/ 887362 w 5794893"/>
              <a:gd name="connsiteY4926" fmla="*/ 6694596 h 6858000"/>
              <a:gd name="connsiteX4927" fmla="*/ 840659 w 5794893"/>
              <a:gd name="connsiteY4927" fmla="*/ 6729009 h 6858000"/>
              <a:gd name="connsiteX4928" fmla="*/ 908255 w 5794893"/>
              <a:gd name="connsiteY4928" fmla="*/ 6848226 h 6858000"/>
              <a:gd name="connsiteX4929" fmla="*/ 954959 w 5794893"/>
              <a:gd name="connsiteY4929" fmla="*/ 6813813 h 6858000"/>
              <a:gd name="connsiteX4930" fmla="*/ 887362 w 5794893"/>
              <a:gd name="connsiteY4930" fmla="*/ 6694596 h 6858000"/>
              <a:gd name="connsiteX4931" fmla="*/ 1005350 w 5794893"/>
              <a:gd name="connsiteY4931" fmla="*/ 6694596 h 6858000"/>
              <a:gd name="connsiteX4932" fmla="*/ 959875 w 5794893"/>
              <a:gd name="connsiteY4932" fmla="*/ 6735155 h 6858000"/>
              <a:gd name="connsiteX4933" fmla="*/ 1037304 w 5794893"/>
              <a:gd name="connsiteY4933" fmla="*/ 6848226 h 6858000"/>
              <a:gd name="connsiteX4934" fmla="*/ 1082778 w 5794893"/>
              <a:gd name="connsiteY4934" fmla="*/ 6808897 h 6858000"/>
              <a:gd name="connsiteX4935" fmla="*/ 1005350 w 5794893"/>
              <a:gd name="connsiteY4935" fmla="*/ 6694596 h 6858000"/>
              <a:gd name="connsiteX4936" fmla="*/ 1123337 w 5794893"/>
              <a:gd name="connsiteY4936" fmla="*/ 6695826 h 6858000"/>
              <a:gd name="connsiteX4937" fmla="*/ 1080320 w 5794893"/>
              <a:gd name="connsiteY4937" fmla="*/ 6740071 h 6858000"/>
              <a:gd name="connsiteX4938" fmla="*/ 1167582 w 5794893"/>
              <a:gd name="connsiteY4938" fmla="*/ 6848226 h 6858000"/>
              <a:gd name="connsiteX4939" fmla="*/ 1210598 w 5794893"/>
              <a:gd name="connsiteY4939" fmla="*/ 6803981 h 6858000"/>
              <a:gd name="connsiteX4940" fmla="*/ 1123337 w 5794893"/>
              <a:gd name="connsiteY4940" fmla="*/ 6695826 h 6858000"/>
              <a:gd name="connsiteX4941" fmla="*/ 1240094 w 5794893"/>
              <a:gd name="connsiteY4941" fmla="*/ 6695826 h 6858000"/>
              <a:gd name="connsiteX4942" fmla="*/ 1199537 w 5794893"/>
              <a:gd name="connsiteY4942" fmla="*/ 6744987 h 6858000"/>
              <a:gd name="connsiteX4943" fmla="*/ 1296630 w 5794893"/>
              <a:gd name="connsiteY4943" fmla="*/ 6848226 h 6858000"/>
              <a:gd name="connsiteX4944" fmla="*/ 1338417 w 5794893"/>
              <a:gd name="connsiteY4944" fmla="*/ 6799065 h 6858000"/>
              <a:gd name="connsiteX4945" fmla="*/ 1240094 w 5794893"/>
              <a:gd name="connsiteY4945" fmla="*/ 6695826 h 6858000"/>
              <a:gd name="connsiteX4946" fmla="*/ 1359311 w 5794893"/>
              <a:gd name="connsiteY4946" fmla="*/ 6695826 h 6858000"/>
              <a:gd name="connsiteX4947" fmla="*/ 1319982 w 5794893"/>
              <a:gd name="connsiteY4947" fmla="*/ 6749903 h 6858000"/>
              <a:gd name="connsiteX4948" fmla="*/ 1426908 w 5794893"/>
              <a:gd name="connsiteY4948" fmla="*/ 6848226 h 6858000"/>
              <a:gd name="connsiteX4949" fmla="*/ 1466237 w 5794893"/>
              <a:gd name="connsiteY4949" fmla="*/ 6794149 h 6858000"/>
              <a:gd name="connsiteX4950" fmla="*/ 1359311 w 5794893"/>
              <a:gd name="connsiteY4950" fmla="*/ 6695826 h 6858000"/>
              <a:gd name="connsiteX4951" fmla="*/ 769375 w 5794893"/>
              <a:gd name="connsiteY4951" fmla="*/ 6695826 h 6858000"/>
              <a:gd name="connsiteX4952" fmla="*/ 720214 w 5794893"/>
              <a:gd name="connsiteY4952" fmla="*/ 6726552 h 6858000"/>
              <a:gd name="connsiteX4953" fmla="*/ 777978 w 5794893"/>
              <a:gd name="connsiteY4953" fmla="*/ 6849456 h 6858000"/>
              <a:gd name="connsiteX4954" fmla="*/ 827139 w 5794893"/>
              <a:gd name="connsiteY4954" fmla="*/ 6819958 h 6858000"/>
              <a:gd name="connsiteX4955" fmla="*/ 769375 w 5794893"/>
              <a:gd name="connsiteY4955" fmla="*/ 6695826 h 6858000"/>
              <a:gd name="connsiteX4956" fmla="*/ 532171 w 5794893"/>
              <a:gd name="connsiteY4956" fmla="*/ 6695826 h 6858000"/>
              <a:gd name="connsiteX4957" fmla="*/ 479323 w 5794893"/>
              <a:gd name="connsiteY4957" fmla="*/ 6715490 h 6858000"/>
              <a:gd name="connsiteX4958" fmla="*/ 518652 w 5794893"/>
              <a:gd name="connsiteY4958" fmla="*/ 6848226 h 6858000"/>
              <a:gd name="connsiteX4959" fmla="*/ 571500 w 5794893"/>
              <a:gd name="connsiteY4959" fmla="*/ 6829790 h 6858000"/>
              <a:gd name="connsiteX4960" fmla="*/ 532171 w 5794893"/>
              <a:gd name="connsiteY4960" fmla="*/ 669582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Lst>
            <a:rect l="l" t="t" r="r" b="b"/>
            <a:pathLst>
              <a:path w="5794893" h="6858000">
                <a:moveTo>
                  <a:pt x="60222" y="0"/>
                </a:moveTo>
                <a:lnTo>
                  <a:pt x="123428" y="0"/>
                </a:lnTo>
                <a:lnTo>
                  <a:pt x="129048" y="97144"/>
                </a:lnTo>
                <a:lnTo>
                  <a:pt x="188042" y="92228"/>
                </a:lnTo>
                <a:lnTo>
                  <a:pt x="181944" y="0"/>
                </a:lnTo>
                <a:lnTo>
                  <a:pt x="246440" y="0"/>
                </a:lnTo>
                <a:lnTo>
                  <a:pt x="260555" y="97144"/>
                </a:lnTo>
                <a:lnTo>
                  <a:pt x="317091" y="87311"/>
                </a:lnTo>
                <a:lnTo>
                  <a:pt x="305151" y="0"/>
                </a:lnTo>
                <a:lnTo>
                  <a:pt x="368602" y="0"/>
                </a:lnTo>
                <a:lnTo>
                  <a:pt x="388375" y="97144"/>
                </a:lnTo>
                <a:lnTo>
                  <a:pt x="443681" y="82395"/>
                </a:lnTo>
                <a:lnTo>
                  <a:pt x="426181" y="0"/>
                </a:lnTo>
                <a:lnTo>
                  <a:pt x="490133" y="0"/>
                </a:lnTo>
                <a:lnTo>
                  <a:pt x="518652" y="97144"/>
                </a:lnTo>
                <a:lnTo>
                  <a:pt x="571500" y="77479"/>
                </a:lnTo>
                <a:lnTo>
                  <a:pt x="548754" y="0"/>
                </a:lnTo>
                <a:lnTo>
                  <a:pt x="611923" y="0"/>
                </a:lnTo>
                <a:lnTo>
                  <a:pt x="648930" y="97144"/>
                </a:lnTo>
                <a:lnTo>
                  <a:pt x="699320" y="72563"/>
                </a:lnTo>
                <a:lnTo>
                  <a:pt x="672368" y="0"/>
                </a:lnTo>
                <a:lnTo>
                  <a:pt x="733040" y="0"/>
                </a:lnTo>
                <a:lnTo>
                  <a:pt x="779207" y="97144"/>
                </a:lnTo>
                <a:lnTo>
                  <a:pt x="828369" y="67647"/>
                </a:lnTo>
                <a:lnTo>
                  <a:pt x="796220" y="0"/>
                </a:lnTo>
                <a:lnTo>
                  <a:pt x="852601" y="0"/>
                </a:lnTo>
                <a:lnTo>
                  <a:pt x="908255" y="97144"/>
                </a:lnTo>
                <a:lnTo>
                  <a:pt x="954959" y="62731"/>
                </a:lnTo>
                <a:lnTo>
                  <a:pt x="919390" y="0"/>
                </a:lnTo>
                <a:lnTo>
                  <a:pt x="971623" y="0"/>
                </a:lnTo>
                <a:lnTo>
                  <a:pt x="1037304" y="95915"/>
                </a:lnTo>
                <a:lnTo>
                  <a:pt x="1082778" y="56586"/>
                </a:lnTo>
                <a:lnTo>
                  <a:pt x="1044029" y="0"/>
                </a:lnTo>
                <a:lnTo>
                  <a:pt x="1089204" y="0"/>
                </a:lnTo>
                <a:lnTo>
                  <a:pt x="1167582" y="97144"/>
                </a:lnTo>
                <a:lnTo>
                  <a:pt x="1210598" y="51670"/>
                </a:lnTo>
                <a:lnTo>
                  <a:pt x="1168910" y="0"/>
                </a:lnTo>
                <a:lnTo>
                  <a:pt x="1206350" y="0"/>
                </a:lnTo>
                <a:lnTo>
                  <a:pt x="1297860" y="98373"/>
                </a:lnTo>
                <a:lnTo>
                  <a:pt x="1338417" y="49212"/>
                </a:lnTo>
                <a:lnTo>
                  <a:pt x="1292680" y="0"/>
                </a:lnTo>
                <a:lnTo>
                  <a:pt x="1321248" y="0"/>
                </a:lnTo>
                <a:lnTo>
                  <a:pt x="1426908" y="98373"/>
                </a:lnTo>
                <a:lnTo>
                  <a:pt x="1466237" y="43066"/>
                </a:lnTo>
                <a:lnTo>
                  <a:pt x="1419403" y="0"/>
                </a:lnTo>
                <a:lnTo>
                  <a:pt x="1441534" y="0"/>
                </a:lnTo>
                <a:lnTo>
                  <a:pt x="1439198" y="3737"/>
                </a:lnTo>
                <a:lnTo>
                  <a:pt x="1555957" y="97144"/>
                </a:lnTo>
                <a:lnTo>
                  <a:pt x="1592828" y="38150"/>
                </a:lnTo>
                <a:lnTo>
                  <a:pt x="1545140" y="0"/>
                </a:lnTo>
                <a:lnTo>
                  <a:pt x="1563241" y="0"/>
                </a:lnTo>
                <a:lnTo>
                  <a:pt x="1558415" y="8653"/>
                </a:lnTo>
                <a:lnTo>
                  <a:pt x="1685005" y="97144"/>
                </a:lnTo>
                <a:lnTo>
                  <a:pt x="1718189" y="36922"/>
                </a:lnTo>
                <a:lnTo>
                  <a:pt x="1815282" y="97144"/>
                </a:lnTo>
                <a:lnTo>
                  <a:pt x="1842321" y="41838"/>
                </a:lnTo>
                <a:lnTo>
                  <a:pt x="1945560" y="97144"/>
                </a:lnTo>
                <a:lnTo>
                  <a:pt x="1967682" y="45524"/>
                </a:lnTo>
                <a:lnTo>
                  <a:pt x="2075837" y="97144"/>
                </a:lnTo>
                <a:lnTo>
                  <a:pt x="2093044" y="50440"/>
                </a:lnTo>
                <a:lnTo>
                  <a:pt x="2204887" y="97144"/>
                </a:lnTo>
                <a:lnTo>
                  <a:pt x="2218405" y="54128"/>
                </a:lnTo>
                <a:lnTo>
                  <a:pt x="2336392" y="98373"/>
                </a:lnTo>
                <a:lnTo>
                  <a:pt x="2347454" y="60273"/>
                </a:lnTo>
                <a:lnTo>
                  <a:pt x="2466670" y="98373"/>
                </a:lnTo>
                <a:lnTo>
                  <a:pt x="2475274" y="63960"/>
                </a:lnTo>
                <a:lnTo>
                  <a:pt x="2595719" y="98373"/>
                </a:lnTo>
                <a:lnTo>
                  <a:pt x="2601864" y="68877"/>
                </a:lnTo>
                <a:lnTo>
                  <a:pt x="2724767" y="98373"/>
                </a:lnTo>
                <a:lnTo>
                  <a:pt x="2729683" y="72563"/>
                </a:lnTo>
                <a:lnTo>
                  <a:pt x="2855045" y="98373"/>
                </a:lnTo>
                <a:lnTo>
                  <a:pt x="2858732" y="76251"/>
                </a:lnTo>
                <a:lnTo>
                  <a:pt x="2985322" y="98373"/>
                </a:lnTo>
                <a:lnTo>
                  <a:pt x="2987780" y="79937"/>
                </a:lnTo>
                <a:lnTo>
                  <a:pt x="3114371" y="98373"/>
                </a:lnTo>
                <a:lnTo>
                  <a:pt x="3115600" y="82395"/>
                </a:lnTo>
                <a:lnTo>
                  <a:pt x="3243419" y="98373"/>
                </a:lnTo>
                <a:lnTo>
                  <a:pt x="3244649" y="86083"/>
                </a:lnTo>
                <a:lnTo>
                  <a:pt x="3373697" y="98373"/>
                </a:lnTo>
                <a:lnTo>
                  <a:pt x="3374927" y="88541"/>
                </a:lnTo>
                <a:lnTo>
                  <a:pt x="3503974" y="98373"/>
                </a:lnTo>
                <a:lnTo>
                  <a:pt x="3503974" y="90999"/>
                </a:lnTo>
                <a:lnTo>
                  <a:pt x="3633024" y="98373"/>
                </a:lnTo>
                <a:lnTo>
                  <a:pt x="3633024" y="93457"/>
                </a:lnTo>
                <a:lnTo>
                  <a:pt x="3641626" y="93457"/>
                </a:lnTo>
                <a:lnTo>
                  <a:pt x="3721514" y="95915"/>
                </a:lnTo>
                <a:lnTo>
                  <a:pt x="3721514" y="97144"/>
                </a:lnTo>
                <a:lnTo>
                  <a:pt x="5715007" y="142619"/>
                </a:lnTo>
                <a:lnTo>
                  <a:pt x="3721514" y="137702"/>
                </a:lnTo>
                <a:lnTo>
                  <a:pt x="3721514" y="140160"/>
                </a:lnTo>
                <a:lnTo>
                  <a:pt x="3603527" y="137702"/>
                </a:lnTo>
                <a:lnTo>
                  <a:pt x="3603527" y="141389"/>
                </a:lnTo>
                <a:lnTo>
                  <a:pt x="3485540" y="137702"/>
                </a:lnTo>
                <a:lnTo>
                  <a:pt x="3485540" y="143847"/>
                </a:lnTo>
                <a:lnTo>
                  <a:pt x="3367552" y="137702"/>
                </a:lnTo>
                <a:lnTo>
                  <a:pt x="3367552" y="146305"/>
                </a:lnTo>
                <a:lnTo>
                  <a:pt x="3249565" y="137702"/>
                </a:lnTo>
                <a:lnTo>
                  <a:pt x="3249565" y="148763"/>
                </a:lnTo>
                <a:lnTo>
                  <a:pt x="3131578" y="137702"/>
                </a:lnTo>
                <a:lnTo>
                  <a:pt x="3129120" y="152451"/>
                </a:lnTo>
                <a:lnTo>
                  <a:pt x="3012361" y="137702"/>
                </a:lnTo>
                <a:lnTo>
                  <a:pt x="3011133" y="154909"/>
                </a:lnTo>
                <a:lnTo>
                  <a:pt x="2894374" y="137702"/>
                </a:lnTo>
                <a:lnTo>
                  <a:pt x="2891916" y="158595"/>
                </a:lnTo>
                <a:lnTo>
                  <a:pt x="2776386" y="137702"/>
                </a:lnTo>
                <a:lnTo>
                  <a:pt x="2772700" y="162283"/>
                </a:lnTo>
                <a:lnTo>
                  <a:pt x="2658399" y="137702"/>
                </a:lnTo>
                <a:lnTo>
                  <a:pt x="2653483" y="164741"/>
                </a:lnTo>
                <a:lnTo>
                  <a:pt x="2540412" y="137702"/>
                </a:lnTo>
                <a:lnTo>
                  <a:pt x="2534268" y="169657"/>
                </a:lnTo>
                <a:lnTo>
                  <a:pt x="2422425" y="137702"/>
                </a:lnTo>
                <a:lnTo>
                  <a:pt x="2415051" y="173344"/>
                </a:lnTo>
                <a:lnTo>
                  <a:pt x="2304438" y="137702"/>
                </a:lnTo>
                <a:lnTo>
                  <a:pt x="2294605" y="177031"/>
                </a:lnTo>
                <a:lnTo>
                  <a:pt x="2186450" y="137702"/>
                </a:lnTo>
                <a:lnTo>
                  <a:pt x="2174160" y="181948"/>
                </a:lnTo>
                <a:lnTo>
                  <a:pt x="2068463" y="137702"/>
                </a:lnTo>
                <a:lnTo>
                  <a:pt x="2052486" y="186864"/>
                </a:lnTo>
                <a:lnTo>
                  <a:pt x="1950476" y="137702"/>
                </a:lnTo>
                <a:lnTo>
                  <a:pt x="1930811" y="190550"/>
                </a:lnTo>
                <a:lnTo>
                  <a:pt x="1832489" y="137702"/>
                </a:lnTo>
                <a:lnTo>
                  <a:pt x="1807908" y="195466"/>
                </a:lnTo>
                <a:lnTo>
                  <a:pt x="1714501" y="137702"/>
                </a:lnTo>
                <a:lnTo>
                  <a:pt x="1685005" y="200382"/>
                </a:lnTo>
                <a:lnTo>
                  <a:pt x="1596514" y="137702"/>
                </a:lnTo>
                <a:lnTo>
                  <a:pt x="1560873" y="201612"/>
                </a:lnTo>
                <a:lnTo>
                  <a:pt x="1685005" y="291331"/>
                </a:lnTo>
                <a:lnTo>
                  <a:pt x="1718189" y="231109"/>
                </a:lnTo>
                <a:lnTo>
                  <a:pt x="1815282" y="291331"/>
                </a:lnTo>
                <a:lnTo>
                  <a:pt x="1842321" y="236025"/>
                </a:lnTo>
                <a:lnTo>
                  <a:pt x="1945560" y="291331"/>
                </a:lnTo>
                <a:lnTo>
                  <a:pt x="1967682" y="239712"/>
                </a:lnTo>
                <a:lnTo>
                  <a:pt x="2075837" y="291331"/>
                </a:lnTo>
                <a:lnTo>
                  <a:pt x="2093044" y="244628"/>
                </a:lnTo>
                <a:lnTo>
                  <a:pt x="2204887" y="291331"/>
                </a:lnTo>
                <a:lnTo>
                  <a:pt x="2218405" y="248315"/>
                </a:lnTo>
                <a:lnTo>
                  <a:pt x="2333934" y="291331"/>
                </a:lnTo>
                <a:lnTo>
                  <a:pt x="2344996" y="253232"/>
                </a:lnTo>
                <a:lnTo>
                  <a:pt x="2464212" y="291331"/>
                </a:lnTo>
                <a:lnTo>
                  <a:pt x="2472816" y="256918"/>
                </a:lnTo>
                <a:lnTo>
                  <a:pt x="2593261" y="291331"/>
                </a:lnTo>
                <a:lnTo>
                  <a:pt x="2599406" y="261834"/>
                </a:lnTo>
                <a:lnTo>
                  <a:pt x="2722309" y="291331"/>
                </a:lnTo>
                <a:lnTo>
                  <a:pt x="2727225" y="265522"/>
                </a:lnTo>
                <a:lnTo>
                  <a:pt x="2852587" y="291331"/>
                </a:lnTo>
                <a:lnTo>
                  <a:pt x="2856274" y="269208"/>
                </a:lnTo>
                <a:lnTo>
                  <a:pt x="2982864" y="291331"/>
                </a:lnTo>
                <a:lnTo>
                  <a:pt x="2985322" y="272896"/>
                </a:lnTo>
                <a:lnTo>
                  <a:pt x="3111913" y="291331"/>
                </a:lnTo>
                <a:lnTo>
                  <a:pt x="3114371" y="275354"/>
                </a:lnTo>
                <a:lnTo>
                  <a:pt x="3240961" y="291331"/>
                </a:lnTo>
                <a:lnTo>
                  <a:pt x="3242191" y="279041"/>
                </a:lnTo>
                <a:lnTo>
                  <a:pt x="3371239" y="291331"/>
                </a:lnTo>
                <a:lnTo>
                  <a:pt x="3372468" y="281499"/>
                </a:lnTo>
                <a:lnTo>
                  <a:pt x="3501516" y="291331"/>
                </a:lnTo>
                <a:lnTo>
                  <a:pt x="3501516" y="283957"/>
                </a:lnTo>
                <a:lnTo>
                  <a:pt x="3630565" y="291331"/>
                </a:lnTo>
                <a:lnTo>
                  <a:pt x="3630565" y="286415"/>
                </a:lnTo>
                <a:lnTo>
                  <a:pt x="3639168" y="286415"/>
                </a:lnTo>
                <a:lnTo>
                  <a:pt x="3719056" y="288873"/>
                </a:lnTo>
                <a:lnTo>
                  <a:pt x="3719056" y="290103"/>
                </a:lnTo>
                <a:lnTo>
                  <a:pt x="5727297" y="331890"/>
                </a:lnTo>
                <a:lnTo>
                  <a:pt x="3719056" y="331890"/>
                </a:lnTo>
                <a:lnTo>
                  <a:pt x="3719056" y="334348"/>
                </a:lnTo>
                <a:lnTo>
                  <a:pt x="3601069" y="331890"/>
                </a:lnTo>
                <a:lnTo>
                  <a:pt x="3601069" y="336806"/>
                </a:lnTo>
                <a:lnTo>
                  <a:pt x="3485540" y="333118"/>
                </a:lnTo>
                <a:lnTo>
                  <a:pt x="3485540" y="339264"/>
                </a:lnTo>
                <a:lnTo>
                  <a:pt x="3367552" y="333118"/>
                </a:lnTo>
                <a:lnTo>
                  <a:pt x="3367552" y="341722"/>
                </a:lnTo>
                <a:lnTo>
                  <a:pt x="3249565" y="333118"/>
                </a:lnTo>
                <a:lnTo>
                  <a:pt x="3249565" y="344180"/>
                </a:lnTo>
                <a:lnTo>
                  <a:pt x="3131578" y="333118"/>
                </a:lnTo>
                <a:lnTo>
                  <a:pt x="3130348" y="347866"/>
                </a:lnTo>
                <a:lnTo>
                  <a:pt x="3012361" y="333118"/>
                </a:lnTo>
                <a:lnTo>
                  <a:pt x="3011133" y="350325"/>
                </a:lnTo>
                <a:lnTo>
                  <a:pt x="2894374" y="333118"/>
                </a:lnTo>
                <a:lnTo>
                  <a:pt x="2891916" y="354012"/>
                </a:lnTo>
                <a:lnTo>
                  <a:pt x="2776386" y="333118"/>
                </a:lnTo>
                <a:lnTo>
                  <a:pt x="2772700" y="357699"/>
                </a:lnTo>
                <a:lnTo>
                  <a:pt x="2658399" y="333118"/>
                </a:lnTo>
                <a:lnTo>
                  <a:pt x="2653483" y="360157"/>
                </a:lnTo>
                <a:lnTo>
                  <a:pt x="2540412" y="333118"/>
                </a:lnTo>
                <a:lnTo>
                  <a:pt x="2534268" y="365073"/>
                </a:lnTo>
                <a:lnTo>
                  <a:pt x="2422425" y="333118"/>
                </a:lnTo>
                <a:lnTo>
                  <a:pt x="2415051" y="368761"/>
                </a:lnTo>
                <a:lnTo>
                  <a:pt x="2304438" y="333118"/>
                </a:lnTo>
                <a:lnTo>
                  <a:pt x="2294605" y="372447"/>
                </a:lnTo>
                <a:lnTo>
                  <a:pt x="2186450" y="333118"/>
                </a:lnTo>
                <a:lnTo>
                  <a:pt x="2174160" y="377363"/>
                </a:lnTo>
                <a:lnTo>
                  <a:pt x="2068463" y="333118"/>
                </a:lnTo>
                <a:lnTo>
                  <a:pt x="2052486" y="382279"/>
                </a:lnTo>
                <a:lnTo>
                  <a:pt x="1950476" y="333118"/>
                </a:lnTo>
                <a:lnTo>
                  <a:pt x="1930811" y="387196"/>
                </a:lnTo>
                <a:lnTo>
                  <a:pt x="1832489" y="334348"/>
                </a:lnTo>
                <a:lnTo>
                  <a:pt x="1807908" y="392112"/>
                </a:lnTo>
                <a:lnTo>
                  <a:pt x="1714501" y="334348"/>
                </a:lnTo>
                <a:lnTo>
                  <a:pt x="1685005" y="395799"/>
                </a:lnTo>
                <a:lnTo>
                  <a:pt x="1596514" y="333118"/>
                </a:lnTo>
                <a:lnTo>
                  <a:pt x="1560873" y="397028"/>
                </a:lnTo>
                <a:lnTo>
                  <a:pt x="1685005" y="485518"/>
                </a:lnTo>
                <a:lnTo>
                  <a:pt x="1718189" y="425296"/>
                </a:lnTo>
                <a:lnTo>
                  <a:pt x="1815282" y="485518"/>
                </a:lnTo>
                <a:lnTo>
                  <a:pt x="1842321" y="430212"/>
                </a:lnTo>
                <a:lnTo>
                  <a:pt x="1945560" y="485518"/>
                </a:lnTo>
                <a:lnTo>
                  <a:pt x="1967682" y="433899"/>
                </a:lnTo>
                <a:lnTo>
                  <a:pt x="2075837" y="485518"/>
                </a:lnTo>
                <a:lnTo>
                  <a:pt x="2093044" y="438815"/>
                </a:lnTo>
                <a:lnTo>
                  <a:pt x="2204887" y="485518"/>
                </a:lnTo>
                <a:lnTo>
                  <a:pt x="2218405" y="442503"/>
                </a:lnTo>
                <a:lnTo>
                  <a:pt x="2333934" y="485518"/>
                </a:lnTo>
                <a:lnTo>
                  <a:pt x="2344996" y="447419"/>
                </a:lnTo>
                <a:lnTo>
                  <a:pt x="2464212" y="485518"/>
                </a:lnTo>
                <a:lnTo>
                  <a:pt x="2472816" y="451105"/>
                </a:lnTo>
                <a:lnTo>
                  <a:pt x="2593261" y="485518"/>
                </a:lnTo>
                <a:lnTo>
                  <a:pt x="2599406" y="456021"/>
                </a:lnTo>
                <a:lnTo>
                  <a:pt x="2722309" y="485518"/>
                </a:lnTo>
                <a:lnTo>
                  <a:pt x="2728455" y="459709"/>
                </a:lnTo>
                <a:lnTo>
                  <a:pt x="2855045" y="485518"/>
                </a:lnTo>
                <a:lnTo>
                  <a:pt x="2858732" y="463396"/>
                </a:lnTo>
                <a:lnTo>
                  <a:pt x="2985322" y="485518"/>
                </a:lnTo>
                <a:lnTo>
                  <a:pt x="2987780" y="467083"/>
                </a:lnTo>
                <a:lnTo>
                  <a:pt x="3114371" y="485518"/>
                </a:lnTo>
                <a:lnTo>
                  <a:pt x="3115600" y="469541"/>
                </a:lnTo>
                <a:lnTo>
                  <a:pt x="3243419" y="485518"/>
                </a:lnTo>
                <a:lnTo>
                  <a:pt x="3244649" y="473228"/>
                </a:lnTo>
                <a:lnTo>
                  <a:pt x="3373697" y="485518"/>
                </a:lnTo>
                <a:lnTo>
                  <a:pt x="3374927" y="475686"/>
                </a:lnTo>
                <a:lnTo>
                  <a:pt x="3503974" y="485518"/>
                </a:lnTo>
                <a:lnTo>
                  <a:pt x="3503974" y="478144"/>
                </a:lnTo>
                <a:lnTo>
                  <a:pt x="3633024" y="485518"/>
                </a:lnTo>
                <a:lnTo>
                  <a:pt x="3633024" y="481832"/>
                </a:lnTo>
                <a:lnTo>
                  <a:pt x="3641626" y="481832"/>
                </a:lnTo>
                <a:lnTo>
                  <a:pt x="3721514" y="484290"/>
                </a:lnTo>
                <a:lnTo>
                  <a:pt x="3721514" y="486748"/>
                </a:lnTo>
                <a:lnTo>
                  <a:pt x="5726067" y="528535"/>
                </a:lnTo>
                <a:lnTo>
                  <a:pt x="3720284" y="528535"/>
                </a:lnTo>
                <a:lnTo>
                  <a:pt x="3721514" y="529763"/>
                </a:lnTo>
                <a:lnTo>
                  <a:pt x="3603527" y="527305"/>
                </a:lnTo>
                <a:lnTo>
                  <a:pt x="3603527" y="530993"/>
                </a:lnTo>
                <a:lnTo>
                  <a:pt x="3485540" y="527305"/>
                </a:lnTo>
                <a:lnTo>
                  <a:pt x="3485540" y="533451"/>
                </a:lnTo>
                <a:lnTo>
                  <a:pt x="3367552" y="527305"/>
                </a:lnTo>
                <a:lnTo>
                  <a:pt x="3367552" y="535909"/>
                </a:lnTo>
                <a:lnTo>
                  <a:pt x="3249565" y="527305"/>
                </a:lnTo>
                <a:lnTo>
                  <a:pt x="3249565" y="538367"/>
                </a:lnTo>
                <a:lnTo>
                  <a:pt x="3131578" y="527305"/>
                </a:lnTo>
                <a:lnTo>
                  <a:pt x="3130348" y="542054"/>
                </a:lnTo>
                <a:lnTo>
                  <a:pt x="3012361" y="527305"/>
                </a:lnTo>
                <a:lnTo>
                  <a:pt x="3011133" y="544512"/>
                </a:lnTo>
                <a:lnTo>
                  <a:pt x="2894374" y="527305"/>
                </a:lnTo>
                <a:lnTo>
                  <a:pt x="2891916" y="548200"/>
                </a:lnTo>
                <a:lnTo>
                  <a:pt x="2776386" y="527305"/>
                </a:lnTo>
                <a:lnTo>
                  <a:pt x="2772700" y="550658"/>
                </a:lnTo>
                <a:lnTo>
                  <a:pt x="2658399" y="527305"/>
                </a:lnTo>
                <a:lnTo>
                  <a:pt x="2653483" y="554344"/>
                </a:lnTo>
                <a:lnTo>
                  <a:pt x="2540412" y="527305"/>
                </a:lnTo>
                <a:lnTo>
                  <a:pt x="2534268" y="558032"/>
                </a:lnTo>
                <a:lnTo>
                  <a:pt x="2422425" y="527305"/>
                </a:lnTo>
                <a:lnTo>
                  <a:pt x="2415051" y="562948"/>
                </a:lnTo>
                <a:lnTo>
                  <a:pt x="2304438" y="527305"/>
                </a:lnTo>
                <a:lnTo>
                  <a:pt x="2294605" y="566634"/>
                </a:lnTo>
                <a:lnTo>
                  <a:pt x="2186450" y="527305"/>
                </a:lnTo>
                <a:lnTo>
                  <a:pt x="2174160" y="571551"/>
                </a:lnTo>
                <a:lnTo>
                  <a:pt x="2068463" y="527305"/>
                </a:lnTo>
                <a:lnTo>
                  <a:pt x="2052486" y="576467"/>
                </a:lnTo>
                <a:lnTo>
                  <a:pt x="1950476" y="527305"/>
                </a:lnTo>
                <a:lnTo>
                  <a:pt x="1930811" y="580155"/>
                </a:lnTo>
                <a:lnTo>
                  <a:pt x="1832489" y="527305"/>
                </a:lnTo>
                <a:lnTo>
                  <a:pt x="1807908" y="585071"/>
                </a:lnTo>
                <a:lnTo>
                  <a:pt x="1714501" y="527305"/>
                </a:lnTo>
                <a:lnTo>
                  <a:pt x="1685005" y="589987"/>
                </a:lnTo>
                <a:lnTo>
                  <a:pt x="1596514" y="527305"/>
                </a:lnTo>
                <a:lnTo>
                  <a:pt x="1560873" y="591215"/>
                </a:lnTo>
                <a:lnTo>
                  <a:pt x="1685005" y="682164"/>
                </a:lnTo>
                <a:lnTo>
                  <a:pt x="1718189" y="621942"/>
                </a:lnTo>
                <a:lnTo>
                  <a:pt x="1815282" y="682164"/>
                </a:lnTo>
                <a:lnTo>
                  <a:pt x="1842321" y="626858"/>
                </a:lnTo>
                <a:lnTo>
                  <a:pt x="1945560" y="682164"/>
                </a:lnTo>
                <a:lnTo>
                  <a:pt x="1967682" y="630544"/>
                </a:lnTo>
                <a:lnTo>
                  <a:pt x="2075837" y="682164"/>
                </a:lnTo>
                <a:lnTo>
                  <a:pt x="2093044" y="635460"/>
                </a:lnTo>
                <a:lnTo>
                  <a:pt x="2204887" y="682164"/>
                </a:lnTo>
                <a:lnTo>
                  <a:pt x="2218405" y="639148"/>
                </a:lnTo>
                <a:lnTo>
                  <a:pt x="2333934" y="682164"/>
                </a:lnTo>
                <a:lnTo>
                  <a:pt x="2344996" y="644064"/>
                </a:lnTo>
                <a:lnTo>
                  <a:pt x="2464212" y="682164"/>
                </a:lnTo>
                <a:lnTo>
                  <a:pt x="2472816" y="647751"/>
                </a:lnTo>
                <a:lnTo>
                  <a:pt x="2593261" y="682164"/>
                </a:lnTo>
                <a:lnTo>
                  <a:pt x="2599406" y="652667"/>
                </a:lnTo>
                <a:lnTo>
                  <a:pt x="2722309" y="682164"/>
                </a:lnTo>
                <a:lnTo>
                  <a:pt x="2727225" y="656355"/>
                </a:lnTo>
                <a:lnTo>
                  <a:pt x="2852587" y="682164"/>
                </a:lnTo>
                <a:lnTo>
                  <a:pt x="2856274" y="660041"/>
                </a:lnTo>
                <a:lnTo>
                  <a:pt x="2982864" y="682164"/>
                </a:lnTo>
                <a:lnTo>
                  <a:pt x="2985322" y="663729"/>
                </a:lnTo>
                <a:lnTo>
                  <a:pt x="3111913" y="682164"/>
                </a:lnTo>
                <a:lnTo>
                  <a:pt x="3113142" y="666187"/>
                </a:lnTo>
                <a:lnTo>
                  <a:pt x="3240961" y="682164"/>
                </a:lnTo>
                <a:lnTo>
                  <a:pt x="3242191" y="669873"/>
                </a:lnTo>
                <a:lnTo>
                  <a:pt x="3371239" y="682164"/>
                </a:lnTo>
                <a:lnTo>
                  <a:pt x="3372468" y="672331"/>
                </a:lnTo>
                <a:lnTo>
                  <a:pt x="3501516" y="682164"/>
                </a:lnTo>
                <a:lnTo>
                  <a:pt x="3501516" y="674789"/>
                </a:lnTo>
                <a:lnTo>
                  <a:pt x="3630565" y="682164"/>
                </a:lnTo>
                <a:lnTo>
                  <a:pt x="3630565" y="677248"/>
                </a:lnTo>
                <a:lnTo>
                  <a:pt x="3639168" y="677248"/>
                </a:lnTo>
                <a:lnTo>
                  <a:pt x="3719056" y="679706"/>
                </a:lnTo>
                <a:lnTo>
                  <a:pt x="3719056" y="680935"/>
                </a:lnTo>
                <a:lnTo>
                  <a:pt x="5710091" y="722722"/>
                </a:lnTo>
                <a:lnTo>
                  <a:pt x="3719056" y="722722"/>
                </a:lnTo>
                <a:lnTo>
                  <a:pt x="3720284" y="725180"/>
                </a:lnTo>
                <a:lnTo>
                  <a:pt x="3602297" y="722722"/>
                </a:lnTo>
                <a:lnTo>
                  <a:pt x="3602297" y="726409"/>
                </a:lnTo>
                <a:lnTo>
                  <a:pt x="3484310" y="722722"/>
                </a:lnTo>
                <a:lnTo>
                  <a:pt x="3484310" y="728867"/>
                </a:lnTo>
                <a:lnTo>
                  <a:pt x="3366323" y="722722"/>
                </a:lnTo>
                <a:lnTo>
                  <a:pt x="3366323" y="731325"/>
                </a:lnTo>
                <a:lnTo>
                  <a:pt x="3248335" y="722722"/>
                </a:lnTo>
                <a:lnTo>
                  <a:pt x="3248335" y="733783"/>
                </a:lnTo>
                <a:lnTo>
                  <a:pt x="3130348" y="722722"/>
                </a:lnTo>
                <a:lnTo>
                  <a:pt x="3129120" y="737471"/>
                </a:lnTo>
                <a:lnTo>
                  <a:pt x="3011133" y="722722"/>
                </a:lnTo>
                <a:lnTo>
                  <a:pt x="3009903" y="739929"/>
                </a:lnTo>
                <a:lnTo>
                  <a:pt x="2893145" y="722722"/>
                </a:lnTo>
                <a:lnTo>
                  <a:pt x="2890687" y="743615"/>
                </a:lnTo>
                <a:lnTo>
                  <a:pt x="2775158" y="722722"/>
                </a:lnTo>
                <a:lnTo>
                  <a:pt x="2771470" y="746073"/>
                </a:lnTo>
                <a:lnTo>
                  <a:pt x="2657171" y="722722"/>
                </a:lnTo>
                <a:lnTo>
                  <a:pt x="2652255" y="749761"/>
                </a:lnTo>
                <a:lnTo>
                  <a:pt x="2539184" y="722722"/>
                </a:lnTo>
                <a:lnTo>
                  <a:pt x="2533038" y="753448"/>
                </a:lnTo>
                <a:lnTo>
                  <a:pt x="2421196" y="721493"/>
                </a:lnTo>
                <a:lnTo>
                  <a:pt x="2413822" y="757135"/>
                </a:lnTo>
                <a:lnTo>
                  <a:pt x="2303209" y="721493"/>
                </a:lnTo>
                <a:lnTo>
                  <a:pt x="2293377" y="760822"/>
                </a:lnTo>
                <a:lnTo>
                  <a:pt x="2185222" y="721493"/>
                </a:lnTo>
                <a:lnTo>
                  <a:pt x="2172932" y="765738"/>
                </a:lnTo>
                <a:lnTo>
                  <a:pt x="2067235" y="721493"/>
                </a:lnTo>
                <a:lnTo>
                  <a:pt x="2051257" y="770654"/>
                </a:lnTo>
                <a:lnTo>
                  <a:pt x="1949247" y="721493"/>
                </a:lnTo>
                <a:lnTo>
                  <a:pt x="1929583" y="774342"/>
                </a:lnTo>
                <a:lnTo>
                  <a:pt x="1831260" y="721493"/>
                </a:lnTo>
                <a:lnTo>
                  <a:pt x="1806680" y="779258"/>
                </a:lnTo>
                <a:lnTo>
                  <a:pt x="1714501" y="721493"/>
                </a:lnTo>
                <a:lnTo>
                  <a:pt x="1685005" y="782944"/>
                </a:lnTo>
                <a:lnTo>
                  <a:pt x="1596514" y="721493"/>
                </a:lnTo>
                <a:lnTo>
                  <a:pt x="1560873" y="785402"/>
                </a:lnTo>
                <a:lnTo>
                  <a:pt x="1683776" y="875123"/>
                </a:lnTo>
                <a:lnTo>
                  <a:pt x="1716959" y="814899"/>
                </a:lnTo>
                <a:lnTo>
                  <a:pt x="1814054" y="875123"/>
                </a:lnTo>
                <a:lnTo>
                  <a:pt x="1841092" y="819815"/>
                </a:lnTo>
                <a:lnTo>
                  <a:pt x="1944331" y="875123"/>
                </a:lnTo>
                <a:lnTo>
                  <a:pt x="1966454" y="823503"/>
                </a:lnTo>
                <a:lnTo>
                  <a:pt x="2074609" y="875123"/>
                </a:lnTo>
                <a:lnTo>
                  <a:pt x="2091815" y="828419"/>
                </a:lnTo>
                <a:lnTo>
                  <a:pt x="2203657" y="875123"/>
                </a:lnTo>
                <a:lnTo>
                  <a:pt x="2217177" y="832106"/>
                </a:lnTo>
                <a:lnTo>
                  <a:pt x="2332706" y="875123"/>
                </a:lnTo>
                <a:lnTo>
                  <a:pt x="2343767" y="837022"/>
                </a:lnTo>
                <a:lnTo>
                  <a:pt x="2462984" y="875123"/>
                </a:lnTo>
                <a:lnTo>
                  <a:pt x="2471586" y="840710"/>
                </a:lnTo>
                <a:lnTo>
                  <a:pt x="2592031" y="875123"/>
                </a:lnTo>
                <a:lnTo>
                  <a:pt x="2598177" y="845626"/>
                </a:lnTo>
                <a:lnTo>
                  <a:pt x="2721081" y="875123"/>
                </a:lnTo>
                <a:lnTo>
                  <a:pt x="2725997" y="849312"/>
                </a:lnTo>
                <a:lnTo>
                  <a:pt x="2851358" y="875123"/>
                </a:lnTo>
                <a:lnTo>
                  <a:pt x="2855045" y="853000"/>
                </a:lnTo>
                <a:lnTo>
                  <a:pt x="2981636" y="875123"/>
                </a:lnTo>
                <a:lnTo>
                  <a:pt x="2984094" y="856686"/>
                </a:lnTo>
                <a:lnTo>
                  <a:pt x="3110684" y="875123"/>
                </a:lnTo>
                <a:lnTo>
                  <a:pt x="3111913" y="859144"/>
                </a:lnTo>
                <a:lnTo>
                  <a:pt x="3239733" y="875123"/>
                </a:lnTo>
                <a:lnTo>
                  <a:pt x="3240961" y="862832"/>
                </a:lnTo>
                <a:lnTo>
                  <a:pt x="3370010" y="875123"/>
                </a:lnTo>
                <a:lnTo>
                  <a:pt x="3371239" y="865290"/>
                </a:lnTo>
                <a:lnTo>
                  <a:pt x="3501516" y="876351"/>
                </a:lnTo>
                <a:lnTo>
                  <a:pt x="3501516" y="868977"/>
                </a:lnTo>
                <a:lnTo>
                  <a:pt x="3630565" y="876351"/>
                </a:lnTo>
                <a:lnTo>
                  <a:pt x="3630565" y="871435"/>
                </a:lnTo>
                <a:lnTo>
                  <a:pt x="3639168" y="871435"/>
                </a:lnTo>
                <a:lnTo>
                  <a:pt x="3719056" y="873893"/>
                </a:lnTo>
                <a:lnTo>
                  <a:pt x="3719056" y="875123"/>
                </a:lnTo>
                <a:lnTo>
                  <a:pt x="5723611" y="916910"/>
                </a:lnTo>
                <a:lnTo>
                  <a:pt x="3720284" y="916910"/>
                </a:lnTo>
                <a:lnTo>
                  <a:pt x="3721514" y="918138"/>
                </a:lnTo>
                <a:lnTo>
                  <a:pt x="3603527" y="915680"/>
                </a:lnTo>
                <a:lnTo>
                  <a:pt x="3603527" y="919368"/>
                </a:lnTo>
                <a:lnTo>
                  <a:pt x="3485540" y="915680"/>
                </a:lnTo>
                <a:lnTo>
                  <a:pt x="3485540" y="921826"/>
                </a:lnTo>
                <a:lnTo>
                  <a:pt x="3367552" y="915680"/>
                </a:lnTo>
                <a:lnTo>
                  <a:pt x="3367552" y="924284"/>
                </a:lnTo>
                <a:lnTo>
                  <a:pt x="3249565" y="915680"/>
                </a:lnTo>
                <a:lnTo>
                  <a:pt x="3249565" y="926742"/>
                </a:lnTo>
                <a:lnTo>
                  <a:pt x="3132806" y="915680"/>
                </a:lnTo>
                <a:lnTo>
                  <a:pt x="3131578" y="930428"/>
                </a:lnTo>
                <a:lnTo>
                  <a:pt x="3012361" y="915680"/>
                </a:lnTo>
                <a:lnTo>
                  <a:pt x="3011133" y="932886"/>
                </a:lnTo>
                <a:lnTo>
                  <a:pt x="2894374" y="915680"/>
                </a:lnTo>
                <a:lnTo>
                  <a:pt x="2891916" y="936574"/>
                </a:lnTo>
                <a:lnTo>
                  <a:pt x="2776386" y="915680"/>
                </a:lnTo>
                <a:lnTo>
                  <a:pt x="2772700" y="940261"/>
                </a:lnTo>
                <a:lnTo>
                  <a:pt x="2658399" y="915680"/>
                </a:lnTo>
                <a:lnTo>
                  <a:pt x="2653483" y="942719"/>
                </a:lnTo>
                <a:lnTo>
                  <a:pt x="2540412" y="915680"/>
                </a:lnTo>
                <a:lnTo>
                  <a:pt x="2534268" y="947635"/>
                </a:lnTo>
                <a:lnTo>
                  <a:pt x="2422425" y="915680"/>
                </a:lnTo>
                <a:lnTo>
                  <a:pt x="2415051" y="951323"/>
                </a:lnTo>
                <a:lnTo>
                  <a:pt x="2304438" y="915680"/>
                </a:lnTo>
                <a:lnTo>
                  <a:pt x="2294605" y="955009"/>
                </a:lnTo>
                <a:lnTo>
                  <a:pt x="2186450" y="915680"/>
                </a:lnTo>
                <a:lnTo>
                  <a:pt x="2174160" y="959925"/>
                </a:lnTo>
                <a:lnTo>
                  <a:pt x="2068463" y="915680"/>
                </a:lnTo>
                <a:lnTo>
                  <a:pt x="2052486" y="964841"/>
                </a:lnTo>
                <a:lnTo>
                  <a:pt x="1950476" y="915680"/>
                </a:lnTo>
                <a:lnTo>
                  <a:pt x="1930811" y="968529"/>
                </a:lnTo>
                <a:lnTo>
                  <a:pt x="1832489" y="915680"/>
                </a:lnTo>
                <a:lnTo>
                  <a:pt x="1807908" y="973445"/>
                </a:lnTo>
                <a:lnTo>
                  <a:pt x="1714501" y="915680"/>
                </a:lnTo>
                <a:lnTo>
                  <a:pt x="1685005" y="978361"/>
                </a:lnTo>
                <a:lnTo>
                  <a:pt x="1596514" y="915680"/>
                </a:lnTo>
                <a:lnTo>
                  <a:pt x="1560873" y="979590"/>
                </a:lnTo>
                <a:lnTo>
                  <a:pt x="1685005" y="1069310"/>
                </a:lnTo>
                <a:lnTo>
                  <a:pt x="1718189" y="1009087"/>
                </a:lnTo>
                <a:lnTo>
                  <a:pt x="1815282" y="1069310"/>
                </a:lnTo>
                <a:lnTo>
                  <a:pt x="1841092" y="1012774"/>
                </a:lnTo>
                <a:lnTo>
                  <a:pt x="1944331" y="1068080"/>
                </a:lnTo>
                <a:lnTo>
                  <a:pt x="1966454" y="1016461"/>
                </a:lnTo>
                <a:lnTo>
                  <a:pt x="2074609" y="1068080"/>
                </a:lnTo>
                <a:lnTo>
                  <a:pt x="2091815" y="1021377"/>
                </a:lnTo>
                <a:lnTo>
                  <a:pt x="2203657" y="1068080"/>
                </a:lnTo>
                <a:lnTo>
                  <a:pt x="2217177" y="1025065"/>
                </a:lnTo>
                <a:lnTo>
                  <a:pt x="2332706" y="1068080"/>
                </a:lnTo>
                <a:lnTo>
                  <a:pt x="2343767" y="1029981"/>
                </a:lnTo>
                <a:lnTo>
                  <a:pt x="2462984" y="1068080"/>
                </a:lnTo>
                <a:lnTo>
                  <a:pt x="2471586" y="1033667"/>
                </a:lnTo>
                <a:lnTo>
                  <a:pt x="2592031" y="1068080"/>
                </a:lnTo>
                <a:lnTo>
                  <a:pt x="2598177" y="1038583"/>
                </a:lnTo>
                <a:lnTo>
                  <a:pt x="2721081" y="1068080"/>
                </a:lnTo>
                <a:lnTo>
                  <a:pt x="2725997" y="1042271"/>
                </a:lnTo>
                <a:lnTo>
                  <a:pt x="2851358" y="1068080"/>
                </a:lnTo>
                <a:lnTo>
                  <a:pt x="2855045" y="1045958"/>
                </a:lnTo>
                <a:lnTo>
                  <a:pt x="2981636" y="1068080"/>
                </a:lnTo>
                <a:lnTo>
                  <a:pt x="2984094" y="1049645"/>
                </a:lnTo>
                <a:lnTo>
                  <a:pt x="3110684" y="1069310"/>
                </a:lnTo>
                <a:lnTo>
                  <a:pt x="3111913" y="1053332"/>
                </a:lnTo>
                <a:lnTo>
                  <a:pt x="3239733" y="1069310"/>
                </a:lnTo>
                <a:lnTo>
                  <a:pt x="3240961" y="1057020"/>
                </a:lnTo>
                <a:lnTo>
                  <a:pt x="3370010" y="1069310"/>
                </a:lnTo>
                <a:lnTo>
                  <a:pt x="3371239" y="1059478"/>
                </a:lnTo>
                <a:lnTo>
                  <a:pt x="3500288" y="1069310"/>
                </a:lnTo>
                <a:lnTo>
                  <a:pt x="3500288" y="1061936"/>
                </a:lnTo>
                <a:lnTo>
                  <a:pt x="3628107" y="1071768"/>
                </a:lnTo>
                <a:lnTo>
                  <a:pt x="3628107" y="1066852"/>
                </a:lnTo>
                <a:lnTo>
                  <a:pt x="3636710" y="1066852"/>
                </a:lnTo>
                <a:lnTo>
                  <a:pt x="3716598" y="1069310"/>
                </a:lnTo>
                <a:lnTo>
                  <a:pt x="3716598" y="1070538"/>
                </a:lnTo>
                <a:lnTo>
                  <a:pt x="5717465" y="1112325"/>
                </a:lnTo>
                <a:lnTo>
                  <a:pt x="3716598" y="1112325"/>
                </a:lnTo>
                <a:lnTo>
                  <a:pt x="3717826" y="1113555"/>
                </a:lnTo>
                <a:lnTo>
                  <a:pt x="3599839" y="1111097"/>
                </a:lnTo>
                <a:lnTo>
                  <a:pt x="3599839" y="1114783"/>
                </a:lnTo>
                <a:lnTo>
                  <a:pt x="3481852" y="1111097"/>
                </a:lnTo>
                <a:lnTo>
                  <a:pt x="3481852" y="1117242"/>
                </a:lnTo>
                <a:lnTo>
                  <a:pt x="3363865" y="1111097"/>
                </a:lnTo>
                <a:lnTo>
                  <a:pt x="3363865" y="1119700"/>
                </a:lnTo>
                <a:lnTo>
                  <a:pt x="3245877" y="1111097"/>
                </a:lnTo>
                <a:lnTo>
                  <a:pt x="3245877" y="1122158"/>
                </a:lnTo>
                <a:lnTo>
                  <a:pt x="3127890" y="1111097"/>
                </a:lnTo>
                <a:lnTo>
                  <a:pt x="3126662" y="1125845"/>
                </a:lnTo>
                <a:lnTo>
                  <a:pt x="3008674" y="1111097"/>
                </a:lnTo>
                <a:lnTo>
                  <a:pt x="3007445" y="1128304"/>
                </a:lnTo>
                <a:lnTo>
                  <a:pt x="2890687" y="1111097"/>
                </a:lnTo>
                <a:lnTo>
                  <a:pt x="2888229" y="1131990"/>
                </a:lnTo>
                <a:lnTo>
                  <a:pt x="2772700" y="1111097"/>
                </a:lnTo>
                <a:lnTo>
                  <a:pt x="2769012" y="1135678"/>
                </a:lnTo>
                <a:lnTo>
                  <a:pt x="2654713" y="1111097"/>
                </a:lnTo>
                <a:lnTo>
                  <a:pt x="2649797" y="1138136"/>
                </a:lnTo>
                <a:lnTo>
                  <a:pt x="2536726" y="1111097"/>
                </a:lnTo>
                <a:lnTo>
                  <a:pt x="2530580" y="1143052"/>
                </a:lnTo>
                <a:lnTo>
                  <a:pt x="2418738" y="1111097"/>
                </a:lnTo>
                <a:lnTo>
                  <a:pt x="2411364" y="1146738"/>
                </a:lnTo>
                <a:lnTo>
                  <a:pt x="2300751" y="1111097"/>
                </a:lnTo>
                <a:lnTo>
                  <a:pt x="2290919" y="1150426"/>
                </a:lnTo>
                <a:lnTo>
                  <a:pt x="2182764" y="1111097"/>
                </a:lnTo>
                <a:lnTo>
                  <a:pt x="2170474" y="1155342"/>
                </a:lnTo>
                <a:lnTo>
                  <a:pt x="2064777" y="1111097"/>
                </a:lnTo>
                <a:lnTo>
                  <a:pt x="2048799" y="1160258"/>
                </a:lnTo>
                <a:lnTo>
                  <a:pt x="1946789" y="1111097"/>
                </a:lnTo>
                <a:lnTo>
                  <a:pt x="1927125" y="1163945"/>
                </a:lnTo>
                <a:lnTo>
                  <a:pt x="1828802" y="1111097"/>
                </a:lnTo>
                <a:lnTo>
                  <a:pt x="1804221" y="1168861"/>
                </a:lnTo>
                <a:lnTo>
                  <a:pt x="1710815" y="1111097"/>
                </a:lnTo>
                <a:lnTo>
                  <a:pt x="1681318" y="1173777"/>
                </a:lnTo>
                <a:lnTo>
                  <a:pt x="1592828" y="1111097"/>
                </a:lnTo>
                <a:lnTo>
                  <a:pt x="1557185" y="1175007"/>
                </a:lnTo>
                <a:lnTo>
                  <a:pt x="1683776" y="1263497"/>
                </a:lnTo>
                <a:lnTo>
                  <a:pt x="1716959" y="1203274"/>
                </a:lnTo>
                <a:lnTo>
                  <a:pt x="1814054" y="1263497"/>
                </a:lnTo>
                <a:lnTo>
                  <a:pt x="1841092" y="1208190"/>
                </a:lnTo>
                <a:lnTo>
                  <a:pt x="1944331" y="1263497"/>
                </a:lnTo>
                <a:lnTo>
                  <a:pt x="1966454" y="1211878"/>
                </a:lnTo>
                <a:lnTo>
                  <a:pt x="2074609" y="1263497"/>
                </a:lnTo>
                <a:lnTo>
                  <a:pt x="2091815" y="1216794"/>
                </a:lnTo>
                <a:lnTo>
                  <a:pt x="2203657" y="1263497"/>
                </a:lnTo>
                <a:lnTo>
                  <a:pt x="2217177" y="1220480"/>
                </a:lnTo>
                <a:lnTo>
                  <a:pt x="2332706" y="1263497"/>
                </a:lnTo>
                <a:lnTo>
                  <a:pt x="2343767" y="1225397"/>
                </a:lnTo>
                <a:lnTo>
                  <a:pt x="2462984" y="1263497"/>
                </a:lnTo>
                <a:lnTo>
                  <a:pt x="2471586" y="1229084"/>
                </a:lnTo>
                <a:lnTo>
                  <a:pt x="2592031" y="1263497"/>
                </a:lnTo>
                <a:lnTo>
                  <a:pt x="2598177" y="1234000"/>
                </a:lnTo>
                <a:lnTo>
                  <a:pt x="2721081" y="1263497"/>
                </a:lnTo>
                <a:lnTo>
                  <a:pt x="2725997" y="1237687"/>
                </a:lnTo>
                <a:lnTo>
                  <a:pt x="2851358" y="1263497"/>
                </a:lnTo>
                <a:lnTo>
                  <a:pt x="2855045" y="1241375"/>
                </a:lnTo>
                <a:lnTo>
                  <a:pt x="2981636" y="1263497"/>
                </a:lnTo>
                <a:lnTo>
                  <a:pt x="2984094" y="1245061"/>
                </a:lnTo>
                <a:lnTo>
                  <a:pt x="3110684" y="1263497"/>
                </a:lnTo>
                <a:lnTo>
                  <a:pt x="3111913" y="1247519"/>
                </a:lnTo>
                <a:lnTo>
                  <a:pt x="3239733" y="1263497"/>
                </a:lnTo>
                <a:lnTo>
                  <a:pt x="3240961" y="1251207"/>
                </a:lnTo>
                <a:lnTo>
                  <a:pt x="3370010" y="1263497"/>
                </a:lnTo>
                <a:lnTo>
                  <a:pt x="3371239" y="1253665"/>
                </a:lnTo>
                <a:lnTo>
                  <a:pt x="3500288" y="1263497"/>
                </a:lnTo>
                <a:lnTo>
                  <a:pt x="3500288" y="1256123"/>
                </a:lnTo>
                <a:lnTo>
                  <a:pt x="3629336" y="1263497"/>
                </a:lnTo>
                <a:lnTo>
                  <a:pt x="3629336" y="1258581"/>
                </a:lnTo>
                <a:lnTo>
                  <a:pt x="3637940" y="1258581"/>
                </a:lnTo>
                <a:lnTo>
                  <a:pt x="3714140" y="1272100"/>
                </a:lnTo>
                <a:lnTo>
                  <a:pt x="3714140" y="1273329"/>
                </a:lnTo>
                <a:lnTo>
                  <a:pt x="5554003" y="1307742"/>
                </a:lnTo>
                <a:lnTo>
                  <a:pt x="3715368" y="1307742"/>
                </a:lnTo>
                <a:lnTo>
                  <a:pt x="3715368" y="1308971"/>
                </a:lnTo>
                <a:lnTo>
                  <a:pt x="3597381" y="1306513"/>
                </a:lnTo>
                <a:lnTo>
                  <a:pt x="3597381" y="1310200"/>
                </a:lnTo>
                <a:lnTo>
                  <a:pt x="3479394" y="1306513"/>
                </a:lnTo>
                <a:lnTo>
                  <a:pt x="3479394" y="1312659"/>
                </a:lnTo>
                <a:lnTo>
                  <a:pt x="3361406" y="1306513"/>
                </a:lnTo>
                <a:lnTo>
                  <a:pt x="3361406" y="1315117"/>
                </a:lnTo>
                <a:lnTo>
                  <a:pt x="3243419" y="1306513"/>
                </a:lnTo>
                <a:lnTo>
                  <a:pt x="3243419" y="1317575"/>
                </a:lnTo>
                <a:lnTo>
                  <a:pt x="3125432" y="1306513"/>
                </a:lnTo>
                <a:lnTo>
                  <a:pt x="3124204" y="1321261"/>
                </a:lnTo>
                <a:lnTo>
                  <a:pt x="3006216" y="1306513"/>
                </a:lnTo>
                <a:lnTo>
                  <a:pt x="3004987" y="1323719"/>
                </a:lnTo>
                <a:lnTo>
                  <a:pt x="2888229" y="1306513"/>
                </a:lnTo>
                <a:lnTo>
                  <a:pt x="2885771" y="1327407"/>
                </a:lnTo>
                <a:lnTo>
                  <a:pt x="2770242" y="1306513"/>
                </a:lnTo>
                <a:lnTo>
                  <a:pt x="2766554" y="1331093"/>
                </a:lnTo>
                <a:lnTo>
                  <a:pt x="2652255" y="1306513"/>
                </a:lnTo>
                <a:lnTo>
                  <a:pt x="2647339" y="1333551"/>
                </a:lnTo>
                <a:lnTo>
                  <a:pt x="2534268" y="1306513"/>
                </a:lnTo>
                <a:lnTo>
                  <a:pt x="2528122" y="1338468"/>
                </a:lnTo>
                <a:lnTo>
                  <a:pt x="2416280" y="1306513"/>
                </a:lnTo>
                <a:lnTo>
                  <a:pt x="2408906" y="1342155"/>
                </a:lnTo>
                <a:lnTo>
                  <a:pt x="2298293" y="1306513"/>
                </a:lnTo>
                <a:lnTo>
                  <a:pt x="2288461" y="1345842"/>
                </a:lnTo>
                <a:lnTo>
                  <a:pt x="2180306" y="1306513"/>
                </a:lnTo>
                <a:lnTo>
                  <a:pt x="2168015" y="1350758"/>
                </a:lnTo>
                <a:lnTo>
                  <a:pt x="2062319" y="1306513"/>
                </a:lnTo>
                <a:lnTo>
                  <a:pt x="2046340" y="1355674"/>
                </a:lnTo>
                <a:lnTo>
                  <a:pt x="1944331" y="1306513"/>
                </a:lnTo>
                <a:lnTo>
                  <a:pt x="1924667" y="1359362"/>
                </a:lnTo>
                <a:lnTo>
                  <a:pt x="1826344" y="1306513"/>
                </a:lnTo>
                <a:lnTo>
                  <a:pt x="1801763" y="1364278"/>
                </a:lnTo>
                <a:lnTo>
                  <a:pt x="1708357" y="1306513"/>
                </a:lnTo>
                <a:lnTo>
                  <a:pt x="1678860" y="1369194"/>
                </a:lnTo>
                <a:lnTo>
                  <a:pt x="1590370" y="1306513"/>
                </a:lnTo>
                <a:lnTo>
                  <a:pt x="1558424" y="1363794"/>
                </a:lnTo>
                <a:lnTo>
                  <a:pt x="1476069" y="1297910"/>
                </a:lnTo>
                <a:lnTo>
                  <a:pt x="1439198" y="1356904"/>
                </a:lnTo>
                <a:lnTo>
                  <a:pt x="1555957" y="1450310"/>
                </a:lnTo>
                <a:lnTo>
                  <a:pt x="1590332" y="1395311"/>
                </a:lnTo>
                <a:lnTo>
                  <a:pt x="1681318" y="1458913"/>
                </a:lnTo>
                <a:lnTo>
                  <a:pt x="1714501" y="1398691"/>
                </a:lnTo>
                <a:lnTo>
                  <a:pt x="1811596" y="1458913"/>
                </a:lnTo>
                <a:lnTo>
                  <a:pt x="1838634" y="1403607"/>
                </a:lnTo>
                <a:lnTo>
                  <a:pt x="1941873" y="1458913"/>
                </a:lnTo>
                <a:lnTo>
                  <a:pt x="1963996" y="1407293"/>
                </a:lnTo>
                <a:lnTo>
                  <a:pt x="2072151" y="1458913"/>
                </a:lnTo>
                <a:lnTo>
                  <a:pt x="2089357" y="1412210"/>
                </a:lnTo>
                <a:lnTo>
                  <a:pt x="2201199" y="1458913"/>
                </a:lnTo>
                <a:lnTo>
                  <a:pt x="2214719" y="1415897"/>
                </a:lnTo>
                <a:lnTo>
                  <a:pt x="2330248" y="1458913"/>
                </a:lnTo>
                <a:lnTo>
                  <a:pt x="2341309" y="1420814"/>
                </a:lnTo>
                <a:lnTo>
                  <a:pt x="2460525" y="1458913"/>
                </a:lnTo>
                <a:lnTo>
                  <a:pt x="2469128" y="1424500"/>
                </a:lnTo>
                <a:lnTo>
                  <a:pt x="2590803" y="1458913"/>
                </a:lnTo>
                <a:lnTo>
                  <a:pt x="2596948" y="1429416"/>
                </a:lnTo>
                <a:lnTo>
                  <a:pt x="2719851" y="1458913"/>
                </a:lnTo>
                <a:lnTo>
                  <a:pt x="2724767" y="1433104"/>
                </a:lnTo>
                <a:lnTo>
                  <a:pt x="2850129" y="1458913"/>
                </a:lnTo>
                <a:lnTo>
                  <a:pt x="2853816" y="1436790"/>
                </a:lnTo>
                <a:lnTo>
                  <a:pt x="2980406" y="1458913"/>
                </a:lnTo>
                <a:lnTo>
                  <a:pt x="2982864" y="1440478"/>
                </a:lnTo>
                <a:lnTo>
                  <a:pt x="3109455" y="1458913"/>
                </a:lnTo>
                <a:lnTo>
                  <a:pt x="3110684" y="1442936"/>
                </a:lnTo>
                <a:lnTo>
                  <a:pt x="3238503" y="1458913"/>
                </a:lnTo>
                <a:lnTo>
                  <a:pt x="3239733" y="1446623"/>
                </a:lnTo>
                <a:lnTo>
                  <a:pt x="3368781" y="1458913"/>
                </a:lnTo>
                <a:lnTo>
                  <a:pt x="3370010" y="1449081"/>
                </a:lnTo>
                <a:lnTo>
                  <a:pt x="3499058" y="1458913"/>
                </a:lnTo>
                <a:lnTo>
                  <a:pt x="3499058" y="1451539"/>
                </a:lnTo>
                <a:lnTo>
                  <a:pt x="3628107" y="1458913"/>
                </a:lnTo>
                <a:lnTo>
                  <a:pt x="3628107" y="1453997"/>
                </a:lnTo>
                <a:lnTo>
                  <a:pt x="3636710" y="1453997"/>
                </a:lnTo>
                <a:lnTo>
                  <a:pt x="3716598" y="1456455"/>
                </a:lnTo>
                <a:lnTo>
                  <a:pt x="3716598" y="1457685"/>
                </a:lnTo>
                <a:lnTo>
                  <a:pt x="5780145" y="1497014"/>
                </a:lnTo>
                <a:lnTo>
                  <a:pt x="3716598" y="1497014"/>
                </a:lnTo>
                <a:lnTo>
                  <a:pt x="3717826" y="1498242"/>
                </a:lnTo>
                <a:lnTo>
                  <a:pt x="3599839" y="1495784"/>
                </a:lnTo>
                <a:lnTo>
                  <a:pt x="3599839" y="1499472"/>
                </a:lnTo>
                <a:lnTo>
                  <a:pt x="3481852" y="1495784"/>
                </a:lnTo>
                <a:lnTo>
                  <a:pt x="3481852" y="1501930"/>
                </a:lnTo>
                <a:lnTo>
                  <a:pt x="3363865" y="1495784"/>
                </a:lnTo>
                <a:lnTo>
                  <a:pt x="3363865" y="1504388"/>
                </a:lnTo>
                <a:lnTo>
                  <a:pt x="3245877" y="1495784"/>
                </a:lnTo>
                <a:lnTo>
                  <a:pt x="3245877" y="1506846"/>
                </a:lnTo>
                <a:lnTo>
                  <a:pt x="3127890" y="1495784"/>
                </a:lnTo>
                <a:lnTo>
                  <a:pt x="3126662" y="1510532"/>
                </a:lnTo>
                <a:lnTo>
                  <a:pt x="3008674" y="1495784"/>
                </a:lnTo>
                <a:lnTo>
                  <a:pt x="3007445" y="1512990"/>
                </a:lnTo>
                <a:lnTo>
                  <a:pt x="2890687" y="1495784"/>
                </a:lnTo>
                <a:lnTo>
                  <a:pt x="2888229" y="1516678"/>
                </a:lnTo>
                <a:lnTo>
                  <a:pt x="2772700" y="1495784"/>
                </a:lnTo>
                <a:lnTo>
                  <a:pt x="2769012" y="1520365"/>
                </a:lnTo>
                <a:lnTo>
                  <a:pt x="2654713" y="1495784"/>
                </a:lnTo>
                <a:lnTo>
                  <a:pt x="2649797" y="1522823"/>
                </a:lnTo>
                <a:lnTo>
                  <a:pt x="2536726" y="1495784"/>
                </a:lnTo>
                <a:lnTo>
                  <a:pt x="2530580" y="1526510"/>
                </a:lnTo>
                <a:lnTo>
                  <a:pt x="2418738" y="1494556"/>
                </a:lnTo>
                <a:lnTo>
                  <a:pt x="2411364" y="1530197"/>
                </a:lnTo>
                <a:lnTo>
                  <a:pt x="2300751" y="1494556"/>
                </a:lnTo>
                <a:lnTo>
                  <a:pt x="2290919" y="1533885"/>
                </a:lnTo>
                <a:lnTo>
                  <a:pt x="2182764" y="1494556"/>
                </a:lnTo>
                <a:lnTo>
                  <a:pt x="2170474" y="1538801"/>
                </a:lnTo>
                <a:lnTo>
                  <a:pt x="2064777" y="1494556"/>
                </a:lnTo>
                <a:lnTo>
                  <a:pt x="2048799" y="1543717"/>
                </a:lnTo>
                <a:lnTo>
                  <a:pt x="1946789" y="1494556"/>
                </a:lnTo>
                <a:lnTo>
                  <a:pt x="1927125" y="1547403"/>
                </a:lnTo>
                <a:lnTo>
                  <a:pt x="1828802" y="1494556"/>
                </a:lnTo>
                <a:lnTo>
                  <a:pt x="1804221" y="1552319"/>
                </a:lnTo>
                <a:lnTo>
                  <a:pt x="1710815" y="1494556"/>
                </a:lnTo>
                <a:lnTo>
                  <a:pt x="1681318" y="1557236"/>
                </a:lnTo>
                <a:lnTo>
                  <a:pt x="1592828" y="1494556"/>
                </a:lnTo>
                <a:lnTo>
                  <a:pt x="1558702" y="1555745"/>
                </a:lnTo>
                <a:lnTo>
                  <a:pt x="1476069" y="1489639"/>
                </a:lnTo>
                <a:lnTo>
                  <a:pt x="1439198" y="1548633"/>
                </a:lnTo>
                <a:lnTo>
                  <a:pt x="1555957" y="1642040"/>
                </a:lnTo>
                <a:lnTo>
                  <a:pt x="1592683" y="1583279"/>
                </a:lnTo>
                <a:lnTo>
                  <a:pt x="1683776" y="1646956"/>
                </a:lnTo>
                <a:lnTo>
                  <a:pt x="1716959" y="1586732"/>
                </a:lnTo>
                <a:lnTo>
                  <a:pt x="1814054" y="1646956"/>
                </a:lnTo>
                <a:lnTo>
                  <a:pt x="1841092" y="1591649"/>
                </a:lnTo>
                <a:lnTo>
                  <a:pt x="1944331" y="1646956"/>
                </a:lnTo>
                <a:lnTo>
                  <a:pt x="1966454" y="1595336"/>
                </a:lnTo>
                <a:lnTo>
                  <a:pt x="2074609" y="1646956"/>
                </a:lnTo>
                <a:lnTo>
                  <a:pt x="2091815" y="1600252"/>
                </a:lnTo>
                <a:lnTo>
                  <a:pt x="2203657" y="1646956"/>
                </a:lnTo>
                <a:lnTo>
                  <a:pt x="2217177" y="1603939"/>
                </a:lnTo>
                <a:lnTo>
                  <a:pt x="2332706" y="1646956"/>
                </a:lnTo>
                <a:lnTo>
                  <a:pt x="2343767" y="1608855"/>
                </a:lnTo>
                <a:lnTo>
                  <a:pt x="2462984" y="1646956"/>
                </a:lnTo>
                <a:lnTo>
                  <a:pt x="2471586" y="1612543"/>
                </a:lnTo>
                <a:lnTo>
                  <a:pt x="2593261" y="1646956"/>
                </a:lnTo>
                <a:lnTo>
                  <a:pt x="2599406" y="1617459"/>
                </a:lnTo>
                <a:lnTo>
                  <a:pt x="2722309" y="1646956"/>
                </a:lnTo>
                <a:lnTo>
                  <a:pt x="2727225" y="1621145"/>
                </a:lnTo>
                <a:lnTo>
                  <a:pt x="2851358" y="1646956"/>
                </a:lnTo>
                <a:lnTo>
                  <a:pt x="2855045" y="1624833"/>
                </a:lnTo>
                <a:lnTo>
                  <a:pt x="2981636" y="1646956"/>
                </a:lnTo>
                <a:lnTo>
                  <a:pt x="2984094" y="1628520"/>
                </a:lnTo>
                <a:lnTo>
                  <a:pt x="3110684" y="1646956"/>
                </a:lnTo>
                <a:lnTo>
                  <a:pt x="3111913" y="1630978"/>
                </a:lnTo>
                <a:lnTo>
                  <a:pt x="3239733" y="1646956"/>
                </a:lnTo>
                <a:lnTo>
                  <a:pt x="3240961" y="1634665"/>
                </a:lnTo>
                <a:lnTo>
                  <a:pt x="3370010" y="1646956"/>
                </a:lnTo>
                <a:lnTo>
                  <a:pt x="3371239" y="1637123"/>
                </a:lnTo>
                <a:lnTo>
                  <a:pt x="3500288" y="1646956"/>
                </a:lnTo>
                <a:lnTo>
                  <a:pt x="3500288" y="1639581"/>
                </a:lnTo>
                <a:lnTo>
                  <a:pt x="3629336" y="1646956"/>
                </a:lnTo>
                <a:lnTo>
                  <a:pt x="3629336" y="1642040"/>
                </a:lnTo>
                <a:lnTo>
                  <a:pt x="3637940" y="1642040"/>
                </a:lnTo>
                <a:lnTo>
                  <a:pt x="3717826" y="1644498"/>
                </a:lnTo>
                <a:lnTo>
                  <a:pt x="3717826" y="1645726"/>
                </a:lnTo>
                <a:lnTo>
                  <a:pt x="5622828" y="1685055"/>
                </a:lnTo>
                <a:lnTo>
                  <a:pt x="3717826" y="1685055"/>
                </a:lnTo>
                <a:lnTo>
                  <a:pt x="3719056" y="1686285"/>
                </a:lnTo>
                <a:lnTo>
                  <a:pt x="3601069" y="1683827"/>
                </a:lnTo>
                <a:lnTo>
                  <a:pt x="3601069" y="1687513"/>
                </a:lnTo>
                <a:lnTo>
                  <a:pt x="3483081" y="1683827"/>
                </a:lnTo>
                <a:lnTo>
                  <a:pt x="3483081" y="1689971"/>
                </a:lnTo>
                <a:lnTo>
                  <a:pt x="3365094" y="1683827"/>
                </a:lnTo>
                <a:lnTo>
                  <a:pt x="3365094" y="1692429"/>
                </a:lnTo>
                <a:lnTo>
                  <a:pt x="3247107" y="1683827"/>
                </a:lnTo>
                <a:lnTo>
                  <a:pt x="3247107" y="1694887"/>
                </a:lnTo>
                <a:lnTo>
                  <a:pt x="3129120" y="1683827"/>
                </a:lnTo>
                <a:lnTo>
                  <a:pt x="3127890" y="1698575"/>
                </a:lnTo>
                <a:lnTo>
                  <a:pt x="3009903" y="1683827"/>
                </a:lnTo>
                <a:lnTo>
                  <a:pt x="3008674" y="1701033"/>
                </a:lnTo>
                <a:lnTo>
                  <a:pt x="2891916" y="1683827"/>
                </a:lnTo>
                <a:lnTo>
                  <a:pt x="2889458" y="1704720"/>
                </a:lnTo>
                <a:lnTo>
                  <a:pt x="2773928" y="1683827"/>
                </a:lnTo>
                <a:lnTo>
                  <a:pt x="2770242" y="1707178"/>
                </a:lnTo>
                <a:lnTo>
                  <a:pt x="2655941" y="1683827"/>
                </a:lnTo>
                <a:lnTo>
                  <a:pt x="2651025" y="1710865"/>
                </a:lnTo>
                <a:lnTo>
                  <a:pt x="2537954" y="1683827"/>
                </a:lnTo>
                <a:lnTo>
                  <a:pt x="2531809" y="1714552"/>
                </a:lnTo>
                <a:lnTo>
                  <a:pt x="2419967" y="1683827"/>
                </a:lnTo>
                <a:lnTo>
                  <a:pt x="2412593" y="1719468"/>
                </a:lnTo>
                <a:lnTo>
                  <a:pt x="2301980" y="1683827"/>
                </a:lnTo>
                <a:lnTo>
                  <a:pt x="2292147" y="1723156"/>
                </a:lnTo>
                <a:lnTo>
                  <a:pt x="2183992" y="1683827"/>
                </a:lnTo>
                <a:lnTo>
                  <a:pt x="2171702" y="1728072"/>
                </a:lnTo>
                <a:lnTo>
                  <a:pt x="2066005" y="1683827"/>
                </a:lnTo>
                <a:lnTo>
                  <a:pt x="2050028" y="1732988"/>
                </a:lnTo>
                <a:lnTo>
                  <a:pt x="1948018" y="1683827"/>
                </a:lnTo>
                <a:lnTo>
                  <a:pt x="1928353" y="1736674"/>
                </a:lnTo>
                <a:lnTo>
                  <a:pt x="1830031" y="1683827"/>
                </a:lnTo>
                <a:lnTo>
                  <a:pt x="1805450" y="1741591"/>
                </a:lnTo>
                <a:lnTo>
                  <a:pt x="1712043" y="1683827"/>
                </a:lnTo>
                <a:lnTo>
                  <a:pt x="1682547" y="1745278"/>
                </a:lnTo>
                <a:lnTo>
                  <a:pt x="1594056" y="1683827"/>
                </a:lnTo>
                <a:lnTo>
                  <a:pt x="1558415" y="1747736"/>
                </a:lnTo>
                <a:lnTo>
                  <a:pt x="1685005" y="1836227"/>
                </a:lnTo>
                <a:lnTo>
                  <a:pt x="1718189" y="1776004"/>
                </a:lnTo>
                <a:lnTo>
                  <a:pt x="1815282" y="1836227"/>
                </a:lnTo>
                <a:lnTo>
                  <a:pt x="1842321" y="1779691"/>
                </a:lnTo>
                <a:lnTo>
                  <a:pt x="1945560" y="1836227"/>
                </a:lnTo>
                <a:lnTo>
                  <a:pt x="1967682" y="1784607"/>
                </a:lnTo>
                <a:lnTo>
                  <a:pt x="2075837" y="1836227"/>
                </a:lnTo>
                <a:lnTo>
                  <a:pt x="2093044" y="1789524"/>
                </a:lnTo>
                <a:lnTo>
                  <a:pt x="2204887" y="1836227"/>
                </a:lnTo>
                <a:lnTo>
                  <a:pt x="2218405" y="1793210"/>
                </a:lnTo>
                <a:lnTo>
                  <a:pt x="2333934" y="1836227"/>
                </a:lnTo>
                <a:lnTo>
                  <a:pt x="2344996" y="1798126"/>
                </a:lnTo>
                <a:lnTo>
                  <a:pt x="2464212" y="1836227"/>
                </a:lnTo>
                <a:lnTo>
                  <a:pt x="2472816" y="1801814"/>
                </a:lnTo>
                <a:lnTo>
                  <a:pt x="2593261" y="1836227"/>
                </a:lnTo>
                <a:lnTo>
                  <a:pt x="2599406" y="1806730"/>
                </a:lnTo>
                <a:lnTo>
                  <a:pt x="2722309" y="1836227"/>
                </a:lnTo>
                <a:lnTo>
                  <a:pt x="2727225" y="1810417"/>
                </a:lnTo>
                <a:lnTo>
                  <a:pt x="2852587" y="1836227"/>
                </a:lnTo>
                <a:lnTo>
                  <a:pt x="2856274" y="1814104"/>
                </a:lnTo>
                <a:lnTo>
                  <a:pt x="2982864" y="1836227"/>
                </a:lnTo>
                <a:lnTo>
                  <a:pt x="2985322" y="1817791"/>
                </a:lnTo>
                <a:lnTo>
                  <a:pt x="3111913" y="1836227"/>
                </a:lnTo>
                <a:lnTo>
                  <a:pt x="3113142" y="1820249"/>
                </a:lnTo>
                <a:lnTo>
                  <a:pt x="3240961" y="1836227"/>
                </a:lnTo>
                <a:lnTo>
                  <a:pt x="3242191" y="1823937"/>
                </a:lnTo>
                <a:lnTo>
                  <a:pt x="3371239" y="1836227"/>
                </a:lnTo>
                <a:lnTo>
                  <a:pt x="3372468" y="1826395"/>
                </a:lnTo>
                <a:lnTo>
                  <a:pt x="3501516" y="1836227"/>
                </a:lnTo>
                <a:lnTo>
                  <a:pt x="3501516" y="1828853"/>
                </a:lnTo>
                <a:lnTo>
                  <a:pt x="3630565" y="1836227"/>
                </a:lnTo>
                <a:lnTo>
                  <a:pt x="3630565" y="1831311"/>
                </a:lnTo>
                <a:lnTo>
                  <a:pt x="3639168" y="1831311"/>
                </a:lnTo>
                <a:lnTo>
                  <a:pt x="3719056" y="1833769"/>
                </a:lnTo>
                <a:lnTo>
                  <a:pt x="3719056" y="1834997"/>
                </a:lnTo>
                <a:lnTo>
                  <a:pt x="5597019" y="1874326"/>
                </a:lnTo>
                <a:lnTo>
                  <a:pt x="3720284" y="1874326"/>
                </a:lnTo>
                <a:lnTo>
                  <a:pt x="3720284" y="1876784"/>
                </a:lnTo>
                <a:lnTo>
                  <a:pt x="3602297" y="1874326"/>
                </a:lnTo>
                <a:lnTo>
                  <a:pt x="3602297" y="1878014"/>
                </a:lnTo>
                <a:lnTo>
                  <a:pt x="3484310" y="1874326"/>
                </a:lnTo>
                <a:lnTo>
                  <a:pt x="3484310" y="1880472"/>
                </a:lnTo>
                <a:lnTo>
                  <a:pt x="3366323" y="1874326"/>
                </a:lnTo>
                <a:lnTo>
                  <a:pt x="3366323" y="1882930"/>
                </a:lnTo>
                <a:lnTo>
                  <a:pt x="3248335" y="1874326"/>
                </a:lnTo>
                <a:lnTo>
                  <a:pt x="3248335" y="1885388"/>
                </a:lnTo>
                <a:lnTo>
                  <a:pt x="3130348" y="1874326"/>
                </a:lnTo>
                <a:lnTo>
                  <a:pt x="3129120" y="1889075"/>
                </a:lnTo>
                <a:lnTo>
                  <a:pt x="3011133" y="1874326"/>
                </a:lnTo>
                <a:lnTo>
                  <a:pt x="3009903" y="1891533"/>
                </a:lnTo>
                <a:lnTo>
                  <a:pt x="2893145" y="1874326"/>
                </a:lnTo>
                <a:lnTo>
                  <a:pt x="2890687" y="1895220"/>
                </a:lnTo>
                <a:lnTo>
                  <a:pt x="2775158" y="1874326"/>
                </a:lnTo>
                <a:lnTo>
                  <a:pt x="2771470" y="1898907"/>
                </a:lnTo>
                <a:lnTo>
                  <a:pt x="2657171" y="1874326"/>
                </a:lnTo>
                <a:lnTo>
                  <a:pt x="2652255" y="1901365"/>
                </a:lnTo>
                <a:lnTo>
                  <a:pt x="2539184" y="1874326"/>
                </a:lnTo>
                <a:lnTo>
                  <a:pt x="2533038" y="1906281"/>
                </a:lnTo>
                <a:lnTo>
                  <a:pt x="2421196" y="1874326"/>
                </a:lnTo>
                <a:lnTo>
                  <a:pt x="2413822" y="1909969"/>
                </a:lnTo>
                <a:lnTo>
                  <a:pt x="2303209" y="1874326"/>
                </a:lnTo>
                <a:lnTo>
                  <a:pt x="2293377" y="1913655"/>
                </a:lnTo>
                <a:lnTo>
                  <a:pt x="2185222" y="1874326"/>
                </a:lnTo>
                <a:lnTo>
                  <a:pt x="2172932" y="1918571"/>
                </a:lnTo>
                <a:lnTo>
                  <a:pt x="2067235" y="1874326"/>
                </a:lnTo>
                <a:lnTo>
                  <a:pt x="2051257" y="1923488"/>
                </a:lnTo>
                <a:lnTo>
                  <a:pt x="1949247" y="1874326"/>
                </a:lnTo>
                <a:lnTo>
                  <a:pt x="1929583" y="1927175"/>
                </a:lnTo>
                <a:lnTo>
                  <a:pt x="1831260" y="1874326"/>
                </a:lnTo>
                <a:lnTo>
                  <a:pt x="1806680" y="1932091"/>
                </a:lnTo>
                <a:lnTo>
                  <a:pt x="1713273" y="1874326"/>
                </a:lnTo>
                <a:lnTo>
                  <a:pt x="1683776" y="1937008"/>
                </a:lnTo>
                <a:lnTo>
                  <a:pt x="1595286" y="1874326"/>
                </a:lnTo>
                <a:lnTo>
                  <a:pt x="1559643" y="1938236"/>
                </a:lnTo>
                <a:lnTo>
                  <a:pt x="1686234" y="2026726"/>
                </a:lnTo>
                <a:lnTo>
                  <a:pt x="1719418" y="1966504"/>
                </a:lnTo>
                <a:lnTo>
                  <a:pt x="1816512" y="2026726"/>
                </a:lnTo>
                <a:lnTo>
                  <a:pt x="1843551" y="1971421"/>
                </a:lnTo>
                <a:lnTo>
                  <a:pt x="1944331" y="2029184"/>
                </a:lnTo>
                <a:lnTo>
                  <a:pt x="1966454" y="1977565"/>
                </a:lnTo>
                <a:lnTo>
                  <a:pt x="2074609" y="2029184"/>
                </a:lnTo>
                <a:lnTo>
                  <a:pt x="2091815" y="1982481"/>
                </a:lnTo>
                <a:lnTo>
                  <a:pt x="2203657" y="2029184"/>
                </a:lnTo>
                <a:lnTo>
                  <a:pt x="2217177" y="1986169"/>
                </a:lnTo>
                <a:lnTo>
                  <a:pt x="2332706" y="2029184"/>
                </a:lnTo>
                <a:lnTo>
                  <a:pt x="2343767" y="1991085"/>
                </a:lnTo>
                <a:lnTo>
                  <a:pt x="2462984" y="2029184"/>
                </a:lnTo>
                <a:lnTo>
                  <a:pt x="2471586" y="1994772"/>
                </a:lnTo>
                <a:lnTo>
                  <a:pt x="2593261" y="2029184"/>
                </a:lnTo>
                <a:lnTo>
                  <a:pt x="2599406" y="1999688"/>
                </a:lnTo>
                <a:lnTo>
                  <a:pt x="2722309" y="2029184"/>
                </a:lnTo>
                <a:lnTo>
                  <a:pt x="2727225" y="2003375"/>
                </a:lnTo>
                <a:lnTo>
                  <a:pt x="2852587" y="2029184"/>
                </a:lnTo>
                <a:lnTo>
                  <a:pt x="2856274" y="2007062"/>
                </a:lnTo>
                <a:lnTo>
                  <a:pt x="2982864" y="2029184"/>
                </a:lnTo>
                <a:lnTo>
                  <a:pt x="2985322" y="2010750"/>
                </a:lnTo>
                <a:lnTo>
                  <a:pt x="3111913" y="2029184"/>
                </a:lnTo>
                <a:lnTo>
                  <a:pt x="3113142" y="2013208"/>
                </a:lnTo>
                <a:lnTo>
                  <a:pt x="3240961" y="2029184"/>
                </a:lnTo>
                <a:lnTo>
                  <a:pt x="3242191" y="2016894"/>
                </a:lnTo>
                <a:lnTo>
                  <a:pt x="3371239" y="2029184"/>
                </a:lnTo>
                <a:lnTo>
                  <a:pt x="3372468" y="2019352"/>
                </a:lnTo>
                <a:lnTo>
                  <a:pt x="3501516" y="2029184"/>
                </a:lnTo>
                <a:lnTo>
                  <a:pt x="3501516" y="2021810"/>
                </a:lnTo>
                <a:lnTo>
                  <a:pt x="3630565" y="2029184"/>
                </a:lnTo>
                <a:lnTo>
                  <a:pt x="3630565" y="2024268"/>
                </a:lnTo>
                <a:lnTo>
                  <a:pt x="3639168" y="2024268"/>
                </a:lnTo>
                <a:lnTo>
                  <a:pt x="3719056" y="2026726"/>
                </a:lnTo>
                <a:lnTo>
                  <a:pt x="3719056" y="2027956"/>
                </a:lnTo>
                <a:lnTo>
                  <a:pt x="5506071" y="2064827"/>
                </a:lnTo>
                <a:lnTo>
                  <a:pt x="3720284" y="2064827"/>
                </a:lnTo>
                <a:lnTo>
                  <a:pt x="3720284" y="2067285"/>
                </a:lnTo>
                <a:lnTo>
                  <a:pt x="3602297" y="2064827"/>
                </a:lnTo>
                <a:lnTo>
                  <a:pt x="3602297" y="2068514"/>
                </a:lnTo>
                <a:lnTo>
                  <a:pt x="3484310" y="2064827"/>
                </a:lnTo>
                <a:lnTo>
                  <a:pt x="3484310" y="2070972"/>
                </a:lnTo>
                <a:lnTo>
                  <a:pt x="3366323" y="2064827"/>
                </a:lnTo>
                <a:lnTo>
                  <a:pt x="3366323" y="2073430"/>
                </a:lnTo>
                <a:lnTo>
                  <a:pt x="3248335" y="2064827"/>
                </a:lnTo>
                <a:lnTo>
                  <a:pt x="3248335" y="2075888"/>
                </a:lnTo>
                <a:lnTo>
                  <a:pt x="3130348" y="2064827"/>
                </a:lnTo>
                <a:lnTo>
                  <a:pt x="3129120" y="2079576"/>
                </a:lnTo>
                <a:lnTo>
                  <a:pt x="3011133" y="2064827"/>
                </a:lnTo>
                <a:lnTo>
                  <a:pt x="3009903" y="2082034"/>
                </a:lnTo>
                <a:lnTo>
                  <a:pt x="2893145" y="2064827"/>
                </a:lnTo>
                <a:lnTo>
                  <a:pt x="2890687" y="2085720"/>
                </a:lnTo>
                <a:lnTo>
                  <a:pt x="2775158" y="2064827"/>
                </a:lnTo>
                <a:lnTo>
                  <a:pt x="2771470" y="2088178"/>
                </a:lnTo>
                <a:lnTo>
                  <a:pt x="2657171" y="2064827"/>
                </a:lnTo>
                <a:lnTo>
                  <a:pt x="2652255" y="2091866"/>
                </a:lnTo>
                <a:lnTo>
                  <a:pt x="2539184" y="2064827"/>
                </a:lnTo>
                <a:lnTo>
                  <a:pt x="2533038" y="2096782"/>
                </a:lnTo>
                <a:lnTo>
                  <a:pt x="2421196" y="2064827"/>
                </a:lnTo>
                <a:lnTo>
                  <a:pt x="2413822" y="2100468"/>
                </a:lnTo>
                <a:lnTo>
                  <a:pt x="2303209" y="2064827"/>
                </a:lnTo>
                <a:lnTo>
                  <a:pt x="2293377" y="2104156"/>
                </a:lnTo>
                <a:lnTo>
                  <a:pt x="2185222" y="2064827"/>
                </a:lnTo>
                <a:lnTo>
                  <a:pt x="2172932" y="2109072"/>
                </a:lnTo>
                <a:lnTo>
                  <a:pt x="2067235" y="2064827"/>
                </a:lnTo>
                <a:lnTo>
                  <a:pt x="2051257" y="2113989"/>
                </a:lnTo>
                <a:lnTo>
                  <a:pt x="1949247" y="2064827"/>
                </a:lnTo>
                <a:lnTo>
                  <a:pt x="1929583" y="2117675"/>
                </a:lnTo>
                <a:lnTo>
                  <a:pt x="1831260" y="2064827"/>
                </a:lnTo>
                <a:lnTo>
                  <a:pt x="1806680" y="2122591"/>
                </a:lnTo>
                <a:lnTo>
                  <a:pt x="1713273" y="2064827"/>
                </a:lnTo>
                <a:lnTo>
                  <a:pt x="1683776" y="2127507"/>
                </a:lnTo>
                <a:lnTo>
                  <a:pt x="1595286" y="2064827"/>
                </a:lnTo>
                <a:lnTo>
                  <a:pt x="1559643" y="2128737"/>
                </a:lnTo>
                <a:lnTo>
                  <a:pt x="1685005" y="2217227"/>
                </a:lnTo>
                <a:lnTo>
                  <a:pt x="1718189" y="2157004"/>
                </a:lnTo>
                <a:lnTo>
                  <a:pt x="1815282" y="2217227"/>
                </a:lnTo>
                <a:lnTo>
                  <a:pt x="1842321" y="2161920"/>
                </a:lnTo>
                <a:lnTo>
                  <a:pt x="1945560" y="2217227"/>
                </a:lnTo>
                <a:lnTo>
                  <a:pt x="1967682" y="2165608"/>
                </a:lnTo>
                <a:lnTo>
                  <a:pt x="2075837" y="2217227"/>
                </a:lnTo>
                <a:lnTo>
                  <a:pt x="2093044" y="2170524"/>
                </a:lnTo>
                <a:lnTo>
                  <a:pt x="2204887" y="2217227"/>
                </a:lnTo>
                <a:lnTo>
                  <a:pt x="2218405" y="2174211"/>
                </a:lnTo>
                <a:lnTo>
                  <a:pt x="2333934" y="2217227"/>
                </a:lnTo>
                <a:lnTo>
                  <a:pt x="2344996" y="2179127"/>
                </a:lnTo>
                <a:lnTo>
                  <a:pt x="2464212" y="2217227"/>
                </a:lnTo>
                <a:lnTo>
                  <a:pt x="2472816" y="2182814"/>
                </a:lnTo>
                <a:lnTo>
                  <a:pt x="2593261" y="2217227"/>
                </a:lnTo>
                <a:lnTo>
                  <a:pt x="2594490" y="2188959"/>
                </a:lnTo>
                <a:lnTo>
                  <a:pt x="2717393" y="2218456"/>
                </a:lnTo>
                <a:lnTo>
                  <a:pt x="2722309" y="2192647"/>
                </a:lnTo>
                <a:lnTo>
                  <a:pt x="2847670" y="2218456"/>
                </a:lnTo>
                <a:lnTo>
                  <a:pt x="2851358" y="2196333"/>
                </a:lnTo>
                <a:lnTo>
                  <a:pt x="2977948" y="2218456"/>
                </a:lnTo>
                <a:lnTo>
                  <a:pt x="2980406" y="2200021"/>
                </a:lnTo>
                <a:lnTo>
                  <a:pt x="3106997" y="2218456"/>
                </a:lnTo>
                <a:lnTo>
                  <a:pt x="3109455" y="2202479"/>
                </a:lnTo>
                <a:lnTo>
                  <a:pt x="3237275" y="2218456"/>
                </a:lnTo>
                <a:lnTo>
                  <a:pt x="3238503" y="2206165"/>
                </a:lnTo>
                <a:lnTo>
                  <a:pt x="3367552" y="2218456"/>
                </a:lnTo>
                <a:lnTo>
                  <a:pt x="3368781" y="2208623"/>
                </a:lnTo>
                <a:lnTo>
                  <a:pt x="3497830" y="2218456"/>
                </a:lnTo>
                <a:lnTo>
                  <a:pt x="3497830" y="2211082"/>
                </a:lnTo>
                <a:lnTo>
                  <a:pt x="3626878" y="2218456"/>
                </a:lnTo>
                <a:lnTo>
                  <a:pt x="3626878" y="2213540"/>
                </a:lnTo>
                <a:lnTo>
                  <a:pt x="3635482" y="2213540"/>
                </a:lnTo>
                <a:lnTo>
                  <a:pt x="3715368" y="2215998"/>
                </a:lnTo>
                <a:lnTo>
                  <a:pt x="3715368" y="2217227"/>
                </a:lnTo>
                <a:lnTo>
                  <a:pt x="5479032" y="2254098"/>
                </a:lnTo>
                <a:lnTo>
                  <a:pt x="3716598" y="2254098"/>
                </a:lnTo>
                <a:lnTo>
                  <a:pt x="3716598" y="2256556"/>
                </a:lnTo>
                <a:lnTo>
                  <a:pt x="3598611" y="2254098"/>
                </a:lnTo>
                <a:lnTo>
                  <a:pt x="3598611" y="2257785"/>
                </a:lnTo>
                <a:lnTo>
                  <a:pt x="3480623" y="2254098"/>
                </a:lnTo>
                <a:lnTo>
                  <a:pt x="3480623" y="2260243"/>
                </a:lnTo>
                <a:lnTo>
                  <a:pt x="3362636" y="2254098"/>
                </a:lnTo>
                <a:lnTo>
                  <a:pt x="3362636" y="2262701"/>
                </a:lnTo>
                <a:lnTo>
                  <a:pt x="3244649" y="2254098"/>
                </a:lnTo>
                <a:lnTo>
                  <a:pt x="3244649" y="2270075"/>
                </a:lnTo>
                <a:lnTo>
                  <a:pt x="3127890" y="2259014"/>
                </a:lnTo>
                <a:lnTo>
                  <a:pt x="3126662" y="2273763"/>
                </a:lnTo>
                <a:lnTo>
                  <a:pt x="3008674" y="2259014"/>
                </a:lnTo>
                <a:lnTo>
                  <a:pt x="3007445" y="2276221"/>
                </a:lnTo>
                <a:lnTo>
                  <a:pt x="2890687" y="2259014"/>
                </a:lnTo>
                <a:lnTo>
                  <a:pt x="2888229" y="2279907"/>
                </a:lnTo>
                <a:lnTo>
                  <a:pt x="2772700" y="2259014"/>
                </a:lnTo>
                <a:lnTo>
                  <a:pt x="2769012" y="2282365"/>
                </a:lnTo>
                <a:lnTo>
                  <a:pt x="2654713" y="2259014"/>
                </a:lnTo>
                <a:lnTo>
                  <a:pt x="2649797" y="2286053"/>
                </a:lnTo>
                <a:lnTo>
                  <a:pt x="2536726" y="2259014"/>
                </a:lnTo>
                <a:lnTo>
                  <a:pt x="2530580" y="2289740"/>
                </a:lnTo>
                <a:lnTo>
                  <a:pt x="2418738" y="2259014"/>
                </a:lnTo>
                <a:lnTo>
                  <a:pt x="2411364" y="2294656"/>
                </a:lnTo>
                <a:lnTo>
                  <a:pt x="2300751" y="2259014"/>
                </a:lnTo>
                <a:lnTo>
                  <a:pt x="2290919" y="2298344"/>
                </a:lnTo>
                <a:lnTo>
                  <a:pt x="2182764" y="2259014"/>
                </a:lnTo>
                <a:lnTo>
                  <a:pt x="2170474" y="2303260"/>
                </a:lnTo>
                <a:lnTo>
                  <a:pt x="2064777" y="2259014"/>
                </a:lnTo>
                <a:lnTo>
                  <a:pt x="2048799" y="2308176"/>
                </a:lnTo>
                <a:lnTo>
                  <a:pt x="1946789" y="2259014"/>
                </a:lnTo>
                <a:lnTo>
                  <a:pt x="1927125" y="2311862"/>
                </a:lnTo>
                <a:lnTo>
                  <a:pt x="1828802" y="2259014"/>
                </a:lnTo>
                <a:lnTo>
                  <a:pt x="1804221" y="2316778"/>
                </a:lnTo>
                <a:lnTo>
                  <a:pt x="1710815" y="2259014"/>
                </a:lnTo>
                <a:lnTo>
                  <a:pt x="1681318" y="2320466"/>
                </a:lnTo>
                <a:lnTo>
                  <a:pt x="1592828" y="2259014"/>
                </a:lnTo>
                <a:lnTo>
                  <a:pt x="1558938" y="2319780"/>
                </a:lnTo>
                <a:lnTo>
                  <a:pt x="1477299" y="2255327"/>
                </a:lnTo>
                <a:lnTo>
                  <a:pt x="1440428" y="2314320"/>
                </a:lnTo>
                <a:lnTo>
                  <a:pt x="1557185" y="2407727"/>
                </a:lnTo>
                <a:lnTo>
                  <a:pt x="1593545" y="2348341"/>
                </a:lnTo>
                <a:lnTo>
                  <a:pt x="1683776" y="2411415"/>
                </a:lnTo>
                <a:lnTo>
                  <a:pt x="1716959" y="2351191"/>
                </a:lnTo>
                <a:lnTo>
                  <a:pt x="1814054" y="2411415"/>
                </a:lnTo>
                <a:lnTo>
                  <a:pt x="1841092" y="2356107"/>
                </a:lnTo>
                <a:lnTo>
                  <a:pt x="1944331" y="2411415"/>
                </a:lnTo>
                <a:lnTo>
                  <a:pt x="1966454" y="2359795"/>
                </a:lnTo>
                <a:lnTo>
                  <a:pt x="2074609" y="2411415"/>
                </a:lnTo>
                <a:lnTo>
                  <a:pt x="2091815" y="2364711"/>
                </a:lnTo>
                <a:lnTo>
                  <a:pt x="2203657" y="2411415"/>
                </a:lnTo>
                <a:lnTo>
                  <a:pt x="2217177" y="2368398"/>
                </a:lnTo>
                <a:lnTo>
                  <a:pt x="2332706" y="2411415"/>
                </a:lnTo>
                <a:lnTo>
                  <a:pt x="2343767" y="2373314"/>
                </a:lnTo>
                <a:lnTo>
                  <a:pt x="2462984" y="2411415"/>
                </a:lnTo>
                <a:lnTo>
                  <a:pt x="2471586" y="2377002"/>
                </a:lnTo>
                <a:lnTo>
                  <a:pt x="2593261" y="2411415"/>
                </a:lnTo>
                <a:lnTo>
                  <a:pt x="2599406" y="2381918"/>
                </a:lnTo>
                <a:lnTo>
                  <a:pt x="2722309" y="2411415"/>
                </a:lnTo>
                <a:lnTo>
                  <a:pt x="2727225" y="2385604"/>
                </a:lnTo>
                <a:lnTo>
                  <a:pt x="2851358" y="2411415"/>
                </a:lnTo>
                <a:lnTo>
                  <a:pt x="2855045" y="2389292"/>
                </a:lnTo>
                <a:lnTo>
                  <a:pt x="2981636" y="2411415"/>
                </a:lnTo>
                <a:lnTo>
                  <a:pt x="2984094" y="2392978"/>
                </a:lnTo>
                <a:lnTo>
                  <a:pt x="3110684" y="2411415"/>
                </a:lnTo>
                <a:lnTo>
                  <a:pt x="3111913" y="2395437"/>
                </a:lnTo>
                <a:lnTo>
                  <a:pt x="3239733" y="2411415"/>
                </a:lnTo>
                <a:lnTo>
                  <a:pt x="3240961" y="2399124"/>
                </a:lnTo>
                <a:lnTo>
                  <a:pt x="3370010" y="2411415"/>
                </a:lnTo>
                <a:lnTo>
                  <a:pt x="3371239" y="2401582"/>
                </a:lnTo>
                <a:lnTo>
                  <a:pt x="3500288" y="2411415"/>
                </a:lnTo>
                <a:lnTo>
                  <a:pt x="3500288" y="2404040"/>
                </a:lnTo>
                <a:lnTo>
                  <a:pt x="3629336" y="2411415"/>
                </a:lnTo>
                <a:lnTo>
                  <a:pt x="3629336" y="2406498"/>
                </a:lnTo>
                <a:lnTo>
                  <a:pt x="3637940" y="2406498"/>
                </a:lnTo>
                <a:lnTo>
                  <a:pt x="3717826" y="2408957"/>
                </a:lnTo>
                <a:lnTo>
                  <a:pt x="3717826" y="2410185"/>
                </a:lnTo>
                <a:lnTo>
                  <a:pt x="5673219" y="2450744"/>
                </a:lnTo>
                <a:lnTo>
                  <a:pt x="3717826" y="2450744"/>
                </a:lnTo>
                <a:lnTo>
                  <a:pt x="3719056" y="2453202"/>
                </a:lnTo>
                <a:lnTo>
                  <a:pt x="3601069" y="2450744"/>
                </a:lnTo>
                <a:lnTo>
                  <a:pt x="3601069" y="2454430"/>
                </a:lnTo>
                <a:lnTo>
                  <a:pt x="3483081" y="2450744"/>
                </a:lnTo>
                <a:lnTo>
                  <a:pt x="3483081" y="2456888"/>
                </a:lnTo>
                <a:lnTo>
                  <a:pt x="3365094" y="2450744"/>
                </a:lnTo>
                <a:lnTo>
                  <a:pt x="3365094" y="2459346"/>
                </a:lnTo>
                <a:lnTo>
                  <a:pt x="3247107" y="2450744"/>
                </a:lnTo>
                <a:lnTo>
                  <a:pt x="3247107" y="2461804"/>
                </a:lnTo>
                <a:lnTo>
                  <a:pt x="3129120" y="2450744"/>
                </a:lnTo>
                <a:lnTo>
                  <a:pt x="3127890" y="2465492"/>
                </a:lnTo>
                <a:lnTo>
                  <a:pt x="3009903" y="2450744"/>
                </a:lnTo>
                <a:lnTo>
                  <a:pt x="3008674" y="2467950"/>
                </a:lnTo>
                <a:lnTo>
                  <a:pt x="2891916" y="2450744"/>
                </a:lnTo>
                <a:lnTo>
                  <a:pt x="2889458" y="2471637"/>
                </a:lnTo>
                <a:lnTo>
                  <a:pt x="2773928" y="2450744"/>
                </a:lnTo>
                <a:lnTo>
                  <a:pt x="2770242" y="2474095"/>
                </a:lnTo>
                <a:lnTo>
                  <a:pt x="2655941" y="2450744"/>
                </a:lnTo>
                <a:lnTo>
                  <a:pt x="2651025" y="2477782"/>
                </a:lnTo>
                <a:lnTo>
                  <a:pt x="2537954" y="2450744"/>
                </a:lnTo>
                <a:lnTo>
                  <a:pt x="2531809" y="2481469"/>
                </a:lnTo>
                <a:lnTo>
                  <a:pt x="2419967" y="2450744"/>
                </a:lnTo>
                <a:lnTo>
                  <a:pt x="2412593" y="2486385"/>
                </a:lnTo>
                <a:lnTo>
                  <a:pt x="2301980" y="2450744"/>
                </a:lnTo>
                <a:lnTo>
                  <a:pt x="2292147" y="2490073"/>
                </a:lnTo>
                <a:lnTo>
                  <a:pt x="2183992" y="2450744"/>
                </a:lnTo>
                <a:lnTo>
                  <a:pt x="2171702" y="2494989"/>
                </a:lnTo>
                <a:lnTo>
                  <a:pt x="2066005" y="2450744"/>
                </a:lnTo>
                <a:lnTo>
                  <a:pt x="2050028" y="2499905"/>
                </a:lnTo>
                <a:lnTo>
                  <a:pt x="1948018" y="2450744"/>
                </a:lnTo>
                <a:lnTo>
                  <a:pt x="1928353" y="2503592"/>
                </a:lnTo>
                <a:lnTo>
                  <a:pt x="1830031" y="2450744"/>
                </a:lnTo>
                <a:lnTo>
                  <a:pt x="1805450" y="2508508"/>
                </a:lnTo>
                <a:lnTo>
                  <a:pt x="1712043" y="2450744"/>
                </a:lnTo>
                <a:lnTo>
                  <a:pt x="1682547" y="2513424"/>
                </a:lnTo>
                <a:lnTo>
                  <a:pt x="1594056" y="2450744"/>
                </a:lnTo>
                <a:lnTo>
                  <a:pt x="1558983" y="2513634"/>
                </a:lnTo>
                <a:lnTo>
                  <a:pt x="1477299" y="2448286"/>
                </a:lnTo>
                <a:lnTo>
                  <a:pt x="1440428" y="2507279"/>
                </a:lnTo>
                <a:lnTo>
                  <a:pt x="1557185" y="2600686"/>
                </a:lnTo>
                <a:lnTo>
                  <a:pt x="1594056" y="2541692"/>
                </a:lnTo>
                <a:lnTo>
                  <a:pt x="1573013" y="2524858"/>
                </a:lnTo>
                <a:lnTo>
                  <a:pt x="1685005" y="2603144"/>
                </a:lnTo>
                <a:lnTo>
                  <a:pt x="1718189" y="2542921"/>
                </a:lnTo>
                <a:lnTo>
                  <a:pt x="1815282" y="2603144"/>
                </a:lnTo>
                <a:lnTo>
                  <a:pt x="1842321" y="2547837"/>
                </a:lnTo>
                <a:lnTo>
                  <a:pt x="1945560" y="2603144"/>
                </a:lnTo>
                <a:lnTo>
                  <a:pt x="1967682" y="2551524"/>
                </a:lnTo>
                <a:lnTo>
                  <a:pt x="2075837" y="2603144"/>
                </a:lnTo>
                <a:lnTo>
                  <a:pt x="2093044" y="2556441"/>
                </a:lnTo>
                <a:lnTo>
                  <a:pt x="2204887" y="2603144"/>
                </a:lnTo>
                <a:lnTo>
                  <a:pt x="2218405" y="2560127"/>
                </a:lnTo>
                <a:lnTo>
                  <a:pt x="2333934" y="2603144"/>
                </a:lnTo>
                <a:lnTo>
                  <a:pt x="2344996" y="2565043"/>
                </a:lnTo>
                <a:lnTo>
                  <a:pt x="2464212" y="2603144"/>
                </a:lnTo>
                <a:lnTo>
                  <a:pt x="2472816" y="2568731"/>
                </a:lnTo>
                <a:lnTo>
                  <a:pt x="2594490" y="2603144"/>
                </a:lnTo>
                <a:lnTo>
                  <a:pt x="2600635" y="2573647"/>
                </a:lnTo>
                <a:lnTo>
                  <a:pt x="2723539" y="2603144"/>
                </a:lnTo>
                <a:lnTo>
                  <a:pt x="2728455" y="2577334"/>
                </a:lnTo>
                <a:lnTo>
                  <a:pt x="2852587" y="2603144"/>
                </a:lnTo>
                <a:lnTo>
                  <a:pt x="2856274" y="2581021"/>
                </a:lnTo>
                <a:lnTo>
                  <a:pt x="2982864" y="2603144"/>
                </a:lnTo>
                <a:lnTo>
                  <a:pt x="2985322" y="2584708"/>
                </a:lnTo>
                <a:lnTo>
                  <a:pt x="3111913" y="2603144"/>
                </a:lnTo>
                <a:lnTo>
                  <a:pt x="3113142" y="2587166"/>
                </a:lnTo>
                <a:lnTo>
                  <a:pt x="3240961" y="2603144"/>
                </a:lnTo>
                <a:lnTo>
                  <a:pt x="3242191" y="2590854"/>
                </a:lnTo>
                <a:lnTo>
                  <a:pt x="3371239" y="2603144"/>
                </a:lnTo>
                <a:lnTo>
                  <a:pt x="3372468" y="2593312"/>
                </a:lnTo>
                <a:lnTo>
                  <a:pt x="3501516" y="2603144"/>
                </a:lnTo>
                <a:lnTo>
                  <a:pt x="3501516" y="2595770"/>
                </a:lnTo>
                <a:lnTo>
                  <a:pt x="3630565" y="2603144"/>
                </a:lnTo>
                <a:lnTo>
                  <a:pt x="3630565" y="2598228"/>
                </a:lnTo>
                <a:lnTo>
                  <a:pt x="3639168" y="2598228"/>
                </a:lnTo>
                <a:lnTo>
                  <a:pt x="3719056" y="2600686"/>
                </a:lnTo>
                <a:lnTo>
                  <a:pt x="3719056" y="2601914"/>
                </a:lnTo>
                <a:lnTo>
                  <a:pt x="5740817" y="2643701"/>
                </a:lnTo>
                <a:lnTo>
                  <a:pt x="3719056" y="2643701"/>
                </a:lnTo>
                <a:lnTo>
                  <a:pt x="3719056" y="2644931"/>
                </a:lnTo>
                <a:lnTo>
                  <a:pt x="3601069" y="2642473"/>
                </a:lnTo>
                <a:lnTo>
                  <a:pt x="3601069" y="2647389"/>
                </a:lnTo>
                <a:lnTo>
                  <a:pt x="3483081" y="2643701"/>
                </a:lnTo>
                <a:lnTo>
                  <a:pt x="3483081" y="2649847"/>
                </a:lnTo>
                <a:lnTo>
                  <a:pt x="3365094" y="2643701"/>
                </a:lnTo>
                <a:lnTo>
                  <a:pt x="3365094" y="2652305"/>
                </a:lnTo>
                <a:lnTo>
                  <a:pt x="3247107" y="2643701"/>
                </a:lnTo>
                <a:lnTo>
                  <a:pt x="3247107" y="2654763"/>
                </a:lnTo>
                <a:lnTo>
                  <a:pt x="3129120" y="2643701"/>
                </a:lnTo>
                <a:lnTo>
                  <a:pt x="3127890" y="2658450"/>
                </a:lnTo>
                <a:lnTo>
                  <a:pt x="3009903" y="2643701"/>
                </a:lnTo>
                <a:lnTo>
                  <a:pt x="3008674" y="2660908"/>
                </a:lnTo>
                <a:lnTo>
                  <a:pt x="2891916" y="2643701"/>
                </a:lnTo>
                <a:lnTo>
                  <a:pt x="2889458" y="2664596"/>
                </a:lnTo>
                <a:lnTo>
                  <a:pt x="2773928" y="2643701"/>
                </a:lnTo>
                <a:lnTo>
                  <a:pt x="2770242" y="2668282"/>
                </a:lnTo>
                <a:lnTo>
                  <a:pt x="2655941" y="2643701"/>
                </a:lnTo>
                <a:lnTo>
                  <a:pt x="2651025" y="2670740"/>
                </a:lnTo>
                <a:lnTo>
                  <a:pt x="2537954" y="2643701"/>
                </a:lnTo>
                <a:lnTo>
                  <a:pt x="2531809" y="2675656"/>
                </a:lnTo>
                <a:lnTo>
                  <a:pt x="2419967" y="2643701"/>
                </a:lnTo>
                <a:lnTo>
                  <a:pt x="2412593" y="2679344"/>
                </a:lnTo>
                <a:lnTo>
                  <a:pt x="2301980" y="2643701"/>
                </a:lnTo>
                <a:lnTo>
                  <a:pt x="2292147" y="2683030"/>
                </a:lnTo>
                <a:lnTo>
                  <a:pt x="2183992" y="2643701"/>
                </a:lnTo>
                <a:lnTo>
                  <a:pt x="2171702" y="2687947"/>
                </a:lnTo>
                <a:lnTo>
                  <a:pt x="2066005" y="2643701"/>
                </a:lnTo>
                <a:lnTo>
                  <a:pt x="2050028" y="2692863"/>
                </a:lnTo>
                <a:lnTo>
                  <a:pt x="1948018" y="2643701"/>
                </a:lnTo>
                <a:lnTo>
                  <a:pt x="1928353" y="2697779"/>
                </a:lnTo>
                <a:lnTo>
                  <a:pt x="1830031" y="2644931"/>
                </a:lnTo>
                <a:lnTo>
                  <a:pt x="1805450" y="2702695"/>
                </a:lnTo>
                <a:lnTo>
                  <a:pt x="1712043" y="2644931"/>
                </a:lnTo>
                <a:lnTo>
                  <a:pt x="1682547" y="2706383"/>
                </a:lnTo>
                <a:lnTo>
                  <a:pt x="1594056" y="2643701"/>
                </a:lnTo>
                <a:lnTo>
                  <a:pt x="1558510" y="2707442"/>
                </a:lnTo>
                <a:lnTo>
                  <a:pt x="1477299" y="2642473"/>
                </a:lnTo>
                <a:lnTo>
                  <a:pt x="1440428" y="2701467"/>
                </a:lnTo>
                <a:lnTo>
                  <a:pt x="1557185" y="2794873"/>
                </a:lnTo>
                <a:lnTo>
                  <a:pt x="1594056" y="2735879"/>
                </a:lnTo>
                <a:lnTo>
                  <a:pt x="1560841" y="2709307"/>
                </a:lnTo>
                <a:lnTo>
                  <a:pt x="1685005" y="2796101"/>
                </a:lnTo>
                <a:lnTo>
                  <a:pt x="1718189" y="2735879"/>
                </a:lnTo>
                <a:lnTo>
                  <a:pt x="1815282" y="2796101"/>
                </a:lnTo>
                <a:lnTo>
                  <a:pt x="1842321" y="2740796"/>
                </a:lnTo>
                <a:lnTo>
                  <a:pt x="1945560" y="2796101"/>
                </a:lnTo>
                <a:lnTo>
                  <a:pt x="1967682" y="2744482"/>
                </a:lnTo>
                <a:lnTo>
                  <a:pt x="2075837" y="2796101"/>
                </a:lnTo>
                <a:lnTo>
                  <a:pt x="2093044" y="2749398"/>
                </a:lnTo>
                <a:lnTo>
                  <a:pt x="2204887" y="2796101"/>
                </a:lnTo>
                <a:lnTo>
                  <a:pt x="2218405" y="2753086"/>
                </a:lnTo>
                <a:lnTo>
                  <a:pt x="2333934" y="2796101"/>
                </a:lnTo>
                <a:lnTo>
                  <a:pt x="2344996" y="2758002"/>
                </a:lnTo>
                <a:lnTo>
                  <a:pt x="2464212" y="2796101"/>
                </a:lnTo>
                <a:lnTo>
                  <a:pt x="2472816" y="2761689"/>
                </a:lnTo>
                <a:lnTo>
                  <a:pt x="2594490" y="2796101"/>
                </a:lnTo>
                <a:lnTo>
                  <a:pt x="2600635" y="2766605"/>
                </a:lnTo>
                <a:lnTo>
                  <a:pt x="2723539" y="2796101"/>
                </a:lnTo>
                <a:lnTo>
                  <a:pt x="2728455" y="2770292"/>
                </a:lnTo>
                <a:lnTo>
                  <a:pt x="2850129" y="2797331"/>
                </a:lnTo>
                <a:lnTo>
                  <a:pt x="2853816" y="2775209"/>
                </a:lnTo>
                <a:lnTo>
                  <a:pt x="2980406" y="2797331"/>
                </a:lnTo>
                <a:lnTo>
                  <a:pt x="2982864" y="2778895"/>
                </a:lnTo>
                <a:lnTo>
                  <a:pt x="3109455" y="2797331"/>
                </a:lnTo>
                <a:lnTo>
                  <a:pt x="3110684" y="2781353"/>
                </a:lnTo>
                <a:lnTo>
                  <a:pt x="3238503" y="2797331"/>
                </a:lnTo>
                <a:lnTo>
                  <a:pt x="3239733" y="2785041"/>
                </a:lnTo>
                <a:lnTo>
                  <a:pt x="3368781" y="2797331"/>
                </a:lnTo>
                <a:lnTo>
                  <a:pt x="3370010" y="2787499"/>
                </a:lnTo>
                <a:lnTo>
                  <a:pt x="3499058" y="2797331"/>
                </a:lnTo>
                <a:lnTo>
                  <a:pt x="3499058" y="2789957"/>
                </a:lnTo>
                <a:lnTo>
                  <a:pt x="3628107" y="2797331"/>
                </a:lnTo>
                <a:lnTo>
                  <a:pt x="3628107" y="2792415"/>
                </a:lnTo>
                <a:lnTo>
                  <a:pt x="3636710" y="2792415"/>
                </a:lnTo>
                <a:lnTo>
                  <a:pt x="3716598" y="2794873"/>
                </a:lnTo>
                <a:lnTo>
                  <a:pt x="3716598" y="2801018"/>
                </a:lnTo>
                <a:lnTo>
                  <a:pt x="5708861" y="2842805"/>
                </a:lnTo>
                <a:lnTo>
                  <a:pt x="3716598" y="2842805"/>
                </a:lnTo>
                <a:lnTo>
                  <a:pt x="3716598" y="2844034"/>
                </a:lnTo>
                <a:lnTo>
                  <a:pt x="3598611" y="2841576"/>
                </a:lnTo>
                <a:lnTo>
                  <a:pt x="3598611" y="2845263"/>
                </a:lnTo>
                <a:lnTo>
                  <a:pt x="3480623" y="2841576"/>
                </a:lnTo>
                <a:lnTo>
                  <a:pt x="3480623" y="2847721"/>
                </a:lnTo>
                <a:lnTo>
                  <a:pt x="3362636" y="2841576"/>
                </a:lnTo>
                <a:lnTo>
                  <a:pt x="3362636" y="2850179"/>
                </a:lnTo>
                <a:lnTo>
                  <a:pt x="3244649" y="2841576"/>
                </a:lnTo>
                <a:lnTo>
                  <a:pt x="3244649" y="2852637"/>
                </a:lnTo>
                <a:lnTo>
                  <a:pt x="3126662" y="2841576"/>
                </a:lnTo>
                <a:lnTo>
                  <a:pt x="3125432" y="2856325"/>
                </a:lnTo>
                <a:lnTo>
                  <a:pt x="3007445" y="2841576"/>
                </a:lnTo>
                <a:lnTo>
                  <a:pt x="3006216" y="2858783"/>
                </a:lnTo>
                <a:lnTo>
                  <a:pt x="2889458" y="2841576"/>
                </a:lnTo>
                <a:lnTo>
                  <a:pt x="2887000" y="2862469"/>
                </a:lnTo>
                <a:lnTo>
                  <a:pt x="2771470" y="2841576"/>
                </a:lnTo>
                <a:lnTo>
                  <a:pt x="2767784" y="2864927"/>
                </a:lnTo>
                <a:lnTo>
                  <a:pt x="2653483" y="2841576"/>
                </a:lnTo>
                <a:lnTo>
                  <a:pt x="2648567" y="2868615"/>
                </a:lnTo>
                <a:lnTo>
                  <a:pt x="2535496" y="2841576"/>
                </a:lnTo>
                <a:lnTo>
                  <a:pt x="2529351" y="2872302"/>
                </a:lnTo>
                <a:lnTo>
                  <a:pt x="2417509" y="2841576"/>
                </a:lnTo>
                <a:lnTo>
                  <a:pt x="2410134" y="2877218"/>
                </a:lnTo>
                <a:lnTo>
                  <a:pt x="2299521" y="2841576"/>
                </a:lnTo>
                <a:lnTo>
                  <a:pt x="2289689" y="2880905"/>
                </a:lnTo>
                <a:lnTo>
                  <a:pt x="2181534" y="2841576"/>
                </a:lnTo>
                <a:lnTo>
                  <a:pt x="2169244" y="2885822"/>
                </a:lnTo>
                <a:lnTo>
                  <a:pt x="2063547" y="2841576"/>
                </a:lnTo>
                <a:lnTo>
                  <a:pt x="2047570" y="2890738"/>
                </a:lnTo>
                <a:lnTo>
                  <a:pt x="1945560" y="2841576"/>
                </a:lnTo>
                <a:lnTo>
                  <a:pt x="1925895" y="2894424"/>
                </a:lnTo>
                <a:lnTo>
                  <a:pt x="1827572" y="2841576"/>
                </a:lnTo>
                <a:lnTo>
                  <a:pt x="1802992" y="2899340"/>
                </a:lnTo>
                <a:lnTo>
                  <a:pt x="1709585" y="2841576"/>
                </a:lnTo>
                <a:lnTo>
                  <a:pt x="1680088" y="2903028"/>
                </a:lnTo>
                <a:lnTo>
                  <a:pt x="1591598" y="2841576"/>
                </a:lnTo>
                <a:lnTo>
                  <a:pt x="1557758" y="2902257"/>
                </a:lnTo>
                <a:lnTo>
                  <a:pt x="1477299" y="2837889"/>
                </a:lnTo>
                <a:lnTo>
                  <a:pt x="1440428" y="2896882"/>
                </a:lnTo>
                <a:lnTo>
                  <a:pt x="1557185" y="2990289"/>
                </a:lnTo>
                <a:lnTo>
                  <a:pt x="1593698" y="2931868"/>
                </a:lnTo>
                <a:lnTo>
                  <a:pt x="1682547" y="2993977"/>
                </a:lnTo>
                <a:lnTo>
                  <a:pt x="1715731" y="2933753"/>
                </a:lnTo>
                <a:lnTo>
                  <a:pt x="1812824" y="2993977"/>
                </a:lnTo>
                <a:lnTo>
                  <a:pt x="1839863" y="2938669"/>
                </a:lnTo>
                <a:lnTo>
                  <a:pt x="1943102" y="2993977"/>
                </a:lnTo>
                <a:lnTo>
                  <a:pt x="1965224" y="2942357"/>
                </a:lnTo>
                <a:lnTo>
                  <a:pt x="2073379" y="2993977"/>
                </a:lnTo>
                <a:lnTo>
                  <a:pt x="2090586" y="2947273"/>
                </a:lnTo>
                <a:lnTo>
                  <a:pt x="2202428" y="2993977"/>
                </a:lnTo>
                <a:lnTo>
                  <a:pt x="2215947" y="2950960"/>
                </a:lnTo>
                <a:lnTo>
                  <a:pt x="2331476" y="2993977"/>
                </a:lnTo>
                <a:lnTo>
                  <a:pt x="2342538" y="2955876"/>
                </a:lnTo>
                <a:lnTo>
                  <a:pt x="2461754" y="2993977"/>
                </a:lnTo>
                <a:lnTo>
                  <a:pt x="2470358" y="2959564"/>
                </a:lnTo>
                <a:lnTo>
                  <a:pt x="2592031" y="2993977"/>
                </a:lnTo>
                <a:lnTo>
                  <a:pt x="2598177" y="2964480"/>
                </a:lnTo>
                <a:lnTo>
                  <a:pt x="2721081" y="2993977"/>
                </a:lnTo>
                <a:lnTo>
                  <a:pt x="2725997" y="2968166"/>
                </a:lnTo>
                <a:lnTo>
                  <a:pt x="2851358" y="2993977"/>
                </a:lnTo>
                <a:lnTo>
                  <a:pt x="2855045" y="2971854"/>
                </a:lnTo>
                <a:lnTo>
                  <a:pt x="2981636" y="2993977"/>
                </a:lnTo>
                <a:lnTo>
                  <a:pt x="2984094" y="2975540"/>
                </a:lnTo>
                <a:lnTo>
                  <a:pt x="3110684" y="2993977"/>
                </a:lnTo>
                <a:lnTo>
                  <a:pt x="3111913" y="2977998"/>
                </a:lnTo>
                <a:lnTo>
                  <a:pt x="3239733" y="2993977"/>
                </a:lnTo>
                <a:lnTo>
                  <a:pt x="3240961" y="2981686"/>
                </a:lnTo>
                <a:lnTo>
                  <a:pt x="3370010" y="2993977"/>
                </a:lnTo>
                <a:lnTo>
                  <a:pt x="3371239" y="2984144"/>
                </a:lnTo>
                <a:lnTo>
                  <a:pt x="3500288" y="2993977"/>
                </a:lnTo>
                <a:lnTo>
                  <a:pt x="3500288" y="2986602"/>
                </a:lnTo>
                <a:lnTo>
                  <a:pt x="3629336" y="2993977"/>
                </a:lnTo>
                <a:lnTo>
                  <a:pt x="3629336" y="2989060"/>
                </a:lnTo>
                <a:lnTo>
                  <a:pt x="3637940" y="2989060"/>
                </a:lnTo>
                <a:lnTo>
                  <a:pt x="3717826" y="2991518"/>
                </a:lnTo>
                <a:lnTo>
                  <a:pt x="3717826" y="2992747"/>
                </a:lnTo>
                <a:lnTo>
                  <a:pt x="5716236" y="3034534"/>
                </a:lnTo>
                <a:lnTo>
                  <a:pt x="3717826" y="3034534"/>
                </a:lnTo>
                <a:lnTo>
                  <a:pt x="3717826" y="3035764"/>
                </a:lnTo>
                <a:lnTo>
                  <a:pt x="3599839" y="3033306"/>
                </a:lnTo>
                <a:lnTo>
                  <a:pt x="3599839" y="3036992"/>
                </a:lnTo>
                <a:lnTo>
                  <a:pt x="3481852" y="3033306"/>
                </a:lnTo>
                <a:lnTo>
                  <a:pt x="3481852" y="3039450"/>
                </a:lnTo>
                <a:lnTo>
                  <a:pt x="3363865" y="3033306"/>
                </a:lnTo>
                <a:lnTo>
                  <a:pt x="3363865" y="3041908"/>
                </a:lnTo>
                <a:lnTo>
                  <a:pt x="3245877" y="3033306"/>
                </a:lnTo>
                <a:lnTo>
                  <a:pt x="3245877" y="3044366"/>
                </a:lnTo>
                <a:lnTo>
                  <a:pt x="3127890" y="3033306"/>
                </a:lnTo>
                <a:lnTo>
                  <a:pt x="3126662" y="3048054"/>
                </a:lnTo>
                <a:lnTo>
                  <a:pt x="3008674" y="3033306"/>
                </a:lnTo>
                <a:lnTo>
                  <a:pt x="3007445" y="3050512"/>
                </a:lnTo>
                <a:lnTo>
                  <a:pt x="2890687" y="3033306"/>
                </a:lnTo>
                <a:lnTo>
                  <a:pt x="2888229" y="3054199"/>
                </a:lnTo>
                <a:lnTo>
                  <a:pt x="2772700" y="3033306"/>
                </a:lnTo>
                <a:lnTo>
                  <a:pt x="2769012" y="3056657"/>
                </a:lnTo>
                <a:lnTo>
                  <a:pt x="2654713" y="3033306"/>
                </a:lnTo>
                <a:lnTo>
                  <a:pt x="2649797" y="3060344"/>
                </a:lnTo>
                <a:lnTo>
                  <a:pt x="2536726" y="3033306"/>
                </a:lnTo>
                <a:lnTo>
                  <a:pt x="2530580" y="3064031"/>
                </a:lnTo>
                <a:lnTo>
                  <a:pt x="2418738" y="3033306"/>
                </a:lnTo>
                <a:lnTo>
                  <a:pt x="2411364" y="3068947"/>
                </a:lnTo>
                <a:lnTo>
                  <a:pt x="2300751" y="3033306"/>
                </a:lnTo>
                <a:lnTo>
                  <a:pt x="2290919" y="3072635"/>
                </a:lnTo>
                <a:lnTo>
                  <a:pt x="2182764" y="3033306"/>
                </a:lnTo>
                <a:lnTo>
                  <a:pt x="2170474" y="3077551"/>
                </a:lnTo>
                <a:lnTo>
                  <a:pt x="2064777" y="3033306"/>
                </a:lnTo>
                <a:lnTo>
                  <a:pt x="2048799" y="3082467"/>
                </a:lnTo>
                <a:lnTo>
                  <a:pt x="1946789" y="3033306"/>
                </a:lnTo>
                <a:lnTo>
                  <a:pt x="1927125" y="3086153"/>
                </a:lnTo>
                <a:lnTo>
                  <a:pt x="1828802" y="3033306"/>
                </a:lnTo>
                <a:lnTo>
                  <a:pt x="1804221" y="3091070"/>
                </a:lnTo>
                <a:lnTo>
                  <a:pt x="1710815" y="3033306"/>
                </a:lnTo>
                <a:lnTo>
                  <a:pt x="1681318" y="3094757"/>
                </a:lnTo>
                <a:lnTo>
                  <a:pt x="1592828" y="3033306"/>
                </a:lnTo>
                <a:lnTo>
                  <a:pt x="1557806" y="3096101"/>
                </a:lnTo>
                <a:lnTo>
                  <a:pt x="1477299" y="3030848"/>
                </a:lnTo>
                <a:lnTo>
                  <a:pt x="1440428" y="3089841"/>
                </a:lnTo>
                <a:lnTo>
                  <a:pt x="1557185" y="3184476"/>
                </a:lnTo>
                <a:lnTo>
                  <a:pt x="1594056" y="3125482"/>
                </a:lnTo>
                <a:lnTo>
                  <a:pt x="1571695" y="3107358"/>
                </a:lnTo>
                <a:lnTo>
                  <a:pt x="1683776" y="3185706"/>
                </a:lnTo>
                <a:lnTo>
                  <a:pt x="1716959" y="3125482"/>
                </a:lnTo>
                <a:lnTo>
                  <a:pt x="1814054" y="3185706"/>
                </a:lnTo>
                <a:lnTo>
                  <a:pt x="1841092" y="3130399"/>
                </a:lnTo>
                <a:lnTo>
                  <a:pt x="1944331" y="3185706"/>
                </a:lnTo>
                <a:lnTo>
                  <a:pt x="1966454" y="3134086"/>
                </a:lnTo>
                <a:lnTo>
                  <a:pt x="2074609" y="3185706"/>
                </a:lnTo>
                <a:lnTo>
                  <a:pt x="2091815" y="3139003"/>
                </a:lnTo>
                <a:lnTo>
                  <a:pt x="2203657" y="3185706"/>
                </a:lnTo>
                <a:lnTo>
                  <a:pt x="2217177" y="3142689"/>
                </a:lnTo>
                <a:lnTo>
                  <a:pt x="2332706" y="3185706"/>
                </a:lnTo>
                <a:lnTo>
                  <a:pt x="2343767" y="3147605"/>
                </a:lnTo>
                <a:lnTo>
                  <a:pt x="2462984" y="3185706"/>
                </a:lnTo>
                <a:lnTo>
                  <a:pt x="2471586" y="3151293"/>
                </a:lnTo>
                <a:lnTo>
                  <a:pt x="2593261" y="3185706"/>
                </a:lnTo>
                <a:lnTo>
                  <a:pt x="2599406" y="3156209"/>
                </a:lnTo>
                <a:lnTo>
                  <a:pt x="2722309" y="3185706"/>
                </a:lnTo>
                <a:lnTo>
                  <a:pt x="2727225" y="3159895"/>
                </a:lnTo>
                <a:lnTo>
                  <a:pt x="2852587" y="3185706"/>
                </a:lnTo>
                <a:lnTo>
                  <a:pt x="2856274" y="3163583"/>
                </a:lnTo>
                <a:lnTo>
                  <a:pt x="2982864" y="3185706"/>
                </a:lnTo>
                <a:lnTo>
                  <a:pt x="2985322" y="3167270"/>
                </a:lnTo>
                <a:lnTo>
                  <a:pt x="3111913" y="3185706"/>
                </a:lnTo>
                <a:lnTo>
                  <a:pt x="3113142" y="3169728"/>
                </a:lnTo>
                <a:lnTo>
                  <a:pt x="3240961" y="3185706"/>
                </a:lnTo>
                <a:lnTo>
                  <a:pt x="3242191" y="3173415"/>
                </a:lnTo>
                <a:lnTo>
                  <a:pt x="3371239" y="3185706"/>
                </a:lnTo>
                <a:lnTo>
                  <a:pt x="3372468" y="3175874"/>
                </a:lnTo>
                <a:lnTo>
                  <a:pt x="3501516" y="3185706"/>
                </a:lnTo>
                <a:lnTo>
                  <a:pt x="3501516" y="3178332"/>
                </a:lnTo>
                <a:lnTo>
                  <a:pt x="3630565" y="3185706"/>
                </a:lnTo>
                <a:lnTo>
                  <a:pt x="3630565" y="3180790"/>
                </a:lnTo>
                <a:lnTo>
                  <a:pt x="3639168" y="3180790"/>
                </a:lnTo>
                <a:lnTo>
                  <a:pt x="3719056" y="3183248"/>
                </a:lnTo>
                <a:lnTo>
                  <a:pt x="3719056" y="3184476"/>
                </a:lnTo>
                <a:lnTo>
                  <a:pt x="5703946" y="3226263"/>
                </a:lnTo>
                <a:lnTo>
                  <a:pt x="3719056" y="3226263"/>
                </a:lnTo>
                <a:lnTo>
                  <a:pt x="3720284" y="3228721"/>
                </a:lnTo>
                <a:lnTo>
                  <a:pt x="3602297" y="3226263"/>
                </a:lnTo>
                <a:lnTo>
                  <a:pt x="3602297" y="3229951"/>
                </a:lnTo>
                <a:lnTo>
                  <a:pt x="3484310" y="3226263"/>
                </a:lnTo>
                <a:lnTo>
                  <a:pt x="3484310" y="3232409"/>
                </a:lnTo>
                <a:lnTo>
                  <a:pt x="3366323" y="3226263"/>
                </a:lnTo>
                <a:lnTo>
                  <a:pt x="3366323" y="3234867"/>
                </a:lnTo>
                <a:lnTo>
                  <a:pt x="3248335" y="3226263"/>
                </a:lnTo>
                <a:lnTo>
                  <a:pt x="3248335" y="3237325"/>
                </a:lnTo>
                <a:lnTo>
                  <a:pt x="3131578" y="3226263"/>
                </a:lnTo>
                <a:lnTo>
                  <a:pt x="3130348" y="3241012"/>
                </a:lnTo>
                <a:lnTo>
                  <a:pt x="3011133" y="3226263"/>
                </a:lnTo>
                <a:lnTo>
                  <a:pt x="3009903" y="3243470"/>
                </a:lnTo>
                <a:lnTo>
                  <a:pt x="2893145" y="3226263"/>
                </a:lnTo>
                <a:lnTo>
                  <a:pt x="2890687" y="3247157"/>
                </a:lnTo>
                <a:lnTo>
                  <a:pt x="2775158" y="3226263"/>
                </a:lnTo>
                <a:lnTo>
                  <a:pt x="2771470" y="3249616"/>
                </a:lnTo>
                <a:lnTo>
                  <a:pt x="2657171" y="3226263"/>
                </a:lnTo>
                <a:lnTo>
                  <a:pt x="2652255" y="3253302"/>
                </a:lnTo>
                <a:lnTo>
                  <a:pt x="2539184" y="3226263"/>
                </a:lnTo>
                <a:lnTo>
                  <a:pt x="2533038" y="3256990"/>
                </a:lnTo>
                <a:lnTo>
                  <a:pt x="2421196" y="3226263"/>
                </a:lnTo>
                <a:lnTo>
                  <a:pt x="2413822" y="3261906"/>
                </a:lnTo>
                <a:lnTo>
                  <a:pt x="2303209" y="3226263"/>
                </a:lnTo>
                <a:lnTo>
                  <a:pt x="2293377" y="3265592"/>
                </a:lnTo>
                <a:lnTo>
                  <a:pt x="2185222" y="3226263"/>
                </a:lnTo>
                <a:lnTo>
                  <a:pt x="2172932" y="3270508"/>
                </a:lnTo>
                <a:lnTo>
                  <a:pt x="2067235" y="3226263"/>
                </a:lnTo>
                <a:lnTo>
                  <a:pt x="2051257" y="3275425"/>
                </a:lnTo>
                <a:lnTo>
                  <a:pt x="1949247" y="3226263"/>
                </a:lnTo>
                <a:lnTo>
                  <a:pt x="1929583" y="3279112"/>
                </a:lnTo>
                <a:lnTo>
                  <a:pt x="1831260" y="3226263"/>
                </a:lnTo>
                <a:lnTo>
                  <a:pt x="1806680" y="3284028"/>
                </a:lnTo>
                <a:lnTo>
                  <a:pt x="1713273" y="3226263"/>
                </a:lnTo>
                <a:lnTo>
                  <a:pt x="1683776" y="3287715"/>
                </a:lnTo>
                <a:lnTo>
                  <a:pt x="1595286" y="3226263"/>
                </a:lnTo>
                <a:lnTo>
                  <a:pt x="1559643" y="3290173"/>
                </a:lnTo>
                <a:lnTo>
                  <a:pt x="1686234" y="3378663"/>
                </a:lnTo>
                <a:lnTo>
                  <a:pt x="1719418" y="3318441"/>
                </a:lnTo>
                <a:lnTo>
                  <a:pt x="1816512" y="3378663"/>
                </a:lnTo>
                <a:lnTo>
                  <a:pt x="1843551" y="3323358"/>
                </a:lnTo>
                <a:lnTo>
                  <a:pt x="1938186" y="3386038"/>
                </a:lnTo>
                <a:lnTo>
                  <a:pt x="1960308" y="3334418"/>
                </a:lnTo>
                <a:lnTo>
                  <a:pt x="2068463" y="3386038"/>
                </a:lnTo>
                <a:lnTo>
                  <a:pt x="2085670" y="3339334"/>
                </a:lnTo>
                <a:lnTo>
                  <a:pt x="2197512" y="3386038"/>
                </a:lnTo>
                <a:lnTo>
                  <a:pt x="2211031" y="3343022"/>
                </a:lnTo>
                <a:lnTo>
                  <a:pt x="2326560" y="3386038"/>
                </a:lnTo>
                <a:lnTo>
                  <a:pt x="2337622" y="3347938"/>
                </a:lnTo>
                <a:lnTo>
                  <a:pt x="2456838" y="3386038"/>
                </a:lnTo>
                <a:lnTo>
                  <a:pt x="2465442" y="3351625"/>
                </a:lnTo>
                <a:lnTo>
                  <a:pt x="2587115" y="3386038"/>
                </a:lnTo>
                <a:lnTo>
                  <a:pt x="2593261" y="3356541"/>
                </a:lnTo>
                <a:lnTo>
                  <a:pt x="2716164" y="3386038"/>
                </a:lnTo>
                <a:lnTo>
                  <a:pt x="2721081" y="3360229"/>
                </a:lnTo>
                <a:lnTo>
                  <a:pt x="2846442" y="3386038"/>
                </a:lnTo>
                <a:lnTo>
                  <a:pt x="2850129" y="3363915"/>
                </a:lnTo>
                <a:lnTo>
                  <a:pt x="2976720" y="3386038"/>
                </a:lnTo>
                <a:lnTo>
                  <a:pt x="2979178" y="3367603"/>
                </a:lnTo>
                <a:lnTo>
                  <a:pt x="3105768" y="3386038"/>
                </a:lnTo>
                <a:lnTo>
                  <a:pt x="3106997" y="3370061"/>
                </a:lnTo>
                <a:lnTo>
                  <a:pt x="3234817" y="3386038"/>
                </a:lnTo>
                <a:lnTo>
                  <a:pt x="3236045" y="3373747"/>
                </a:lnTo>
                <a:lnTo>
                  <a:pt x="3365094" y="3386038"/>
                </a:lnTo>
                <a:lnTo>
                  <a:pt x="3366323" y="3376205"/>
                </a:lnTo>
                <a:lnTo>
                  <a:pt x="3495372" y="3386038"/>
                </a:lnTo>
                <a:lnTo>
                  <a:pt x="3495372" y="3378663"/>
                </a:lnTo>
                <a:lnTo>
                  <a:pt x="3624420" y="3386038"/>
                </a:lnTo>
                <a:lnTo>
                  <a:pt x="3624420" y="3381121"/>
                </a:lnTo>
                <a:lnTo>
                  <a:pt x="3633024" y="3381121"/>
                </a:lnTo>
                <a:lnTo>
                  <a:pt x="3712910" y="3383580"/>
                </a:lnTo>
                <a:lnTo>
                  <a:pt x="3712910" y="3384809"/>
                </a:lnTo>
                <a:lnTo>
                  <a:pt x="5733441" y="3426596"/>
                </a:lnTo>
                <a:lnTo>
                  <a:pt x="3712910" y="3426596"/>
                </a:lnTo>
                <a:lnTo>
                  <a:pt x="3712910" y="3427825"/>
                </a:lnTo>
                <a:lnTo>
                  <a:pt x="3594923" y="3425367"/>
                </a:lnTo>
                <a:lnTo>
                  <a:pt x="3594923" y="3429054"/>
                </a:lnTo>
                <a:lnTo>
                  <a:pt x="3476936" y="3425367"/>
                </a:lnTo>
                <a:lnTo>
                  <a:pt x="3476936" y="3431513"/>
                </a:lnTo>
                <a:lnTo>
                  <a:pt x="3358948" y="3425367"/>
                </a:lnTo>
                <a:lnTo>
                  <a:pt x="3358948" y="3433971"/>
                </a:lnTo>
                <a:lnTo>
                  <a:pt x="3240961" y="3425367"/>
                </a:lnTo>
                <a:lnTo>
                  <a:pt x="3240961" y="3436429"/>
                </a:lnTo>
                <a:lnTo>
                  <a:pt x="3122974" y="3425367"/>
                </a:lnTo>
                <a:lnTo>
                  <a:pt x="3121746" y="3440115"/>
                </a:lnTo>
                <a:lnTo>
                  <a:pt x="3003758" y="3425367"/>
                </a:lnTo>
                <a:lnTo>
                  <a:pt x="3002529" y="3442573"/>
                </a:lnTo>
                <a:lnTo>
                  <a:pt x="2885771" y="3425367"/>
                </a:lnTo>
                <a:lnTo>
                  <a:pt x="2883313" y="3446261"/>
                </a:lnTo>
                <a:lnTo>
                  <a:pt x="2767784" y="3425367"/>
                </a:lnTo>
                <a:lnTo>
                  <a:pt x="2764096" y="3449947"/>
                </a:lnTo>
                <a:lnTo>
                  <a:pt x="2649797" y="3425367"/>
                </a:lnTo>
                <a:lnTo>
                  <a:pt x="2644881" y="3452405"/>
                </a:lnTo>
                <a:lnTo>
                  <a:pt x="2531809" y="3425367"/>
                </a:lnTo>
                <a:lnTo>
                  <a:pt x="2525664" y="3457322"/>
                </a:lnTo>
                <a:lnTo>
                  <a:pt x="2413822" y="3425367"/>
                </a:lnTo>
                <a:lnTo>
                  <a:pt x="2406448" y="3461009"/>
                </a:lnTo>
                <a:lnTo>
                  <a:pt x="2295835" y="3425367"/>
                </a:lnTo>
                <a:lnTo>
                  <a:pt x="2286003" y="3464696"/>
                </a:lnTo>
                <a:lnTo>
                  <a:pt x="2177848" y="3425367"/>
                </a:lnTo>
                <a:lnTo>
                  <a:pt x="2165557" y="3469612"/>
                </a:lnTo>
                <a:lnTo>
                  <a:pt x="2059860" y="3425367"/>
                </a:lnTo>
                <a:lnTo>
                  <a:pt x="2043882" y="3474528"/>
                </a:lnTo>
                <a:lnTo>
                  <a:pt x="1941873" y="3425367"/>
                </a:lnTo>
                <a:lnTo>
                  <a:pt x="1922209" y="3478216"/>
                </a:lnTo>
                <a:lnTo>
                  <a:pt x="1823886" y="3425367"/>
                </a:lnTo>
                <a:lnTo>
                  <a:pt x="1799305" y="3483132"/>
                </a:lnTo>
                <a:lnTo>
                  <a:pt x="1705899" y="3425367"/>
                </a:lnTo>
                <a:lnTo>
                  <a:pt x="1676402" y="3488048"/>
                </a:lnTo>
                <a:lnTo>
                  <a:pt x="1587912" y="3425367"/>
                </a:lnTo>
                <a:lnTo>
                  <a:pt x="1555303" y="3483837"/>
                </a:lnTo>
                <a:lnTo>
                  <a:pt x="1476069" y="3420451"/>
                </a:lnTo>
                <a:lnTo>
                  <a:pt x="1439198" y="3479444"/>
                </a:lnTo>
                <a:lnTo>
                  <a:pt x="1555957" y="3572851"/>
                </a:lnTo>
                <a:lnTo>
                  <a:pt x="1591188" y="3516482"/>
                </a:lnTo>
                <a:lnTo>
                  <a:pt x="1678860" y="3577767"/>
                </a:lnTo>
                <a:lnTo>
                  <a:pt x="1712043" y="3517545"/>
                </a:lnTo>
                <a:lnTo>
                  <a:pt x="1809138" y="3577767"/>
                </a:lnTo>
                <a:lnTo>
                  <a:pt x="1836176" y="3522461"/>
                </a:lnTo>
                <a:lnTo>
                  <a:pt x="1939415" y="3577767"/>
                </a:lnTo>
                <a:lnTo>
                  <a:pt x="1961538" y="3526147"/>
                </a:lnTo>
                <a:lnTo>
                  <a:pt x="2069693" y="3577767"/>
                </a:lnTo>
                <a:lnTo>
                  <a:pt x="2086899" y="3531064"/>
                </a:lnTo>
                <a:lnTo>
                  <a:pt x="2198741" y="3577767"/>
                </a:lnTo>
                <a:lnTo>
                  <a:pt x="2212261" y="3534751"/>
                </a:lnTo>
                <a:lnTo>
                  <a:pt x="2327790" y="3577767"/>
                </a:lnTo>
                <a:lnTo>
                  <a:pt x="2338851" y="3539667"/>
                </a:lnTo>
                <a:lnTo>
                  <a:pt x="2458067" y="3577767"/>
                </a:lnTo>
                <a:lnTo>
                  <a:pt x="2466670" y="3543354"/>
                </a:lnTo>
                <a:lnTo>
                  <a:pt x="2588345" y="3577767"/>
                </a:lnTo>
                <a:lnTo>
                  <a:pt x="2594490" y="3548270"/>
                </a:lnTo>
                <a:lnTo>
                  <a:pt x="2717393" y="3577767"/>
                </a:lnTo>
                <a:lnTo>
                  <a:pt x="2722309" y="3551958"/>
                </a:lnTo>
                <a:lnTo>
                  <a:pt x="2847670" y="3577767"/>
                </a:lnTo>
                <a:lnTo>
                  <a:pt x="2851358" y="3555644"/>
                </a:lnTo>
                <a:lnTo>
                  <a:pt x="2977948" y="3577767"/>
                </a:lnTo>
                <a:lnTo>
                  <a:pt x="2980406" y="3559332"/>
                </a:lnTo>
                <a:lnTo>
                  <a:pt x="3106997" y="3577767"/>
                </a:lnTo>
                <a:lnTo>
                  <a:pt x="3108226" y="3561790"/>
                </a:lnTo>
                <a:lnTo>
                  <a:pt x="3236045" y="3577767"/>
                </a:lnTo>
                <a:lnTo>
                  <a:pt x="3237275" y="3565477"/>
                </a:lnTo>
                <a:lnTo>
                  <a:pt x="3366323" y="3577767"/>
                </a:lnTo>
                <a:lnTo>
                  <a:pt x="3367552" y="3567935"/>
                </a:lnTo>
                <a:lnTo>
                  <a:pt x="3496600" y="3577767"/>
                </a:lnTo>
                <a:lnTo>
                  <a:pt x="3496600" y="3570393"/>
                </a:lnTo>
                <a:lnTo>
                  <a:pt x="3625649" y="3577767"/>
                </a:lnTo>
                <a:lnTo>
                  <a:pt x="3625649" y="3572851"/>
                </a:lnTo>
                <a:lnTo>
                  <a:pt x="3634252" y="3572851"/>
                </a:lnTo>
                <a:lnTo>
                  <a:pt x="3714140" y="3575309"/>
                </a:lnTo>
                <a:lnTo>
                  <a:pt x="3714140" y="3576538"/>
                </a:lnTo>
                <a:lnTo>
                  <a:pt x="5530652" y="3610951"/>
                </a:lnTo>
                <a:lnTo>
                  <a:pt x="3715368" y="3610951"/>
                </a:lnTo>
                <a:lnTo>
                  <a:pt x="3715368" y="3613409"/>
                </a:lnTo>
                <a:lnTo>
                  <a:pt x="3597381" y="3610951"/>
                </a:lnTo>
                <a:lnTo>
                  <a:pt x="3597381" y="3614638"/>
                </a:lnTo>
                <a:lnTo>
                  <a:pt x="3479394" y="3610951"/>
                </a:lnTo>
                <a:lnTo>
                  <a:pt x="3479394" y="3617096"/>
                </a:lnTo>
                <a:lnTo>
                  <a:pt x="3361406" y="3610951"/>
                </a:lnTo>
                <a:lnTo>
                  <a:pt x="3361406" y="3619554"/>
                </a:lnTo>
                <a:lnTo>
                  <a:pt x="3243419" y="3610951"/>
                </a:lnTo>
                <a:lnTo>
                  <a:pt x="3243419" y="3622012"/>
                </a:lnTo>
                <a:lnTo>
                  <a:pt x="3125432" y="3610951"/>
                </a:lnTo>
                <a:lnTo>
                  <a:pt x="3124204" y="3625700"/>
                </a:lnTo>
                <a:lnTo>
                  <a:pt x="3006216" y="3610951"/>
                </a:lnTo>
                <a:lnTo>
                  <a:pt x="3004987" y="3628158"/>
                </a:lnTo>
                <a:lnTo>
                  <a:pt x="2888229" y="3610951"/>
                </a:lnTo>
                <a:lnTo>
                  <a:pt x="2885771" y="3631844"/>
                </a:lnTo>
                <a:lnTo>
                  <a:pt x="2770242" y="3610951"/>
                </a:lnTo>
                <a:lnTo>
                  <a:pt x="2766554" y="3635532"/>
                </a:lnTo>
                <a:lnTo>
                  <a:pt x="2652255" y="3610951"/>
                </a:lnTo>
                <a:lnTo>
                  <a:pt x="2647339" y="3637990"/>
                </a:lnTo>
                <a:lnTo>
                  <a:pt x="2534268" y="3610951"/>
                </a:lnTo>
                <a:lnTo>
                  <a:pt x="2528122" y="3642906"/>
                </a:lnTo>
                <a:lnTo>
                  <a:pt x="2416280" y="3610951"/>
                </a:lnTo>
                <a:lnTo>
                  <a:pt x="2408906" y="3646593"/>
                </a:lnTo>
                <a:lnTo>
                  <a:pt x="2298293" y="3610951"/>
                </a:lnTo>
                <a:lnTo>
                  <a:pt x="2288461" y="3650280"/>
                </a:lnTo>
                <a:lnTo>
                  <a:pt x="2180306" y="3610951"/>
                </a:lnTo>
                <a:lnTo>
                  <a:pt x="2168015" y="3655197"/>
                </a:lnTo>
                <a:lnTo>
                  <a:pt x="2062319" y="3610951"/>
                </a:lnTo>
                <a:lnTo>
                  <a:pt x="2046340" y="3660113"/>
                </a:lnTo>
                <a:lnTo>
                  <a:pt x="1944331" y="3610951"/>
                </a:lnTo>
                <a:lnTo>
                  <a:pt x="1924667" y="3663799"/>
                </a:lnTo>
                <a:lnTo>
                  <a:pt x="1826344" y="3610951"/>
                </a:lnTo>
                <a:lnTo>
                  <a:pt x="1801763" y="3668715"/>
                </a:lnTo>
                <a:lnTo>
                  <a:pt x="1708357" y="3610951"/>
                </a:lnTo>
                <a:lnTo>
                  <a:pt x="1678860" y="3673631"/>
                </a:lnTo>
                <a:lnTo>
                  <a:pt x="1590370" y="3610951"/>
                </a:lnTo>
                <a:lnTo>
                  <a:pt x="1556054" y="3672481"/>
                </a:lnTo>
                <a:lnTo>
                  <a:pt x="1476069" y="3608493"/>
                </a:lnTo>
                <a:lnTo>
                  <a:pt x="1439198" y="3667487"/>
                </a:lnTo>
                <a:lnTo>
                  <a:pt x="1555957" y="3760894"/>
                </a:lnTo>
                <a:lnTo>
                  <a:pt x="1592828" y="3701900"/>
                </a:lnTo>
                <a:lnTo>
                  <a:pt x="1588815" y="3698689"/>
                </a:lnTo>
                <a:lnTo>
                  <a:pt x="1681318" y="3763352"/>
                </a:lnTo>
                <a:lnTo>
                  <a:pt x="1714501" y="3703128"/>
                </a:lnTo>
                <a:lnTo>
                  <a:pt x="1811596" y="3763352"/>
                </a:lnTo>
                <a:lnTo>
                  <a:pt x="1838634" y="3708044"/>
                </a:lnTo>
                <a:lnTo>
                  <a:pt x="1941873" y="3763352"/>
                </a:lnTo>
                <a:lnTo>
                  <a:pt x="1963996" y="3711732"/>
                </a:lnTo>
                <a:lnTo>
                  <a:pt x="2072151" y="3763352"/>
                </a:lnTo>
                <a:lnTo>
                  <a:pt x="2089357" y="3716648"/>
                </a:lnTo>
                <a:lnTo>
                  <a:pt x="2201199" y="3763352"/>
                </a:lnTo>
                <a:lnTo>
                  <a:pt x="2214719" y="3720335"/>
                </a:lnTo>
                <a:lnTo>
                  <a:pt x="2330248" y="3763352"/>
                </a:lnTo>
                <a:lnTo>
                  <a:pt x="2341309" y="3725251"/>
                </a:lnTo>
                <a:lnTo>
                  <a:pt x="2460525" y="3763352"/>
                </a:lnTo>
                <a:lnTo>
                  <a:pt x="2469128" y="3728939"/>
                </a:lnTo>
                <a:lnTo>
                  <a:pt x="2590803" y="3763352"/>
                </a:lnTo>
                <a:lnTo>
                  <a:pt x="2596948" y="3733855"/>
                </a:lnTo>
                <a:lnTo>
                  <a:pt x="2719851" y="3763352"/>
                </a:lnTo>
                <a:lnTo>
                  <a:pt x="2724767" y="3737541"/>
                </a:lnTo>
                <a:lnTo>
                  <a:pt x="2850129" y="3763352"/>
                </a:lnTo>
                <a:lnTo>
                  <a:pt x="2853816" y="3741229"/>
                </a:lnTo>
                <a:lnTo>
                  <a:pt x="2980406" y="3763352"/>
                </a:lnTo>
                <a:lnTo>
                  <a:pt x="2982864" y="3744915"/>
                </a:lnTo>
                <a:lnTo>
                  <a:pt x="3109455" y="3763352"/>
                </a:lnTo>
                <a:lnTo>
                  <a:pt x="3110684" y="3747373"/>
                </a:lnTo>
                <a:lnTo>
                  <a:pt x="3238503" y="3763352"/>
                </a:lnTo>
                <a:lnTo>
                  <a:pt x="3239733" y="3751061"/>
                </a:lnTo>
                <a:lnTo>
                  <a:pt x="3368781" y="3763352"/>
                </a:lnTo>
                <a:lnTo>
                  <a:pt x="3370010" y="3753519"/>
                </a:lnTo>
                <a:lnTo>
                  <a:pt x="3499058" y="3763352"/>
                </a:lnTo>
                <a:lnTo>
                  <a:pt x="3499058" y="3755977"/>
                </a:lnTo>
                <a:lnTo>
                  <a:pt x="3628107" y="3763352"/>
                </a:lnTo>
                <a:lnTo>
                  <a:pt x="3628107" y="3759664"/>
                </a:lnTo>
                <a:lnTo>
                  <a:pt x="3636710" y="3759664"/>
                </a:lnTo>
                <a:lnTo>
                  <a:pt x="3716598" y="3762122"/>
                </a:lnTo>
                <a:lnTo>
                  <a:pt x="3716598" y="3763352"/>
                </a:lnTo>
                <a:lnTo>
                  <a:pt x="5577355" y="3802681"/>
                </a:lnTo>
                <a:lnTo>
                  <a:pt x="3716598" y="3802681"/>
                </a:lnTo>
                <a:lnTo>
                  <a:pt x="3717826" y="3805139"/>
                </a:lnTo>
                <a:lnTo>
                  <a:pt x="3599839" y="3802681"/>
                </a:lnTo>
                <a:lnTo>
                  <a:pt x="3599839" y="3806367"/>
                </a:lnTo>
                <a:lnTo>
                  <a:pt x="3481852" y="3802681"/>
                </a:lnTo>
                <a:lnTo>
                  <a:pt x="3481852" y="3808825"/>
                </a:lnTo>
                <a:lnTo>
                  <a:pt x="3363865" y="3802681"/>
                </a:lnTo>
                <a:lnTo>
                  <a:pt x="3363865" y="3811283"/>
                </a:lnTo>
                <a:lnTo>
                  <a:pt x="3245877" y="3802681"/>
                </a:lnTo>
                <a:lnTo>
                  <a:pt x="3245877" y="3813741"/>
                </a:lnTo>
                <a:lnTo>
                  <a:pt x="3127890" y="3802681"/>
                </a:lnTo>
                <a:lnTo>
                  <a:pt x="3126662" y="3817429"/>
                </a:lnTo>
                <a:lnTo>
                  <a:pt x="3008674" y="3802681"/>
                </a:lnTo>
                <a:lnTo>
                  <a:pt x="3007445" y="3819887"/>
                </a:lnTo>
                <a:lnTo>
                  <a:pt x="2890687" y="3802681"/>
                </a:lnTo>
                <a:lnTo>
                  <a:pt x="2888229" y="3823574"/>
                </a:lnTo>
                <a:lnTo>
                  <a:pt x="2772700" y="3802681"/>
                </a:lnTo>
                <a:lnTo>
                  <a:pt x="2769012" y="3826032"/>
                </a:lnTo>
                <a:lnTo>
                  <a:pt x="2654713" y="3802681"/>
                </a:lnTo>
                <a:lnTo>
                  <a:pt x="2649797" y="3829719"/>
                </a:lnTo>
                <a:lnTo>
                  <a:pt x="2536726" y="3802681"/>
                </a:lnTo>
                <a:lnTo>
                  <a:pt x="2530580" y="3833406"/>
                </a:lnTo>
                <a:lnTo>
                  <a:pt x="2418738" y="3802681"/>
                </a:lnTo>
                <a:lnTo>
                  <a:pt x="2411364" y="3838322"/>
                </a:lnTo>
                <a:lnTo>
                  <a:pt x="2300751" y="3802681"/>
                </a:lnTo>
                <a:lnTo>
                  <a:pt x="2290919" y="3842010"/>
                </a:lnTo>
                <a:lnTo>
                  <a:pt x="2182764" y="3802681"/>
                </a:lnTo>
                <a:lnTo>
                  <a:pt x="2170474" y="3846926"/>
                </a:lnTo>
                <a:lnTo>
                  <a:pt x="2064777" y="3802681"/>
                </a:lnTo>
                <a:lnTo>
                  <a:pt x="2048799" y="3851842"/>
                </a:lnTo>
                <a:lnTo>
                  <a:pt x="1946789" y="3802681"/>
                </a:lnTo>
                <a:lnTo>
                  <a:pt x="1927125" y="3855528"/>
                </a:lnTo>
                <a:lnTo>
                  <a:pt x="1828802" y="3802681"/>
                </a:lnTo>
                <a:lnTo>
                  <a:pt x="1804221" y="3860445"/>
                </a:lnTo>
                <a:lnTo>
                  <a:pt x="1710815" y="3802681"/>
                </a:lnTo>
                <a:lnTo>
                  <a:pt x="1681318" y="3864132"/>
                </a:lnTo>
                <a:lnTo>
                  <a:pt x="1592828" y="3802681"/>
                </a:lnTo>
                <a:lnTo>
                  <a:pt x="1557754" y="3865570"/>
                </a:lnTo>
                <a:lnTo>
                  <a:pt x="1476069" y="3800223"/>
                </a:lnTo>
                <a:lnTo>
                  <a:pt x="1439198" y="3859216"/>
                </a:lnTo>
                <a:lnTo>
                  <a:pt x="1555957" y="3952623"/>
                </a:lnTo>
                <a:lnTo>
                  <a:pt x="1592828" y="3893629"/>
                </a:lnTo>
                <a:lnTo>
                  <a:pt x="1571795" y="3876803"/>
                </a:lnTo>
                <a:lnTo>
                  <a:pt x="1683776" y="3955081"/>
                </a:lnTo>
                <a:lnTo>
                  <a:pt x="1716959" y="3894858"/>
                </a:lnTo>
                <a:lnTo>
                  <a:pt x="1814054" y="3955081"/>
                </a:lnTo>
                <a:lnTo>
                  <a:pt x="1841092" y="3899774"/>
                </a:lnTo>
                <a:lnTo>
                  <a:pt x="1944331" y="3955081"/>
                </a:lnTo>
                <a:lnTo>
                  <a:pt x="1966454" y="3903461"/>
                </a:lnTo>
                <a:lnTo>
                  <a:pt x="2074609" y="3955081"/>
                </a:lnTo>
                <a:lnTo>
                  <a:pt x="2091815" y="3908378"/>
                </a:lnTo>
                <a:lnTo>
                  <a:pt x="2203657" y="3955081"/>
                </a:lnTo>
                <a:lnTo>
                  <a:pt x="2217177" y="3912064"/>
                </a:lnTo>
                <a:lnTo>
                  <a:pt x="2332706" y="3955081"/>
                </a:lnTo>
                <a:lnTo>
                  <a:pt x="2343767" y="3916980"/>
                </a:lnTo>
                <a:lnTo>
                  <a:pt x="2462984" y="3955081"/>
                </a:lnTo>
                <a:lnTo>
                  <a:pt x="2471586" y="3920668"/>
                </a:lnTo>
                <a:lnTo>
                  <a:pt x="2593261" y="3955081"/>
                </a:lnTo>
                <a:lnTo>
                  <a:pt x="2599406" y="3925584"/>
                </a:lnTo>
                <a:lnTo>
                  <a:pt x="2722309" y="3955081"/>
                </a:lnTo>
                <a:lnTo>
                  <a:pt x="2727225" y="3929270"/>
                </a:lnTo>
                <a:lnTo>
                  <a:pt x="2851358" y="3955081"/>
                </a:lnTo>
                <a:lnTo>
                  <a:pt x="2855045" y="3932958"/>
                </a:lnTo>
                <a:lnTo>
                  <a:pt x="2981636" y="3955081"/>
                </a:lnTo>
                <a:lnTo>
                  <a:pt x="2984094" y="3936645"/>
                </a:lnTo>
                <a:lnTo>
                  <a:pt x="3110684" y="3955081"/>
                </a:lnTo>
                <a:lnTo>
                  <a:pt x="3111913" y="3939103"/>
                </a:lnTo>
                <a:lnTo>
                  <a:pt x="3239733" y="3955081"/>
                </a:lnTo>
                <a:lnTo>
                  <a:pt x="3240961" y="3942790"/>
                </a:lnTo>
                <a:lnTo>
                  <a:pt x="3370010" y="3955081"/>
                </a:lnTo>
                <a:lnTo>
                  <a:pt x="3371239" y="3945249"/>
                </a:lnTo>
                <a:lnTo>
                  <a:pt x="3500288" y="3955081"/>
                </a:lnTo>
                <a:lnTo>
                  <a:pt x="3500288" y="3947707"/>
                </a:lnTo>
                <a:lnTo>
                  <a:pt x="3629336" y="3955081"/>
                </a:lnTo>
                <a:lnTo>
                  <a:pt x="3629336" y="3950165"/>
                </a:lnTo>
                <a:lnTo>
                  <a:pt x="3637940" y="3950165"/>
                </a:lnTo>
                <a:lnTo>
                  <a:pt x="3717826" y="3952623"/>
                </a:lnTo>
                <a:lnTo>
                  <a:pt x="3717826" y="3953851"/>
                </a:lnTo>
                <a:lnTo>
                  <a:pt x="5794893" y="3996868"/>
                </a:lnTo>
                <a:lnTo>
                  <a:pt x="3719056" y="3996868"/>
                </a:lnTo>
                <a:lnTo>
                  <a:pt x="3719056" y="3999326"/>
                </a:lnTo>
                <a:lnTo>
                  <a:pt x="3601069" y="3996868"/>
                </a:lnTo>
                <a:lnTo>
                  <a:pt x="3601069" y="4000554"/>
                </a:lnTo>
                <a:lnTo>
                  <a:pt x="3483081" y="3996868"/>
                </a:lnTo>
                <a:lnTo>
                  <a:pt x="3483081" y="4003012"/>
                </a:lnTo>
                <a:lnTo>
                  <a:pt x="3365094" y="3996868"/>
                </a:lnTo>
                <a:lnTo>
                  <a:pt x="3365094" y="4005471"/>
                </a:lnTo>
                <a:lnTo>
                  <a:pt x="3247107" y="3996868"/>
                </a:lnTo>
                <a:lnTo>
                  <a:pt x="3247107" y="4007929"/>
                </a:lnTo>
                <a:lnTo>
                  <a:pt x="3129120" y="3996868"/>
                </a:lnTo>
                <a:lnTo>
                  <a:pt x="3127890" y="4011616"/>
                </a:lnTo>
                <a:lnTo>
                  <a:pt x="3009903" y="3998096"/>
                </a:lnTo>
                <a:lnTo>
                  <a:pt x="3008674" y="4015303"/>
                </a:lnTo>
                <a:lnTo>
                  <a:pt x="2891916" y="3998096"/>
                </a:lnTo>
                <a:lnTo>
                  <a:pt x="2889458" y="4018991"/>
                </a:lnTo>
                <a:lnTo>
                  <a:pt x="2773928" y="3998096"/>
                </a:lnTo>
                <a:lnTo>
                  <a:pt x="2770242" y="4022677"/>
                </a:lnTo>
                <a:lnTo>
                  <a:pt x="2655941" y="3998096"/>
                </a:lnTo>
                <a:lnTo>
                  <a:pt x="2651025" y="4025135"/>
                </a:lnTo>
                <a:lnTo>
                  <a:pt x="2537954" y="3998096"/>
                </a:lnTo>
                <a:lnTo>
                  <a:pt x="2531809" y="4028823"/>
                </a:lnTo>
                <a:lnTo>
                  <a:pt x="2419967" y="3998096"/>
                </a:lnTo>
                <a:lnTo>
                  <a:pt x="2412593" y="4033739"/>
                </a:lnTo>
                <a:lnTo>
                  <a:pt x="2301980" y="3998096"/>
                </a:lnTo>
                <a:lnTo>
                  <a:pt x="2292147" y="4037425"/>
                </a:lnTo>
                <a:lnTo>
                  <a:pt x="2183992" y="3998096"/>
                </a:lnTo>
                <a:lnTo>
                  <a:pt x="2171702" y="4042342"/>
                </a:lnTo>
                <a:lnTo>
                  <a:pt x="2066005" y="3998096"/>
                </a:lnTo>
                <a:lnTo>
                  <a:pt x="2050028" y="4047258"/>
                </a:lnTo>
                <a:lnTo>
                  <a:pt x="1948018" y="3998096"/>
                </a:lnTo>
                <a:lnTo>
                  <a:pt x="1928353" y="4050945"/>
                </a:lnTo>
                <a:lnTo>
                  <a:pt x="1830031" y="3998096"/>
                </a:lnTo>
                <a:lnTo>
                  <a:pt x="1805450" y="4055862"/>
                </a:lnTo>
                <a:lnTo>
                  <a:pt x="1712043" y="3998096"/>
                </a:lnTo>
                <a:lnTo>
                  <a:pt x="1682547" y="4060778"/>
                </a:lnTo>
                <a:lnTo>
                  <a:pt x="1594056" y="3998096"/>
                </a:lnTo>
                <a:lnTo>
                  <a:pt x="1559643" y="4060778"/>
                </a:lnTo>
                <a:lnTo>
                  <a:pt x="1476069" y="3993180"/>
                </a:lnTo>
                <a:lnTo>
                  <a:pt x="1439198" y="4052174"/>
                </a:lnTo>
                <a:lnTo>
                  <a:pt x="1441656" y="4054632"/>
                </a:lnTo>
                <a:lnTo>
                  <a:pt x="1440428" y="4057090"/>
                </a:lnTo>
                <a:lnTo>
                  <a:pt x="1557185" y="4150497"/>
                </a:lnTo>
                <a:lnTo>
                  <a:pt x="1594056" y="4091503"/>
                </a:lnTo>
                <a:lnTo>
                  <a:pt x="1591598" y="4090275"/>
                </a:lnTo>
                <a:lnTo>
                  <a:pt x="1592828" y="4087816"/>
                </a:lnTo>
                <a:lnTo>
                  <a:pt x="1580537" y="4077984"/>
                </a:lnTo>
                <a:lnTo>
                  <a:pt x="1686234" y="4151726"/>
                </a:lnTo>
                <a:lnTo>
                  <a:pt x="1719418" y="4091503"/>
                </a:lnTo>
                <a:lnTo>
                  <a:pt x="1816512" y="4151726"/>
                </a:lnTo>
                <a:lnTo>
                  <a:pt x="1843551" y="4096419"/>
                </a:lnTo>
                <a:lnTo>
                  <a:pt x="1946789" y="4151726"/>
                </a:lnTo>
                <a:lnTo>
                  <a:pt x="1968912" y="4100107"/>
                </a:lnTo>
                <a:lnTo>
                  <a:pt x="2077067" y="4151726"/>
                </a:lnTo>
                <a:lnTo>
                  <a:pt x="2094273" y="4105023"/>
                </a:lnTo>
                <a:lnTo>
                  <a:pt x="2206115" y="4151726"/>
                </a:lnTo>
                <a:lnTo>
                  <a:pt x="2219635" y="4108709"/>
                </a:lnTo>
                <a:lnTo>
                  <a:pt x="2335164" y="4151726"/>
                </a:lnTo>
                <a:lnTo>
                  <a:pt x="2346225" y="4113625"/>
                </a:lnTo>
                <a:lnTo>
                  <a:pt x="2465442" y="4151726"/>
                </a:lnTo>
                <a:lnTo>
                  <a:pt x="2474044" y="4117313"/>
                </a:lnTo>
                <a:lnTo>
                  <a:pt x="2595719" y="4151726"/>
                </a:lnTo>
                <a:lnTo>
                  <a:pt x="2601864" y="4122229"/>
                </a:lnTo>
                <a:lnTo>
                  <a:pt x="2724767" y="4151726"/>
                </a:lnTo>
                <a:lnTo>
                  <a:pt x="2729683" y="4125916"/>
                </a:lnTo>
                <a:lnTo>
                  <a:pt x="2853816" y="4151726"/>
                </a:lnTo>
                <a:lnTo>
                  <a:pt x="2857503" y="4129604"/>
                </a:lnTo>
                <a:lnTo>
                  <a:pt x="2984094" y="4151726"/>
                </a:lnTo>
                <a:lnTo>
                  <a:pt x="2986552" y="4133290"/>
                </a:lnTo>
                <a:lnTo>
                  <a:pt x="3113142" y="4151726"/>
                </a:lnTo>
                <a:lnTo>
                  <a:pt x="3114371" y="4135748"/>
                </a:lnTo>
                <a:lnTo>
                  <a:pt x="3242191" y="4151726"/>
                </a:lnTo>
                <a:lnTo>
                  <a:pt x="3243419" y="4139436"/>
                </a:lnTo>
                <a:lnTo>
                  <a:pt x="3372468" y="4151726"/>
                </a:lnTo>
                <a:lnTo>
                  <a:pt x="3373697" y="4141894"/>
                </a:lnTo>
                <a:lnTo>
                  <a:pt x="3502746" y="4151726"/>
                </a:lnTo>
                <a:lnTo>
                  <a:pt x="3502746" y="4144352"/>
                </a:lnTo>
                <a:lnTo>
                  <a:pt x="3631794" y="4151726"/>
                </a:lnTo>
                <a:lnTo>
                  <a:pt x="3631794" y="4146810"/>
                </a:lnTo>
                <a:lnTo>
                  <a:pt x="3640398" y="4146810"/>
                </a:lnTo>
                <a:lnTo>
                  <a:pt x="3720284" y="4149268"/>
                </a:lnTo>
                <a:lnTo>
                  <a:pt x="3720284" y="4150497"/>
                </a:lnTo>
                <a:lnTo>
                  <a:pt x="5696570" y="4195972"/>
                </a:lnTo>
                <a:lnTo>
                  <a:pt x="3720284" y="4191055"/>
                </a:lnTo>
                <a:lnTo>
                  <a:pt x="3720284" y="4193513"/>
                </a:lnTo>
                <a:lnTo>
                  <a:pt x="3602297" y="4191055"/>
                </a:lnTo>
                <a:lnTo>
                  <a:pt x="3602297" y="4194742"/>
                </a:lnTo>
                <a:lnTo>
                  <a:pt x="3484310" y="4191055"/>
                </a:lnTo>
                <a:lnTo>
                  <a:pt x="3484310" y="4197200"/>
                </a:lnTo>
                <a:lnTo>
                  <a:pt x="3366323" y="4191055"/>
                </a:lnTo>
                <a:lnTo>
                  <a:pt x="3366323" y="4199658"/>
                </a:lnTo>
                <a:lnTo>
                  <a:pt x="3248335" y="4191055"/>
                </a:lnTo>
                <a:lnTo>
                  <a:pt x="3248335" y="4202116"/>
                </a:lnTo>
                <a:lnTo>
                  <a:pt x="3130348" y="4191055"/>
                </a:lnTo>
                <a:lnTo>
                  <a:pt x="3129120" y="4205804"/>
                </a:lnTo>
                <a:lnTo>
                  <a:pt x="3011133" y="4191055"/>
                </a:lnTo>
                <a:lnTo>
                  <a:pt x="3009903" y="4208262"/>
                </a:lnTo>
                <a:lnTo>
                  <a:pt x="2893145" y="4191055"/>
                </a:lnTo>
                <a:lnTo>
                  <a:pt x="2890687" y="4211948"/>
                </a:lnTo>
                <a:lnTo>
                  <a:pt x="2775158" y="4191055"/>
                </a:lnTo>
                <a:lnTo>
                  <a:pt x="2771470" y="4215636"/>
                </a:lnTo>
                <a:lnTo>
                  <a:pt x="2657171" y="4191055"/>
                </a:lnTo>
                <a:lnTo>
                  <a:pt x="2652255" y="4218094"/>
                </a:lnTo>
                <a:lnTo>
                  <a:pt x="2539184" y="4191055"/>
                </a:lnTo>
                <a:lnTo>
                  <a:pt x="2533038" y="4223010"/>
                </a:lnTo>
                <a:lnTo>
                  <a:pt x="2421196" y="4191055"/>
                </a:lnTo>
                <a:lnTo>
                  <a:pt x="2413822" y="4226697"/>
                </a:lnTo>
                <a:lnTo>
                  <a:pt x="2303209" y="4191055"/>
                </a:lnTo>
                <a:lnTo>
                  <a:pt x="2293377" y="4230384"/>
                </a:lnTo>
                <a:lnTo>
                  <a:pt x="2185222" y="4191055"/>
                </a:lnTo>
                <a:lnTo>
                  <a:pt x="2172932" y="4235301"/>
                </a:lnTo>
                <a:lnTo>
                  <a:pt x="2067235" y="4191055"/>
                </a:lnTo>
                <a:lnTo>
                  <a:pt x="2051257" y="4240217"/>
                </a:lnTo>
                <a:lnTo>
                  <a:pt x="1949247" y="4191055"/>
                </a:lnTo>
                <a:lnTo>
                  <a:pt x="1929583" y="4243903"/>
                </a:lnTo>
                <a:lnTo>
                  <a:pt x="1831260" y="4191055"/>
                </a:lnTo>
                <a:lnTo>
                  <a:pt x="1806680" y="4248819"/>
                </a:lnTo>
                <a:lnTo>
                  <a:pt x="1713273" y="4191055"/>
                </a:lnTo>
                <a:lnTo>
                  <a:pt x="1683776" y="4253735"/>
                </a:lnTo>
                <a:lnTo>
                  <a:pt x="1595286" y="4191055"/>
                </a:lnTo>
                <a:lnTo>
                  <a:pt x="1559643" y="4254965"/>
                </a:lnTo>
                <a:lnTo>
                  <a:pt x="1685005" y="4343456"/>
                </a:lnTo>
                <a:lnTo>
                  <a:pt x="1718189" y="4283232"/>
                </a:lnTo>
                <a:lnTo>
                  <a:pt x="1815282" y="4343456"/>
                </a:lnTo>
                <a:lnTo>
                  <a:pt x="1842321" y="4288148"/>
                </a:lnTo>
                <a:lnTo>
                  <a:pt x="1945560" y="4343456"/>
                </a:lnTo>
                <a:lnTo>
                  <a:pt x="1967682" y="4291836"/>
                </a:lnTo>
                <a:lnTo>
                  <a:pt x="2075837" y="4343456"/>
                </a:lnTo>
                <a:lnTo>
                  <a:pt x="2093044" y="4296752"/>
                </a:lnTo>
                <a:lnTo>
                  <a:pt x="2204887" y="4343456"/>
                </a:lnTo>
                <a:lnTo>
                  <a:pt x="2218405" y="4300439"/>
                </a:lnTo>
                <a:lnTo>
                  <a:pt x="2333934" y="4343456"/>
                </a:lnTo>
                <a:lnTo>
                  <a:pt x="2344996" y="4305355"/>
                </a:lnTo>
                <a:lnTo>
                  <a:pt x="2464212" y="4343456"/>
                </a:lnTo>
                <a:lnTo>
                  <a:pt x="2472816" y="4309043"/>
                </a:lnTo>
                <a:lnTo>
                  <a:pt x="2593261" y="4343456"/>
                </a:lnTo>
                <a:lnTo>
                  <a:pt x="2598177" y="4315187"/>
                </a:lnTo>
                <a:lnTo>
                  <a:pt x="2721081" y="4344684"/>
                </a:lnTo>
                <a:lnTo>
                  <a:pt x="2725997" y="4318875"/>
                </a:lnTo>
                <a:lnTo>
                  <a:pt x="2851358" y="4344684"/>
                </a:lnTo>
                <a:lnTo>
                  <a:pt x="2855045" y="4322561"/>
                </a:lnTo>
                <a:lnTo>
                  <a:pt x="2981636" y="4344684"/>
                </a:lnTo>
                <a:lnTo>
                  <a:pt x="2984094" y="4326249"/>
                </a:lnTo>
                <a:lnTo>
                  <a:pt x="3110684" y="4344684"/>
                </a:lnTo>
                <a:lnTo>
                  <a:pt x="3113142" y="4328707"/>
                </a:lnTo>
                <a:lnTo>
                  <a:pt x="3240961" y="4344684"/>
                </a:lnTo>
                <a:lnTo>
                  <a:pt x="3242191" y="4332394"/>
                </a:lnTo>
                <a:lnTo>
                  <a:pt x="3371239" y="4344684"/>
                </a:lnTo>
                <a:lnTo>
                  <a:pt x="3372468" y="4334852"/>
                </a:lnTo>
                <a:lnTo>
                  <a:pt x="3501516" y="4344684"/>
                </a:lnTo>
                <a:lnTo>
                  <a:pt x="3501516" y="4337310"/>
                </a:lnTo>
                <a:lnTo>
                  <a:pt x="3630565" y="4344684"/>
                </a:lnTo>
                <a:lnTo>
                  <a:pt x="3630565" y="4339768"/>
                </a:lnTo>
                <a:lnTo>
                  <a:pt x="3639168" y="4339768"/>
                </a:lnTo>
                <a:lnTo>
                  <a:pt x="3719056" y="4342226"/>
                </a:lnTo>
                <a:lnTo>
                  <a:pt x="3719056" y="4343456"/>
                </a:lnTo>
                <a:lnTo>
                  <a:pt x="5728527" y="4387701"/>
                </a:lnTo>
                <a:lnTo>
                  <a:pt x="3712910" y="4387701"/>
                </a:lnTo>
                <a:lnTo>
                  <a:pt x="3712910" y="4388929"/>
                </a:lnTo>
                <a:lnTo>
                  <a:pt x="3594923" y="4386471"/>
                </a:lnTo>
                <a:lnTo>
                  <a:pt x="3594923" y="4390159"/>
                </a:lnTo>
                <a:lnTo>
                  <a:pt x="3476936" y="4386471"/>
                </a:lnTo>
                <a:lnTo>
                  <a:pt x="3476936" y="4392617"/>
                </a:lnTo>
                <a:lnTo>
                  <a:pt x="3358948" y="4386471"/>
                </a:lnTo>
                <a:lnTo>
                  <a:pt x="3358948" y="4395075"/>
                </a:lnTo>
                <a:lnTo>
                  <a:pt x="3240961" y="4386471"/>
                </a:lnTo>
                <a:lnTo>
                  <a:pt x="3240961" y="4397533"/>
                </a:lnTo>
                <a:lnTo>
                  <a:pt x="3122974" y="4386471"/>
                </a:lnTo>
                <a:lnTo>
                  <a:pt x="3121746" y="4401219"/>
                </a:lnTo>
                <a:lnTo>
                  <a:pt x="3003758" y="4386471"/>
                </a:lnTo>
                <a:lnTo>
                  <a:pt x="3002529" y="4403678"/>
                </a:lnTo>
                <a:lnTo>
                  <a:pt x="2885771" y="4386471"/>
                </a:lnTo>
                <a:lnTo>
                  <a:pt x="2883313" y="4407365"/>
                </a:lnTo>
                <a:lnTo>
                  <a:pt x="2767784" y="4386471"/>
                </a:lnTo>
                <a:lnTo>
                  <a:pt x="2764096" y="4409823"/>
                </a:lnTo>
                <a:lnTo>
                  <a:pt x="2649797" y="4386471"/>
                </a:lnTo>
                <a:lnTo>
                  <a:pt x="2644881" y="4413510"/>
                </a:lnTo>
                <a:lnTo>
                  <a:pt x="2531809" y="4386471"/>
                </a:lnTo>
                <a:lnTo>
                  <a:pt x="2525664" y="4417198"/>
                </a:lnTo>
                <a:lnTo>
                  <a:pt x="2413822" y="4386471"/>
                </a:lnTo>
                <a:lnTo>
                  <a:pt x="2406448" y="4422114"/>
                </a:lnTo>
                <a:lnTo>
                  <a:pt x="2295835" y="4386471"/>
                </a:lnTo>
                <a:lnTo>
                  <a:pt x="2286003" y="4425800"/>
                </a:lnTo>
                <a:lnTo>
                  <a:pt x="2177848" y="4386471"/>
                </a:lnTo>
                <a:lnTo>
                  <a:pt x="2165557" y="4430716"/>
                </a:lnTo>
                <a:lnTo>
                  <a:pt x="2059860" y="4386471"/>
                </a:lnTo>
                <a:lnTo>
                  <a:pt x="2043882" y="4435632"/>
                </a:lnTo>
                <a:lnTo>
                  <a:pt x="1941873" y="4386471"/>
                </a:lnTo>
                <a:lnTo>
                  <a:pt x="1922209" y="4439320"/>
                </a:lnTo>
                <a:lnTo>
                  <a:pt x="1823886" y="4386471"/>
                </a:lnTo>
                <a:lnTo>
                  <a:pt x="1799305" y="4444236"/>
                </a:lnTo>
                <a:lnTo>
                  <a:pt x="1705899" y="4386471"/>
                </a:lnTo>
                <a:lnTo>
                  <a:pt x="1676402" y="4447923"/>
                </a:lnTo>
                <a:lnTo>
                  <a:pt x="1587912" y="4386471"/>
                </a:lnTo>
                <a:lnTo>
                  <a:pt x="1554260" y="4446812"/>
                </a:lnTo>
                <a:lnTo>
                  <a:pt x="1477299" y="4385243"/>
                </a:lnTo>
                <a:lnTo>
                  <a:pt x="1440428" y="4444236"/>
                </a:lnTo>
                <a:lnTo>
                  <a:pt x="1557185" y="4537643"/>
                </a:lnTo>
                <a:lnTo>
                  <a:pt x="1593646" y="4479305"/>
                </a:lnTo>
                <a:lnTo>
                  <a:pt x="1678860" y="4538871"/>
                </a:lnTo>
                <a:lnTo>
                  <a:pt x="1712043" y="4478649"/>
                </a:lnTo>
                <a:lnTo>
                  <a:pt x="1809138" y="4538871"/>
                </a:lnTo>
                <a:lnTo>
                  <a:pt x="1836176" y="4483565"/>
                </a:lnTo>
                <a:lnTo>
                  <a:pt x="1939415" y="4538871"/>
                </a:lnTo>
                <a:lnTo>
                  <a:pt x="1961538" y="4487252"/>
                </a:lnTo>
                <a:lnTo>
                  <a:pt x="2069693" y="4538871"/>
                </a:lnTo>
                <a:lnTo>
                  <a:pt x="2086899" y="4492168"/>
                </a:lnTo>
                <a:lnTo>
                  <a:pt x="2198741" y="4538871"/>
                </a:lnTo>
                <a:lnTo>
                  <a:pt x="2212261" y="4495856"/>
                </a:lnTo>
                <a:lnTo>
                  <a:pt x="2327790" y="4538871"/>
                </a:lnTo>
                <a:lnTo>
                  <a:pt x="2338851" y="4500772"/>
                </a:lnTo>
                <a:lnTo>
                  <a:pt x="2458067" y="4538871"/>
                </a:lnTo>
                <a:lnTo>
                  <a:pt x="2466670" y="4504458"/>
                </a:lnTo>
                <a:lnTo>
                  <a:pt x="2588345" y="4538871"/>
                </a:lnTo>
                <a:lnTo>
                  <a:pt x="2594490" y="4509374"/>
                </a:lnTo>
                <a:lnTo>
                  <a:pt x="2717393" y="4538871"/>
                </a:lnTo>
                <a:lnTo>
                  <a:pt x="2722309" y="4513062"/>
                </a:lnTo>
                <a:lnTo>
                  <a:pt x="2847670" y="4538871"/>
                </a:lnTo>
                <a:lnTo>
                  <a:pt x="2851358" y="4516749"/>
                </a:lnTo>
                <a:lnTo>
                  <a:pt x="2977948" y="4538871"/>
                </a:lnTo>
                <a:lnTo>
                  <a:pt x="2980406" y="4520436"/>
                </a:lnTo>
                <a:lnTo>
                  <a:pt x="3106997" y="4538871"/>
                </a:lnTo>
                <a:lnTo>
                  <a:pt x="3108226" y="4522894"/>
                </a:lnTo>
                <a:lnTo>
                  <a:pt x="3236045" y="4538871"/>
                </a:lnTo>
                <a:lnTo>
                  <a:pt x="3237275" y="4526581"/>
                </a:lnTo>
                <a:lnTo>
                  <a:pt x="3366323" y="4538871"/>
                </a:lnTo>
                <a:lnTo>
                  <a:pt x="3367552" y="4529039"/>
                </a:lnTo>
                <a:lnTo>
                  <a:pt x="3496600" y="4538871"/>
                </a:lnTo>
                <a:lnTo>
                  <a:pt x="3496600" y="4531497"/>
                </a:lnTo>
                <a:lnTo>
                  <a:pt x="3625649" y="4538871"/>
                </a:lnTo>
                <a:lnTo>
                  <a:pt x="3625649" y="4533955"/>
                </a:lnTo>
                <a:lnTo>
                  <a:pt x="3634252" y="4533955"/>
                </a:lnTo>
                <a:lnTo>
                  <a:pt x="3714140" y="4536413"/>
                </a:lnTo>
                <a:lnTo>
                  <a:pt x="3714140" y="4537643"/>
                </a:lnTo>
                <a:lnTo>
                  <a:pt x="5699030" y="4579430"/>
                </a:lnTo>
                <a:lnTo>
                  <a:pt x="3714140" y="4579430"/>
                </a:lnTo>
                <a:lnTo>
                  <a:pt x="3714140" y="4581888"/>
                </a:lnTo>
                <a:lnTo>
                  <a:pt x="3596153" y="4579430"/>
                </a:lnTo>
                <a:lnTo>
                  <a:pt x="3596153" y="4583116"/>
                </a:lnTo>
                <a:lnTo>
                  <a:pt x="3478165" y="4579430"/>
                </a:lnTo>
                <a:lnTo>
                  <a:pt x="3478165" y="4585575"/>
                </a:lnTo>
                <a:lnTo>
                  <a:pt x="3360178" y="4579430"/>
                </a:lnTo>
                <a:lnTo>
                  <a:pt x="3360178" y="4588033"/>
                </a:lnTo>
                <a:lnTo>
                  <a:pt x="3242191" y="4579430"/>
                </a:lnTo>
                <a:lnTo>
                  <a:pt x="3242191" y="4590491"/>
                </a:lnTo>
                <a:lnTo>
                  <a:pt x="3124204" y="4579430"/>
                </a:lnTo>
                <a:lnTo>
                  <a:pt x="3122974" y="4594178"/>
                </a:lnTo>
                <a:lnTo>
                  <a:pt x="3004987" y="4579430"/>
                </a:lnTo>
                <a:lnTo>
                  <a:pt x="3003758" y="4596636"/>
                </a:lnTo>
                <a:lnTo>
                  <a:pt x="2887000" y="4579430"/>
                </a:lnTo>
                <a:lnTo>
                  <a:pt x="2884541" y="4600323"/>
                </a:lnTo>
                <a:lnTo>
                  <a:pt x="2769012" y="4579430"/>
                </a:lnTo>
                <a:lnTo>
                  <a:pt x="2765326" y="4602781"/>
                </a:lnTo>
                <a:lnTo>
                  <a:pt x="2651025" y="4579430"/>
                </a:lnTo>
                <a:lnTo>
                  <a:pt x="2646109" y="4606469"/>
                </a:lnTo>
                <a:lnTo>
                  <a:pt x="2533038" y="4579430"/>
                </a:lnTo>
                <a:lnTo>
                  <a:pt x="2526893" y="4610155"/>
                </a:lnTo>
                <a:lnTo>
                  <a:pt x="2415051" y="4579430"/>
                </a:lnTo>
                <a:lnTo>
                  <a:pt x="2407676" y="4615071"/>
                </a:lnTo>
                <a:lnTo>
                  <a:pt x="2297063" y="4579430"/>
                </a:lnTo>
                <a:lnTo>
                  <a:pt x="2287231" y="4618759"/>
                </a:lnTo>
                <a:lnTo>
                  <a:pt x="2179076" y="4579430"/>
                </a:lnTo>
                <a:lnTo>
                  <a:pt x="2166786" y="4623675"/>
                </a:lnTo>
                <a:lnTo>
                  <a:pt x="2061089" y="4579430"/>
                </a:lnTo>
                <a:lnTo>
                  <a:pt x="2045112" y="4628591"/>
                </a:lnTo>
                <a:lnTo>
                  <a:pt x="1943102" y="4579430"/>
                </a:lnTo>
                <a:lnTo>
                  <a:pt x="1923437" y="4632278"/>
                </a:lnTo>
                <a:lnTo>
                  <a:pt x="1825114" y="4579430"/>
                </a:lnTo>
                <a:lnTo>
                  <a:pt x="1800534" y="4637194"/>
                </a:lnTo>
                <a:lnTo>
                  <a:pt x="1707127" y="4579430"/>
                </a:lnTo>
                <a:lnTo>
                  <a:pt x="1677630" y="4642110"/>
                </a:lnTo>
                <a:lnTo>
                  <a:pt x="1589140" y="4580658"/>
                </a:lnTo>
                <a:lnTo>
                  <a:pt x="1554636" y="4642529"/>
                </a:lnTo>
                <a:lnTo>
                  <a:pt x="1477299" y="4580658"/>
                </a:lnTo>
                <a:lnTo>
                  <a:pt x="1440428" y="4639652"/>
                </a:lnTo>
                <a:lnTo>
                  <a:pt x="1557185" y="4733059"/>
                </a:lnTo>
                <a:lnTo>
                  <a:pt x="1594056" y="4674065"/>
                </a:lnTo>
                <a:lnTo>
                  <a:pt x="1582707" y="4664986"/>
                </a:lnTo>
                <a:lnTo>
                  <a:pt x="1680088" y="4733059"/>
                </a:lnTo>
                <a:lnTo>
                  <a:pt x="1713273" y="4672837"/>
                </a:lnTo>
                <a:lnTo>
                  <a:pt x="1810366" y="4733059"/>
                </a:lnTo>
                <a:lnTo>
                  <a:pt x="1837405" y="4677753"/>
                </a:lnTo>
                <a:lnTo>
                  <a:pt x="1940644" y="4733059"/>
                </a:lnTo>
                <a:lnTo>
                  <a:pt x="1962766" y="4681439"/>
                </a:lnTo>
                <a:lnTo>
                  <a:pt x="2070921" y="4733059"/>
                </a:lnTo>
                <a:lnTo>
                  <a:pt x="2088128" y="4686355"/>
                </a:lnTo>
                <a:lnTo>
                  <a:pt x="2199970" y="4733059"/>
                </a:lnTo>
                <a:lnTo>
                  <a:pt x="2213489" y="4690043"/>
                </a:lnTo>
                <a:lnTo>
                  <a:pt x="2329018" y="4733059"/>
                </a:lnTo>
                <a:lnTo>
                  <a:pt x="2340080" y="4694959"/>
                </a:lnTo>
                <a:lnTo>
                  <a:pt x="2459296" y="4733059"/>
                </a:lnTo>
                <a:lnTo>
                  <a:pt x="2467900" y="4698646"/>
                </a:lnTo>
                <a:lnTo>
                  <a:pt x="2589573" y="4733059"/>
                </a:lnTo>
                <a:lnTo>
                  <a:pt x="2595719" y="4703562"/>
                </a:lnTo>
                <a:lnTo>
                  <a:pt x="2718623" y="4733059"/>
                </a:lnTo>
                <a:lnTo>
                  <a:pt x="2723539" y="4707249"/>
                </a:lnTo>
                <a:lnTo>
                  <a:pt x="2848900" y="4733059"/>
                </a:lnTo>
                <a:lnTo>
                  <a:pt x="2852587" y="4710936"/>
                </a:lnTo>
                <a:lnTo>
                  <a:pt x="2979178" y="4733059"/>
                </a:lnTo>
                <a:lnTo>
                  <a:pt x="2981636" y="4714624"/>
                </a:lnTo>
                <a:lnTo>
                  <a:pt x="3108226" y="4733059"/>
                </a:lnTo>
                <a:lnTo>
                  <a:pt x="3109455" y="4717082"/>
                </a:lnTo>
                <a:lnTo>
                  <a:pt x="3237275" y="4733059"/>
                </a:lnTo>
                <a:lnTo>
                  <a:pt x="3238503" y="4720768"/>
                </a:lnTo>
                <a:lnTo>
                  <a:pt x="3367552" y="4733059"/>
                </a:lnTo>
                <a:lnTo>
                  <a:pt x="3368781" y="4723226"/>
                </a:lnTo>
                <a:lnTo>
                  <a:pt x="3497830" y="4733059"/>
                </a:lnTo>
                <a:lnTo>
                  <a:pt x="3497830" y="4725684"/>
                </a:lnTo>
                <a:lnTo>
                  <a:pt x="3626878" y="4733059"/>
                </a:lnTo>
                <a:lnTo>
                  <a:pt x="3626878" y="4728142"/>
                </a:lnTo>
                <a:lnTo>
                  <a:pt x="3635482" y="4728142"/>
                </a:lnTo>
                <a:lnTo>
                  <a:pt x="3715368" y="4730600"/>
                </a:lnTo>
                <a:lnTo>
                  <a:pt x="3715368" y="4731830"/>
                </a:lnTo>
                <a:lnTo>
                  <a:pt x="5694112" y="4773617"/>
                </a:lnTo>
                <a:lnTo>
                  <a:pt x="3715368" y="4773617"/>
                </a:lnTo>
                <a:lnTo>
                  <a:pt x="3715368" y="4776075"/>
                </a:lnTo>
                <a:lnTo>
                  <a:pt x="3597381" y="4773617"/>
                </a:lnTo>
                <a:lnTo>
                  <a:pt x="3597381" y="4777304"/>
                </a:lnTo>
                <a:lnTo>
                  <a:pt x="3479394" y="4773617"/>
                </a:lnTo>
                <a:lnTo>
                  <a:pt x="3479394" y="4779762"/>
                </a:lnTo>
                <a:lnTo>
                  <a:pt x="3361406" y="4773617"/>
                </a:lnTo>
                <a:lnTo>
                  <a:pt x="3361406" y="4782220"/>
                </a:lnTo>
                <a:lnTo>
                  <a:pt x="3243419" y="4773617"/>
                </a:lnTo>
                <a:lnTo>
                  <a:pt x="3243419" y="4789594"/>
                </a:lnTo>
                <a:lnTo>
                  <a:pt x="3126662" y="4778533"/>
                </a:lnTo>
                <a:lnTo>
                  <a:pt x="3125432" y="4793282"/>
                </a:lnTo>
                <a:lnTo>
                  <a:pt x="3007445" y="4778533"/>
                </a:lnTo>
                <a:lnTo>
                  <a:pt x="3006216" y="4795740"/>
                </a:lnTo>
                <a:lnTo>
                  <a:pt x="2889458" y="4778533"/>
                </a:lnTo>
                <a:lnTo>
                  <a:pt x="2887000" y="4799426"/>
                </a:lnTo>
                <a:lnTo>
                  <a:pt x="2771470" y="4778533"/>
                </a:lnTo>
                <a:lnTo>
                  <a:pt x="2767784" y="4801884"/>
                </a:lnTo>
                <a:lnTo>
                  <a:pt x="2653483" y="4778533"/>
                </a:lnTo>
                <a:lnTo>
                  <a:pt x="2648567" y="4805572"/>
                </a:lnTo>
                <a:lnTo>
                  <a:pt x="2535496" y="4778533"/>
                </a:lnTo>
                <a:lnTo>
                  <a:pt x="2529351" y="4809259"/>
                </a:lnTo>
                <a:lnTo>
                  <a:pt x="2417509" y="4778533"/>
                </a:lnTo>
                <a:lnTo>
                  <a:pt x="2410134" y="4814175"/>
                </a:lnTo>
                <a:lnTo>
                  <a:pt x="2299521" y="4778533"/>
                </a:lnTo>
                <a:lnTo>
                  <a:pt x="2289689" y="4817863"/>
                </a:lnTo>
                <a:lnTo>
                  <a:pt x="2181534" y="4778533"/>
                </a:lnTo>
                <a:lnTo>
                  <a:pt x="2169244" y="4822779"/>
                </a:lnTo>
                <a:lnTo>
                  <a:pt x="2063547" y="4778533"/>
                </a:lnTo>
                <a:lnTo>
                  <a:pt x="2047570" y="4827695"/>
                </a:lnTo>
                <a:lnTo>
                  <a:pt x="1945560" y="4778533"/>
                </a:lnTo>
                <a:lnTo>
                  <a:pt x="1925895" y="4832611"/>
                </a:lnTo>
                <a:lnTo>
                  <a:pt x="1827572" y="4778533"/>
                </a:lnTo>
                <a:lnTo>
                  <a:pt x="1802992" y="4836297"/>
                </a:lnTo>
                <a:lnTo>
                  <a:pt x="1709585" y="4778533"/>
                </a:lnTo>
                <a:lnTo>
                  <a:pt x="1680088" y="4841213"/>
                </a:lnTo>
                <a:lnTo>
                  <a:pt x="1591598" y="4778533"/>
                </a:lnTo>
                <a:lnTo>
                  <a:pt x="1557758" y="4839214"/>
                </a:lnTo>
                <a:lnTo>
                  <a:pt x="1477299" y="4774846"/>
                </a:lnTo>
                <a:lnTo>
                  <a:pt x="1440428" y="4833839"/>
                </a:lnTo>
                <a:lnTo>
                  <a:pt x="1557185" y="4927246"/>
                </a:lnTo>
                <a:lnTo>
                  <a:pt x="1593698" y="4868825"/>
                </a:lnTo>
                <a:lnTo>
                  <a:pt x="1682547" y="4930934"/>
                </a:lnTo>
                <a:lnTo>
                  <a:pt x="1715731" y="4870710"/>
                </a:lnTo>
                <a:lnTo>
                  <a:pt x="1812824" y="4930934"/>
                </a:lnTo>
                <a:lnTo>
                  <a:pt x="1839863" y="4875626"/>
                </a:lnTo>
                <a:lnTo>
                  <a:pt x="1943102" y="4930934"/>
                </a:lnTo>
                <a:lnTo>
                  <a:pt x="1965224" y="4879314"/>
                </a:lnTo>
                <a:lnTo>
                  <a:pt x="2073379" y="4930934"/>
                </a:lnTo>
                <a:lnTo>
                  <a:pt x="2090586" y="4884230"/>
                </a:lnTo>
                <a:lnTo>
                  <a:pt x="2202428" y="4930934"/>
                </a:lnTo>
                <a:lnTo>
                  <a:pt x="2215947" y="4887917"/>
                </a:lnTo>
                <a:lnTo>
                  <a:pt x="2331476" y="4930934"/>
                </a:lnTo>
                <a:lnTo>
                  <a:pt x="2342538" y="4892833"/>
                </a:lnTo>
                <a:lnTo>
                  <a:pt x="2461754" y="4930934"/>
                </a:lnTo>
                <a:lnTo>
                  <a:pt x="2470358" y="4896521"/>
                </a:lnTo>
                <a:lnTo>
                  <a:pt x="2590803" y="4930934"/>
                </a:lnTo>
                <a:lnTo>
                  <a:pt x="2596948" y="4901437"/>
                </a:lnTo>
                <a:lnTo>
                  <a:pt x="2719851" y="4930934"/>
                </a:lnTo>
                <a:lnTo>
                  <a:pt x="2724767" y="4905123"/>
                </a:lnTo>
                <a:lnTo>
                  <a:pt x="2850129" y="4930934"/>
                </a:lnTo>
                <a:lnTo>
                  <a:pt x="2853816" y="4908811"/>
                </a:lnTo>
                <a:lnTo>
                  <a:pt x="2980406" y="4930934"/>
                </a:lnTo>
                <a:lnTo>
                  <a:pt x="2982864" y="4912497"/>
                </a:lnTo>
                <a:lnTo>
                  <a:pt x="3109455" y="4930934"/>
                </a:lnTo>
                <a:lnTo>
                  <a:pt x="3110684" y="4914956"/>
                </a:lnTo>
                <a:lnTo>
                  <a:pt x="3238503" y="4930934"/>
                </a:lnTo>
                <a:lnTo>
                  <a:pt x="3239733" y="4918643"/>
                </a:lnTo>
                <a:lnTo>
                  <a:pt x="3368781" y="4930934"/>
                </a:lnTo>
                <a:lnTo>
                  <a:pt x="3370010" y="4921101"/>
                </a:lnTo>
                <a:lnTo>
                  <a:pt x="3499058" y="4930934"/>
                </a:lnTo>
                <a:lnTo>
                  <a:pt x="3499058" y="4923559"/>
                </a:lnTo>
                <a:lnTo>
                  <a:pt x="3628107" y="4930934"/>
                </a:lnTo>
                <a:lnTo>
                  <a:pt x="3628107" y="4926017"/>
                </a:lnTo>
                <a:lnTo>
                  <a:pt x="3636710" y="4926017"/>
                </a:lnTo>
                <a:lnTo>
                  <a:pt x="3716598" y="4928476"/>
                </a:lnTo>
                <a:lnTo>
                  <a:pt x="3716598" y="4929704"/>
                </a:lnTo>
                <a:lnTo>
                  <a:pt x="5721151" y="4971491"/>
                </a:lnTo>
                <a:lnTo>
                  <a:pt x="3717826" y="4971491"/>
                </a:lnTo>
                <a:lnTo>
                  <a:pt x="3717826" y="4972721"/>
                </a:lnTo>
                <a:lnTo>
                  <a:pt x="3599839" y="4970263"/>
                </a:lnTo>
                <a:lnTo>
                  <a:pt x="3599839" y="4973949"/>
                </a:lnTo>
                <a:lnTo>
                  <a:pt x="3481852" y="4970263"/>
                </a:lnTo>
                <a:lnTo>
                  <a:pt x="3481852" y="4976407"/>
                </a:lnTo>
                <a:lnTo>
                  <a:pt x="3363865" y="4970263"/>
                </a:lnTo>
                <a:lnTo>
                  <a:pt x="3363865" y="4978865"/>
                </a:lnTo>
                <a:lnTo>
                  <a:pt x="3245877" y="4970263"/>
                </a:lnTo>
                <a:lnTo>
                  <a:pt x="3245877" y="4981323"/>
                </a:lnTo>
                <a:lnTo>
                  <a:pt x="3127890" y="4970263"/>
                </a:lnTo>
                <a:lnTo>
                  <a:pt x="3126662" y="4985011"/>
                </a:lnTo>
                <a:lnTo>
                  <a:pt x="3008674" y="4970263"/>
                </a:lnTo>
                <a:lnTo>
                  <a:pt x="3007445" y="4987469"/>
                </a:lnTo>
                <a:lnTo>
                  <a:pt x="2890687" y="4970263"/>
                </a:lnTo>
                <a:lnTo>
                  <a:pt x="2888229" y="4991156"/>
                </a:lnTo>
                <a:lnTo>
                  <a:pt x="2772700" y="4970263"/>
                </a:lnTo>
                <a:lnTo>
                  <a:pt x="2769012" y="4994843"/>
                </a:lnTo>
                <a:lnTo>
                  <a:pt x="2654713" y="4970263"/>
                </a:lnTo>
                <a:lnTo>
                  <a:pt x="2649797" y="4997301"/>
                </a:lnTo>
                <a:lnTo>
                  <a:pt x="2536726" y="4970263"/>
                </a:lnTo>
                <a:lnTo>
                  <a:pt x="2530580" y="5002218"/>
                </a:lnTo>
                <a:lnTo>
                  <a:pt x="2418738" y="4970263"/>
                </a:lnTo>
                <a:lnTo>
                  <a:pt x="2411364" y="5005904"/>
                </a:lnTo>
                <a:lnTo>
                  <a:pt x="2300751" y="4970263"/>
                </a:lnTo>
                <a:lnTo>
                  <a:pt x="2290919" y="5009592"/>
                </a:lnTo>
                <a:lnTo>
                  <a:pt x="2182764" y="4970263"/>
                </a:lnTo>
                <a:lnTo>
                  <a:pt x="2170474" y="5014508"/>
                </a:lnTo>
                <a:lnTo>
                  <a:pt x="2064777" y="4970263"/>
                </a:lnTo>
                <a:lnTo>
                  <a:pt x="2048799" y="5019424"/>
                </a:lnTo>
                <a:lnTo>
                  <a:pt x="1946789" y="4970263"/>
                </a:lnTo>
                <a:lnTo>
                  <a:pt x="1927125" y="5023110"/>
                </a:lnTo>
                <a:lnTo>
                  <a:pt x="1828802" y="4970263"/>
                </a:lnTo>
                <a:lnTo>
                  <a:pt x="1804221" y="5028027"/>
                </a:lnTo>
                <a:lnTo>
                  <a:pt x="1710815" y="4970263"/>
                </a:lnTo>
                <a:lnTo>
                  <a:pt x="1681318" y="5032943"/>
                </a:lnTo>
                <a:lnTo>
                  <a:pt x="1592828" y="4970263"/>
                </a:lnTo>
                <a:lnTo>
                  <a:pt x="1557659" y="5033322"/>
                </a:lnTo>
                <a:lnTo>
                  <a:pt x="1477299" y="4969033"/>
                </a:lnTo>
                <a:lnTo>
                  <a:pt x="1440428" y="5028027"/>
                </a:lnTo>
                <a:lnTo>
                  <a:pt x="1557185" y="5121433"/>
                </a:lnTo>
                <a:lnTo>
                  <a:pt x="1594056" y="5062440"/>
                </a:lnTo>
                <a:lnTo>
                  <a:pt x="1569358" y="5042682"/>
                </a:lnTo>
                <a:lnTo>
                  <a:pt x="1683776" y="5122663"/>
                </a:lnTo>
                <a:lnTo>
                  <a:pt x="1716959" y="5062440"/>
                </a:lnTo>
                <a:lnTo>
                  <a:pt x="1814054" y="5122663"/>
                </a:lnTo>
                <a:lnTo>
                  <a:pt x="1841092" y="5067356"/>
                </a:lnTo>
                <a:lnTo>
                  <a:pt x="1944331" y="5122663"/>
                </a:lnTo>
                <a:lnTo>
                  <a:pt x="1966454" y="5071043"/>
                </a:lnTo>
                <a:lnTo>
                  <a:pt x="2074609" y="5122663"/>
                </a:lnTo>
                <a:lnTo>
                  <a:pt x="2091815" y="5075960"/>
                </a:lnTo>
                <a:lnTo>
                  <a:pt x="2203657" y="5122663"/>
                </a:lnTo>
                <a:lnTo>
                  <a:pt x="2217177" y="5079646"/>
                </a:lnTo>
                <a:lnTo>
                  <a:pt x="2332706" y="5122663"/>
                </a:lnTo>
                <a:lnTo>
                  <a:pt x="2343767" y="5084562"/>
                </a:lnTo>
                <a:lnTo>
                  <a:pt x="2462984" y="5122663"/>
                </a:lnTo>
                <a:lnTo>
                  <a:pt x="2471586" y="5088250"/>
                </a:lnTo>
                <a:lnTo>
                  <a:pt x="2593261" y="5122663"/>
                </a:lnTo>
                <a:lnTo>
                  <a:pt x="2599406" y="5093166"/>
                </a:lnTo>
                <a:lnTo>
                  <a:pt x="2722309" y="5122663"/>
                </a:lnTo>
                <a:lnTo>
                  <a:pt x="2727225" y="5096852"/>
                </a:lnTo>
                <a:lnTo>
                  <a:pt x="2852587" y="5122663"/>
                </a:lnTo>
                <a:lnTo>
                  <a:pt x="2856274" y="5100540"/>
                </a:lnTo>
                <a:lnTo>
                  <a:pt x="2982864" y="5122663"/>
                </a:lnTo>
                <a:lnTo>
                  <a:pt x="2985322" y="5104227"/>
                </a:lnTo>
                <a:lnTo>
                  <a:pt x="3111913" y="5122663"/>
                </a:lnTo>
                <a:lnTo>
                  <a:pt x="3113142" y="5106685"/>
                </a:lnTo>
                <a:lnTo>
                  <a:pt x="3240961" y="5122663"/>
                </a:lnTo>
                <a:lnTo>
                  <a:pt x="3242191" y="5110372"/>
                </a:lnTo>
                <a:lnTo>
                  <a:pt x="3371239" y="5122663"/>
                </a:lnTo>
                <a:lnTo>
                  <a:pt x="3372468" y="5112831"/>
                </a:lnTo>
                <a:lnTo>
                  <a:pt x="3501516" y="5122663"/>
                </a:lnTo>
                <a:lnTo>
                  <a:pt x="3501516" y="5115289"/>
                </a:lnTo>
                <a:lnTo>
                  <a:pt x="3630565" y="5122663"/>
                </a:lnTo>
                <a:lnTo>
                  <a:pt x="3630565" y="5117747"/>
                </a:lnTo>
                <a:lnTo>
                  <a:pt x="3639168" y="5117747"/>
                </a:lnTo>
                <a:lnTo>
                  <a:pt x="3719056" y="5120205"/>
                </a:lnTo>
                <a:lnTo>
                  <a:pt x="3719056" y="5121433"/>
                </a:lnTo>
                <a:lnTo>
                  <a:pt x="5716236" y="5163220"/>
                </a:lnTo>
                <a:lnTo>
                  <a:pt x="3719056" y="5163220"/>
                </a:lnTo>
                <a:lnTo>
                  <a:pt x="3719056" y="5165678"/>
                </a:lnTo>
                <a:lnTo>
                  <a:pt x="3601069" y="5163220"/>
                </a:lnTo>
                <a:lnTo>
                  <a:pt x="3601069" y="5166908"/>
                </a:lnTo>
                <a:lnTo>
                  <a:pt x="3483081" y="5163220"/>
                </a:lnTo>
                <a:lnTo>
                  <a:pt x="3483081" y="5169366"/>
                </a:lnTo>
                <a:lnTo>
                  <a:pt x="3365094" y="5163220"/>
                </a:lnTo>
                <a:lnTo>
                  <a:pt x="3365094" y="5171824"/>
                </a:lnTo>
                <a:lnTo>
                  <a:pt x="3247107" y="5163220"/>
                </a:lnTo>
                <a:lnTo>
                  <a:pt x="3247107" y="5174282"/>
                </a:lnTo>
                <a:lnTo>
                  <a:pt x="3129120" y="5163220"/>
                </a:lnTo>
                <a:lnTo>
                  <a:pt x="3127890" y="5177969"/>
                </a:lnTo>
                <a:lnTo>
                  <a:pt x="3009903" y="5163220"/>
                </a:lnTo>
                <a:lnTo>
                  <a:pt x="3008674" y="5180427"/>
                </a:lnTo>
                <a:lnTo>
                  <a:pt x="2891916" y="5163220"/>
                </a:lnTo>
                <a:lnTo>
                  <a:pt x="2889458" y="5184115"/>
                </a:lnTo>
                <a:lnTo>
                  <a:pt x="2773928" y="5163220"/>
                </a:lnTo>
                <a:lnTo>
                  <a:pt x="2770242" y="5187801"/>
                </a:lnTo>
                <a:lnTo>
                  <a:pt x="2655941" y="5163220"/>
                </a:lnTo>
                <a:lnTo>
                  <a:pt x="2651025" y="5190259"/>
                </a:lnTo>
                <a:lnTo>
                  <a:pt x="2537954" y="5163220"/>
                </a:lnTo>
                <a:lnTo>
                  <a:pt x="2531809" y="5195175"/>
                </a:lnTo>
                <a:lnTo>
                  <a:pt x="2419967" y="5163220"/>
                </a:lnTo>
                <a:lnTo>
                  <a:pt x="2412593" y="5198863"/>
                </a:lnTo>
                <a:lnTo>
                  <a:pt x="2301980" y="5163220"/>
                </a:lnTo>
                <a:lnTo>
                  <a:pt x="2292147" y="5202549"/>
                </a:lnTo>
                <a:lnTo>
                  <a:pt x="2183992" y="5163220"/>
                </a:lnTo>
                <a:lnTo>
                  <a:pt x="2171702" y="5207466"/>
                </a:lnTo>
                <a:lnTo>
                  <a:pt x="2066005" y="5163220"/>
                </a:lnTo>
                <a:lnTo>
                  <a:pt x="2050028" y="5212382"/>
                </a:lnTo>
                <a:lnTo>
                  <a:pt x="1948018" y="5163220"/>
                </a:lnTo>
                <a:lnTo>
                  <a:pt x="1928353" y="5216069"/>
                </a:lnTo>
                <a:lnTo>
                  <a:pt x="1830031" y="5163220"/>
                </a:lnTo>
                <a:lnTo>
                  <a:pt x="1805450" y="5220986"/>
                </a:lnTo>
                <a:lnTo>
                  <a:pt x="1712043" y="5163220"/>
                </a:lnTo>
                <a:lnTo>
                  <a:pt x="1682547" y="5225902"/>
                </a:lnTo>
                <a:lnTo>
                  <a:pt x="1594056" y="5163220"/>
                </a:lnTo>
                <a:lnTo>
                  <a:pt x="1558415" y="5227130"/>
                </a:lnTo>
                <a:lnTo>
                  <a:pt x="1685005" y="5315620"/>
                </a:lnTo>
                <a:lnTo>
                  <a:pt x="1718189" y="5255398"/>
                </a:lnTo>
                <a:lnTo>
                  <a:pt x="1815282" y="5315620"/>
                </a:lnTo>
                <a:lnTo>
                  <a:pt x="1842321" y="5260315"/>
                </a:lnTo>
                <a:lnTo>
                  <a:pt x="1945560" y="5315620"/>
                </a:lnTo>
                <a:lnTo>
                  <a:pt x="1967682" y="5264001"/>
                </a:lnTo>
                <a:lnTo>
                  <a:pt x="2075837" y="5315620"/>
                </a:lnTo>
                <a:lnTo>
                  <a:pt x="2093044" y="5268917"/>
                </a:lnTo>
                <a:lnTo>
                  <a:pt x="2204887" y="5315620"/>
                </a:lnTo>
                <a:lnTo>
                  <a:pt x="2218405" y="5272605"/>
                </a:lnTo>
                <a:lnTo>
                  <a:pt x="2333934" y="5315620"/>
                </a:lnTo>
                <a:lnTo>
                  <a:pt x="2344996" y="5277521"/>
                </a:lnTo>
                <a:lnTo>
                  <a:pt x="2464212" y="5315620"/>
                </a:lnTo>
                <a:lnTo>
                  <a:pt x="2472816" y="5281208"/>
                </a:lnTo>
                <a:lnTo>
                  <a:pt x="2594490" y="5315620"/>
                </a:lnTo>
                <a:lnTo>
                  <a:pt x="2600635" y="5286124"/>
                </a:lnTo>
                <a:lnTo>
                  <a:pt x="2723539" y="5315620"/>
                </a:lnTo>
                <a:lnTo>
                  <a:pt x="2728455" y="5289811"/>
                </a:lnTo>
                <a:lnTo>
                  <a:pt x="2853816" y="5316850"/>
                </a:lnTo>
                <a:lnTo>
                  <a:pt x="2857503" y="5294728"/>
                </a:lnTo>
                <a:lnTo>
                  <a:pt x="2984094" y="5316850"/>
                </a:lnTo>
                <a:lnTo>
                  <a:pt x="2986552" y="5298414"/>
                </a:lnTo>
                <a:lnTo>
                  <a:pt x="3113142" y="5316850"/>
                </a:lnTo>
                <a:lnTo>
                  <a:pt x="3114371" y="5300872"/>
                </a:lnTo>
                <a:lnTo>
                  <a:pt x="3242191" y="5316850"/>
                </a:lnTo>
                <a:lnTo>
                  <a:pt x="3243419" y="5304560"/>
                </a:lnTo>
                <a:lnTo>
                  <a:pt x="3372468" y="5316850"/>
                </a:lnTo>
                <a:lnTo>
                  <a:pt x="3373697" y="5307018"/>
                </a:lnTo>
                <a:lnTo>
                  <a:pt x="3502746" y="5316850"/>
                </a:lnTo>
                <a:lnTo>
                  <a:pt x="3502746" y="5309476"/>
                </a:lnTo>
                <a:lnTo>
                  <a:pt x="3631794" y="5316850"/>
                </a:lnTo>
                <a:lnTo>
                  <a:pt x="3631794" y="5311934"/>
                </a:lnTo>
                <a:lnTo>
                  <a:pt x="3640398" y="5311934"/>
                </a:lnTo>
                <a:lnTo>
                  <a:pt x="3720284" y="5314392"/>
                </a:lnTo>
                <a:lnTo>
                  <a:pt x="3720284" y="5318079"/>
                </a:lnTo>
                <a:lnTo>
                  <a:pt x="5611768" y="5353721"/>
                </a:lnTo>
                <a:lnTo>
                  <a:pt x="3720284" y="5353721"/>
                </a:lnTo>
                <a:lnTo>
                  <a:pt x="3720284" y="5354950"/>
                </a:lnTo>
                <a:lnTo>
                  <a:pt x="3602297" y="5352493"/>
                </a:lnTo>
                <a:lnTo>
                  <a:pt x="3602297" y="5356179"/>
                </a:lnTo>
                <a:lnTo>
                  <a:pt x="3484310" y="5352493"/>
                </a:lnTo>
                <a:lnTo>
                  <a:pt x="3484310" y="5358637"/>
                </a:lnTo>
                <a:lnTo>
                  <a:pt x="3366323" y="5352493"/>
                </a:lnTo>
                <a:lnTo>
                  <a:pt x="3366323" y="5361095"/>
                </a:lnTo>
                <a:lnTo>
                  <a:pt x="3248335" y="5352493"/>
                </a:lnTo>
                <a:lnTo>
                  <a:pt x="3248335" y="5363553"/>
                </a:lnTo>
                <a:lnTo>
                  <a:pt x="3130348" y="5352493"/>
                </a:lnTo>
                <a:lnTo>
                  <a:pt x="3129120" y="5367240"/>
                </a:lnTo>
                <a:lnTo>
                  <a:pt x="3011133" y="5352493"/>
                </a:lnTo>
                <a:lnTo>
                  <a:pt x="3009903" y="5369698"/>
                </a:lnTo>
                <a:lnTo>
                  <a:pt x="2893145" y="5352493"/>
                </a:lnTo>
                <a:lnTo>
                  <a:pt x="2890687" y="5373386"/>
                </a:lnTo>
                <a:lnTo>
                  <a:pt x="2775158" y="5352493"/>
                </a:lnTo>
                <a:lnTo>
                  <a:pt x="2771470" y="5375844"/>
                </a:lnTo>
                <a:lnTo>
                  <a:pt x="2657171" y="5352493"/>
                </a:lnTo>
                <a:lnTo>
                  <a:pt x="2652255" y="5379530"/>
                </a:lnTo>
                <a:lnTo>
                  <a:pt x="2539184" y="5352493"/>
                </a:lnTo>
                <a:lnTo>
                  <a:pt x="2533038" y="5383218"/>
                </a:lnTo>
                <a:lnTo>
                  <a:pt x="2421196" y="5352493"/>
                </a:lnTo>
                <a:lnTo>
                  <a:pt x="2413822" y="5388134"/>
                </a:lnTo>
                <a:lnTo>
                  <a:pt x="2303209" y="5352493"/>
                </a:lnTo>
                <a:lnTo>
                  <a:pt x="2293377" y="5391821"/>
                </a:lnTo>
                <a:lnTo>
                  <a:pt x="2185222" y="5352493"/>
                </a:lnTo>
                <a:lnTo>
                  <a:pt x="2172932" y="5396738"/>
                </a:lnTo>
                <a:lnTo>
                  <a:pt x="2067235" y="5352493"/>
                </a:lnTo>
                <a:lnTo>
                  <a:pt x="2051257" y="5401654"/>
                </a:lnTo>
                <a:lnTo>
                  <a:pt x="1949247" y="5352493"/>
                </a:lnTo>
                <a:lnTo>
                  <a:pt x="1929583" y="5405341"/>
                </a:lnTo>
                <a:lnTo>
                  <a:pt x="1831260" y="5352493"/>
                </a:lnTo>
                <a:lnTo>
                  <a:pt x="1806680" y="5410257"/>
                </a:lnTo>
                <a:lnTo>
                  <a:pt x="1713273" y="5352493"/>
                </a:lnTo>
                <a:lnTo>
                  <a:pt x="1683776" y="5415173"/>
                </a:lnTo>
                <a:lnTo>
                  <a:pt x="1595286" y="5353721"/>
                </a:lnTo>
                <a:lnTo>
                  <a:pt x="1559643" y="5417631"/>
                </a:lnTo>
                <a:lnTo>
                  <a:pt x="1686234" y="5506121"/>
                </a:lnTo>
                <a:lnTo>
                  <a:pt x="1719418" y="5445899"/>
                </a:lnTo>
                <a:lnTo>
                  <a:pt x="1816512" y="5506121"/>
                </a:lnTo>
                <a:lnTo>
                  <a:pt x="1843551" y="5450815"/>
                </a:lnTo>
                <a:lnTo>
                  <a:pt x="1946789" y="5506121"/>
                </a:lnTo>
                <a:lnTo>
                  <a:pt x="1968912" y="5454502"/>
                </a:lnTo>
                <a:lnTo>
                  <a:pt x="2077067" y="5506121"/>
                </a:lnTo>
                <a:lnTo>
                  <a:pt x="2094273" y="5459418"/>
                </a:lnTo>
                <a:lnTo>
                  <a:pt x="2206115" y="5506121"/>
                </a:lnTo>
                <a:lnTo>
                  <a:pt x="2219635" y="5463106"/>
                </a:lnTo>
                <a:lnTo>
                  <a:pt x="2335164" y="5506121"/>
                </a:lnTo>
                <a:lnTo>
                  <a:pt x="2346225" y="5468021"/>
                </a:lnTo>
                <a:lnTo>
                  <a:pt x="2465442" y="5506121"/>
                </a:lnTo>
                <a:lnTo>
                  <a:pt x="2474044" y="5471708"/>
                </a:lnTo>
                <a:lnTo>
                  <a:pt x="2595719" y="5506121"/>
                </a:lnTo>
                <a:lnTo>
                  <a:pt x="2601864" y="5476625"/>
                </a:lnTo>
                <a:lnTo>
                  <a:pt x="2724767" y="5506121"/>
                </a:lnTo>
                <a:lnTo>
                  <a:pt x="2729683" y="5480311"/>
                </a:lnTo>
                <a:lnTo>
                  <a:pt x="2855045" y="5506121"/>
                </a:lnTo>
                <a:lnTo>
                  <a:pt x="2858732" y="5483999"/>
                </a:lnTo>
                <a:lnTo>
                  <a:pt x="2985322" y="5506121"/>
                </a:lnTo>
                <a:lnTo>
                  <a:pt x="2987780" y="5487686"/>
                </a:lnTo>
                <a:lnTo>
                  <a:pt x="3114371" y="5506121"/>
                </a:lnTo>
                <a:lnTo>
                  <a:pt x="3115600" y="5490143"/>
                </a:lnTo>
                <a:lnTo>
                  <a:pt x="3243419" y="5506121"/>
                </a:lnTo>
                <a:lnTo>
                  <a:pt x="3244649" y="5493831"/>
                </a:lnTo>
                <a:lnTo>
                  <a:pt x="3373697" y="5506121"/>
                </a:lnTo>
                <a:lnTo>
                  <a:pt x="3374927" y="5496289"/>
                </a:lnTo>
                <a:lnTo>
                  <a:pt x="3503974" y="5506121"/>
                </a:lnTo>
                <a:lnTo>
                  <a:pt x="3503974" y="5498747"/>
                </a:lnTo>
                <a:lnTo>
                  <a:pt x="3633024" y="5506121"/>
                </a:lnTo>
                <a:lnTo>
                  <a:pt x="3633024" y="5501205"/>
                </a:lnTo>
                <a:lnTo>
                  <a:pt x="3641626" y="5501205"/>
                </a:lnTo>
                <a:lnTo>
                  <a:pt x="3721514" y="5503663"/>
                </a:lnTo>
                <a:lnTo>
                  <a:pt x="3721514" y="5504892"/>
                </a:lnTo>
                <a:lnTo>
                  <a:pt x="5766626" y="5542992"/>
                </a:lnTo>
                <a:lnTo>
                  <a:pt x="3720284" y="5542992"/>
                </a:lnTo>
                <a:lnTo>
                  <a:pt x="3720284" y="5545450"/>
                </a:lnTo>
                <a:lnTo>
                  <a:pt x="3602297" y="5542992"/>
                </a:lnTo>
                <a:lnTo>
                  <a:pt x="3602297" y="5546679"/>
                </a:lnTo>
                <a:lnTo>
                  <a:pt x="3484310" y="5542992"/>
                </a:lnTo>
                <a:lnTo>
                  <a:pt x="3484310" y="5549138"/>
                </a:lnTo>
                <a:lnTo>
                  <a:pt x="3366323" y="5542992"/>
                </a:lnTo>
                <a:lnTo>
                  <a:pt x="3366323" y="5551595"/>
                </a:lnTo>
                <a:lnTo>
                  <a:pt x="3248335" y="5542992"/>
                </a:lnTo>
                <a:lnTo>
                  <a:pt x="3248335" y="5554053"/>
                </a:lnTo>
                <a:lnTo>
                  <a:pt x="3130348" y="5542992"/>
                </a:lnTo>
                <a:lnTo>
                  <a:pt x="3129120" y="5557741"/>
                </a:lnTo>
                <a:lnTo>
                  <a:pt x="3011133" y="5542992"/>
                </a:lnTo>
                <a:lnTo>
                  <a:pt x="3009903" y="5560199"/>
                </a:lnTo>
                <a:lnTo>
                  <a:pt x="2893145" y="5542992"/>
                </a:lnTo>
                <a:lnTo>
                  <a:pt x="2890687" y="5563885"/>
                </a:lnTo>
                <a:lnTo>
                  <a:pt x="2775158" y="5542992"/>
                </a:lnTo>
                <a:lnTo>
                  <a:pt x="2771470" y="5567573"/>
                </a:lnTo>
                <a:lnTo>
                  <a:pt x="2657171" y="5542992"/>
                </a:lnTo>
                <a:lnTo>
                  <a:pt x="2652255" y="5570031"/>
                </a:lnTo>
                <a:lnTo>
                  <a:pt x="2539184" y="5542992"/>
                </a:lnTo>
                <a:lnTo>
                  <a:pt x="2533038" y="5574947"/>
                </a:lnTo>
                <a:lnTo>
                  <a:pt x="2421196" y="5542992"/>
                </a:lnTo>
                <a:lnTo>
                  <a:pt x="2413822" y="5578634"/>
                </a:lnTo>
                <a:lnTo>
                  <a:pt x="2303209" y="5542992"/>
                </a:lnTo>
                <a:lnTo>
                  <a:pt x="2293377" y="5582321"/>
                </a:lnTo>
                <a:lnTo>
                  <a:pt x="2185222" y="5542992"/>
                </a:lnTo>
                <a:lnTo>
                  <a:pt x="2172932" y="5587238"/>
                </a:lnTo>
                <a:lnTo>
                  <a:pt x="2067235" y="5542992"/>
                </a:lnTo>
                <a:lnTo>
                  <a:pt x="2051257" y="5592154"/>
                </a:lnTo>
                <a:lnTo>
                  <a:pt x="1949247" y="5542992"/>
                </a:lnTo>
                <a:lnTo>
                  <a:pt x="1929583" y="5595840"/>
                </a:lnTo>
                <a:lnTo>
                  <a:pt x="1831260" y="5542992"/>
                </a:lnTo>
                <a:lnTo>
                  <a:pt x="1806680" y="5600756"/>
                </a:lnTo>
                <a:lnTo>
                  <a:pt x="1713273" y="5542992"/>
                </a:lnTo>
                <a:lnTo>
                  <a:pt x="1683776" y="5605674"/>
                </a:lnTo>
                <a:lnTo>
                  <a:pt x="1595286" y="5542992"/>
                </a:lnTo>
                <a:lnTo>
                  <a:pt x="1559643" y="5606902"/>
                </a:lnTo>
                <a:lnTo>
                  <a:pt x="1685005" y="5695392"/>
                </a:lnTo>
                <a:lnTo>
                  <a:pt x="1718189" y="5635170"/>
                </a:lnTo>
                <a:lnTo>
                  <a:pt x="1815282" y="5695392"/>
                </a:lnTo>
                <a:lnTo>
                  <a:pt x="1842321" y="5640085"/>
                </a:lnTo>
                <a:lnTo>
                  <a:pt x="1945560" y="5695392"/>
                </a:lnTo>
                <a:lnTo>
                  <a:pt x="1967682" y="5643773"/>
                </a:lnTo>
                <a:lnTo>
                  <a:pt x="2075837" y="5695392"/>
                </a:lnTo>
                <a:lnTo>
                  <a:pt x="2093044" y="5648689"/>
                </a:lnTo>
                <a:lnTo>
                  <a:pt x="2204887" y="5695392"/>
                </a:lnTo>
                <a:lnTo>
                  <a:pt x="2218405" y="5652376"/>
                </a:lnTo>
                <a:lnTo>
                  <a:pt x="2333934" y="5695392"/>
                </a:lnTo>
                <a:lnTo>
                  <a:pt x="2344996" y="5657292"/>
                </a:lnTo>
                <a:lnTo>
                  <a:pt x="2464212" y="5695392"/>
                </a:lnTo>
                <a:lnTo>
                  <a:pt x="2472816" y="5660980"/>
                </a:lnTo>
                <a:lnTo>
                  <a:pt x="2593261" y="5695392"/>
                </a:lnTo>
                <a:lnTo>
                  <a:pt x="2598177" y="5667125"/>
                </a:lnTo>
                <a:lnTo>
                  <a:pt x="2721081" y="5696622"/>
                </a:lnTo>
                <a:lnTo>
                  <a:pt x="2725997" y="5670812"/>
                </a:lnTo>
                <a:lnTo>
                  <a:pt x="2851358" y="5696622"/>
                </a:lnTo>
                <a:lnTo>
                  <a:pt x="2855045" y="5674498"/>
                </a:lnTo>
                <a:lnTo>
                  <a:pt x="2981636" y="5696622"/>
                </a:lnTo>
                <a:lnTo>
                  <a:pt x="2984094" y="5678186"/>
                </a:lnTo>
                <a:lnTo>
                  <a:pt x="3110684" y="5696622"/>
                </a:lnTo>
                <a:lnTo>
                  <a:pt x="3113142" y="5680644"/>
                </a:lnTo>
                <a:lnTo>
                  <a:pt x="3240961" y="5696622"/>
                </a:lnTo>
                <a:lnTo>
                  <a:pt x="3242191" y="5684332"/>
                </a:lnTo>
                <a:lnTo>
                  <a:pt x="3371239" y="5696622"/>
                </a:lnTo>
                <a:lnTo>
                  <a:pt x="3372468" y="5686789"/>
                </a:lnTo>
                <a:lnTo>
                  <a:pt x="3501516" y="5696622"/>
                </a:lnTo>
                <a:lnTo>
                  <a:pt x="3501516" y="5689247"/>
                </a:lnTo>
                <a:lnTo>
                  <a:pt x="3630565" y="5696622"/>
                </a:lnTo>
                <a:lnTo>
                  <a:pt x="3630565" y="5691706"/>
                </a:lnTo>
                <a:lnTo>
                  <a:pt x="3639168" y="5691706"/>
                </a:lnTo>
                <a:lnTo>
                  <a:pt x="3719056" y="5694163"/>
                </a:lnTo>
                <a:lnTo>
                  <a:pt x="3719056" y="5695392"/>
                </a:lnTo>
                <a:lnTo>
                  <a:pt x="5581043" y="5739638"/>
                </a:lnTo>
                <a:lnTo>
                  <a:pt x="3715368" y="5739638"/>
                </a:lnTo>
                <a:lnTo>
                  <a:pt x="3715368" y="5742096"/>
                </a:lnTo>
                <a:lnTo>
                  <a:pt x="3597381" y="5739638"/>
                </a:lnTo>
                <a:lnTo>
                  <a:pt x="3597381" y="5743324"/>
                </a:lnTo>
                <a:lnTo>
                  <a:pt x="3479394" y="5739638"/>
                </a:lnTo>
                <a:lnTo>
                  <a:pt x="3479394" y="5745784"/>
                </a:lnTo>
                <a:lnTo>
                  <a:pt x="3361406" y="5739638"/>
                </a:lnTo>
                <a:lnTo>
                  <a:pt x="3361406" y="5748240"/>
                </a:lnTo>
                <a:lnTo>
                  <a:pt x="3243419" y="5739638"/>
                </a:lnTo>
                <a:lnTo>
                  <a:pt x="3243419" y="5750698"/>
                </a:lnTo>
                <a:lnTo>
                  <a:pt x="3125432" y="5739638"/>
                </a:lnTo>
                <a:lnTo>
                  <a:pt x="3124204" y="5754386"/>
                </a:lnTo>
                <a:lnTo>
                  <a:pt x="3006216" y="5739638"/>
                </a:lnTo>
                <a:lnTo>
                  <a:pt x="3004987" y="5756844"/>
                </a:lnTo>
                <a:lnTo>
                  <a:pt x="2888229" y="5739638"/>
                </a:lnTo>
                <a:lnTo>
                  <a:pt x="2885771" y="5760531"/>
                </a:lnTo>
                <a:lnTo>
                  <a:pt x="2770242" y="5739638"/>
                </a:lnTo>
                <a:lnTo>
                  <a:pt x="2766554" y="5762989"/>
                </a:lnTo>
                <a:lnTo>
                  <a:pt x="2652255" y="5739638"/>
                </a:lnTo>
                <a:lnTo>
                  <a:pt x="2647339" y="5766676"/>
                </a:lnTo>
                <a:lnTo>
                  <a:pt x="2534268" y="5739638"/>
                </a:lnTo>
                <a:lnTo>
                  <a:pt x="2528122" y="5770364"/>
                </a:lnTo>
                <a:lnTo>
                  <a:pt x="2416280" y="5739638"/>
                </a:lnTo>
                <a:lnTo>
                  <a:pt x="2408906" y="5775279"/>
                </a:lnTo>
                <a:lnTo>
                  <a:pt x="2298293" y="5739638"/>
                </a:lnTo>
                <a:lnTo>
                  <a:pt x="2288461" y="5778967"/>
                </a:lnTo>
                <a:lnTo>
                  <a:pt x="2180306" y="5739638"/>
                </a:lnTo>
                <a:lnTo>
                  <a:pt x="2168015" y="5783883"/>
                </a:lnTo>
                <a:lnTo>
                  <a:pt x="2062319" y="5739638"/>
                </a:lnTo>
                <a:lnTo>
                  <a:pt x="2046340" y="5788799"/>
                </a:lnTo>
                <a:lnTo>
                  <a:pt x="1944331" y="5739638"/>
                </a:lnTo>
                <a:lnTo>
                  <a:pt x="1924667" y="5792485"/>
                </a:lnTo>
                <a:lnTo>
                  <a:pt x="1826344" y="5739638"/>
                </a:lnTo>
                <a:lnTo>
                  <a:pt x="1801763" y="5797402"/>
                </a:lnTo>
                <a:lnTo>
                  <a:pt x="1708357" y="5739638"/>
                </a:lnTo>
                <a:lnTo>
                  <a:pt x="1678860" y="5801089"/>
                </a:lnTo>
                <a:lnTo>
                  <a:pt x="1590370" y="5739638"/>
                </a:lnTo>
                <a:lnTo>
                  <a:pt x="1557002" y="5799468"/>
                </a:lnTo>
                <a:lnTo>
                  <a:pt x="1476069" y="5734722"/>
                </a:lnTo>
                <a:lnTo>
                  <a:pt x="1439198" y="5793715"/>
                </a:lnTo>
                <a:lnTo>
                  <a:pt x="1555957" y="5887122"/>
                </a:lnTo>
                <a:lnTo>
                  <a:pt x="1591935" y="5829557"/>
                </a:lnTo>
                <a:lnTo>
                  <a:pt x="1681318" y="5892038"/>
                </a:lnTo>
                <a:lnTo>
                  <a:pt x="1714501" y="5831816"/>
                </a:lnTo>
                <a:lnTo>
                  <a:pt x="1811596" y="5892038"/>
                </a:lnTo>
                <a:lnTo>
                  <a:pt x="1838634" y="5836731"/>
                </a:lnTo>
                <a:lnTo>
                  <a:pt x="1941873" y="5892038"/>
                </a:lnTo>
                <a:lnTo>
                  <a:pt x="1963996" y="5840418"/>
                </a:lnTo>
                <a:lnTo>
                  <a:pt x="2072151" y="5892038"/>
                </a:lnTo>
                <a:lnTo>
                  <a:pt x="2089357" y="5845335"/>
                </a:lnTo>
                <a:lnTo>
                  <a:pt x="2201199" y="5892038"/>
                </a:lnTo>
                <a:lnTo>
                  <a:pt x="2214719" y="5849021"/>
                </a:lnTo>
                <a:lnTo>
                  <a:pt x="2330248" y="5892038"/>
                </a:lnTo>
                <a:lnTo>
                  <a:pt x="2341309" y="5853937"/>
                </a:lnTo>
                <a:lnTo>
                  <a:pt x="2460525" y="5892038"/>
                </a:lnTo>
                <a:lnTo>
                  <a:pt x="2469128" y="5857625"/>
                </a:lnTo>
                <a:lnTo>
                  <a:pt x="2590803" y="5892038"/>
                </a:lnTo>
                <a:lnTo>
                  <a:pt x="2596948" y="5862541"/>
                </a:lnTo>
                <a:lnTo>
                  <a:pt x="2719851" y="5892038"/>
                </a:lnTo>
                <a:lnTo>
                  <a:pt x="2724767" y="5866228"/>
                </a:lnTo>
                <a:lnTo>
                  <a:pt x="2850129" y="5892038"/>
                </a:lnTo>
                <a:lnTo>
                  <a:pt x="2853816" y="5869915"/>
                </a:lnTo>
                <a:lnTo>
                  <a:pt x="2980406" y="5892038"/>
                </a:lnTo>
                <a:lnTo>
                  <a:pt x="2982864" y="5873602"/>
                </a:lnTo>
                <a:lnTo>
                  <a:pt x="3109455" y="5892038"/>
                </a:lnTo>
                <a:lnTo>
                  <a:pt x="3110684" y="5876061"/>
                </a:lnTo>
                <a:lnTo>
                  <a:pt x="3238503" y="5892038"/>
                </a:lnTo>
                <a:lnTo>
                  <a:pt x="3239733" y="5879748"/>
                </a:lnTo>
                <a:lnTo>
                  <a:pt x="3368781" y="5892038"/>
                </a:lnTo>
                <a:lnTo>
                  <a:pt x="3370010" y="5882206"/>
                </a:lnTo>
                <a:lnTo>
                  <a:pt x="3499058" y="5892038"/>
                </a:lnTo>
                <a:lnTo>
                  <a:pt x="3499058" y="5884664"/>
                </a:lnTo>
                <a:lnTo>
                  <a:pt x="3628107" y="5892038"/>
                </a:lnTo>
                <a:lnTo>
                  <a:pt x="3628107" y="5887122"/>
                </a:lnTo>
                <a:lnTo>
                  <a:pt x="3636710" y="5887122"/>
                </a:lnTo>
                <a:lnTo>
                  <a:pt x="3716598" y="5889580"/>
                </a:lnTo>
                <a:lnTo>
                  <a:pt x="3716598" y="5890808"/>
                </a:lnTo>
                <a:lnTo>
                  <a:pt x="5568752" y="5928909"/>
                </a:lnTo>
                <a:lnTo>
                  <a:pt x="3716598" y="5928909"/>
                </a:lnTo>
                <a:lnTo>
                  <a:pt x="3717826" y="5931367"/>
                </a:lnTo>
                <a:lnTo>
                  <a:pt x="3599839" y="5928909"/>
                </a:lnTo>
                <a:lnTo>
                  <a:pt x="3599839" y="5932595"/>
                </a:lnTo>
                <a:lnTo>
                  <a:pt x="3481852" y="5928909"/>
                </a:lnTo>
                <a:lnTo>
                  <a:pt x="3481852" y="5935053"/>
                </a:lnTo>
                <a:lnTo>
                  <a:pt x="3363865" y="5928909"/>
                </a:lnTo>
                <a:lnTo>
                  <a:pt x="3363865" y="5937513"/>
                </a:lnTo>
                <a:lnTo>
                  <a:pt x="3245877" y="5928909"/>
                </a:lnTo>
                <a:lnTo>
                  <a:pt x="3245877" y="5939970"/>
                </a:lnTo>
                <a:lnTo>
                  <a:pt x="3127890" y="5928909"/>
                </a:lnTo>
                <a:lnTo>
                  <a:pt x="3126662" y="5943657"/>
                </a:lnTo>
                <a:lnTo>
                  <a:pt x="3008674" y="5928909"/>
                </a:lnTo>
                <a:lnTo>
                  <a:pt x="3007445" y="5946115"/>
                </a:lnTo>
                <a:lnTo>
                  <a:pt x="2890687" y="5928909"/>
                </a:lnTo>
                <a:lnTo>
                  <a:pt x="2888229" y="5949803"/>
                </a:lnTo>
                <a:lnTo>
                  <a:pt x="2772700" y="5928909"/>
                </a:lnTo>
                <a:lnTo>
                  <a:pt x="2769012" y="5953490"/>
                </a:lnTo>
                <a:lnTo>
                  <a:pt x="2654713" y="5928909"/>
                </a:lnTo>
                <a:lnTo>
                  <a:pt x="2649797" y="5955948"/>
                </a:lnTo>
                <a:lnTo>
                  <a:pt x="2536726" y="5928909"/>
                </a:lnTo>
                <a:lnTo>
                  <a:pt x="2530580" y="5960864"/>
                </a:lnTo>
                <a:lnTo>
                  <a:pt x="2418738" y="5928909"/>
                </a:lnTo>
                <a:lnTo>
                  <a:pt x="2411364" y="5964550"/>
                </a:lnTo>
                <a:lnTo>
                  <a:pt x="2300751" y="5928909"/>
                </a:lnTo>
                <a:lnTo>
                  <a:pt x="2290919" y="5968238"/>
                </a:lnTo>
                <a:lnTo>
                  <a:pt x="2182764" y="5928909"/>
                </a:lnTo>
                <a:lnTo>
                  <a:pt x="2170474" y="5973154"/>
                </a:lnTo>
                <a:lnTo>
                  <a:pt x="2064777" y="5928909"/>
                </a:lnTo>
                <a:lnTo>
                  <a:pt x="2048799" y="5978070"/>
                </a:lnTo>
                <a:lnTo>
                  <a:pt x="1946789" y="5928909"/>
                </a:lnTo>
                <a:lnTo>
                  <a:pt x="1927125" y="5981757"/>
                </a:lnTo>
                <a:lnTo>
                  <a:pt x="1828802" y="5928909"/>
                </a:lnTo>
                <a:lnTo>
                  <a:pt x="1804221" y="5986674"/>
                </a:lnTo>
                <a:lnTo>
                  <a:pt x="1710815" y="5928909"/>
                </a:lnTo>
                <a:lnTo>
                  <a:pt x="1681318" y="5991590"/>
                </a:lnTo>
                <a:lnTo>
                  <a:pt x="1592828" y="5928909"/>
                </a:lnTo>
                <a:lnTo>
                  <a:pt x="1557754" y="5991799"/>
                </a:lnTo>
                <a:lnTo>
                  <a:pt x="1476069" y="5926451"/>
                </a:lnTo>
                <a:lnTo>
                  <a:pt x="1439198" y="5985444"/>
                </a:lnTo>
                <a:lnTo>
                  <a:pt x="1555957" y="6078851"/>
                </a:lnTo>
                <a:lnTo>
                  <a:pt x="1592828" y="6019857"/>
                </a:lnTo>
                <a:lnTo>
                  <a:pt x="1571804" y="6003038"/>
                </a:lnTo>
                <a:lnTo>
                  <a:pt x="1683776" y="6081309"/>
                </a:lnTo>
                <a:lnTo>
                  <a:pt x="1716959" y="6021086"/>
                </a:lnTo>
                <a:lnTo>
                  <a:pt x="1814054" y="6081309"/>
                </a:lnTo>
                <a:lnTo>
                  <a:pt x="1841092" y="6026002"/>
                </a:lnTo>
                <a:lnTo>
                  <a:pt x="1944331" y="6081309"/>
                </a:lnTo>
                <a:lnTo>
                  <a:pt x="1966454" y="6029690"/>
                </a:lnTo>
                <a:lnTo>
                  <a:pt x="2074609" y="6081309"/>
                </a:lnTo>
                <a:lnTo>
                  <a:pt x="2091815" y="6034606"/>
                </a:lnTo>
                <a:lnTo>
                  <a:pt x="2203657" y="6081309"/>
                </a:lnTo>
                <a:lnTo>
                  <a:pt x="2217177" y="6038292"/>
                </a:lnTo>
                <a:lnTo>
                  <a:pt x="2332706" y="6081309"/>
                </a:lnTo>
                <a:lnTo>
                  <a:pt x="2343767" y="6043208"/>
                </a:lnTo>
                <a:lnTo>
                  <a:pt x="2462984" y="6081309"/>
                </a:lnTo>
                <a:lnTo>
                  <a:pt x="2471586" y="6046896"/>
                </a:lnTo>
                <a:lnTo>
                  <a:pt x="2593261" y="6081309"/>
                </a:lnTo>
                <a:lnTo>
                  <a:pt x="2599406" y="6051812"/>
                </a:lnTo>
                <a:lnTo>
                  <a:pt x="2722309" y="6081309"/>
                </a:lnTo>
                <a:lnTo>
                  <a:pt x="2727225" y="6055499"/>
                </a:lnTo>
                <a:lnTo>
                  <a:pt x="2851358" y="6081309"/>
                </a:lnTo>
                <a:lnTo>
                  <a:pt x="2855045" y="6059186"/>
                </a:lnTo>
                <a:lnTo>
                  <a:pt x="2981636" y="6081309"/>
                </a:lnTo>
                <a:lnTo>
                  <a:pt x="2984094" y="6062873"/>
                </a:lnTo>
                <a:lnTo>
                  <a:pt x="3110684" y="6081309"/>
                </a:lnTo>
                <a:lnTo>
                  <a:pt x="3111913" y="6065332"/>
                </a:lnTo>
                <a:lnTo>
                  <a:pt x="3239733" y="6081309"/>
                </a:lnTo>
                <a:lnTo>
                  <a:pt x="3240961" y="6069019"/>
                </a:lnTo>
                <a:lnTo>
                  <a:pt x="3370010" y="6081309"/>
                </a:lnTo>
                <a:lnTo>
                  <a:pt x="3371239" y="6071477"/>
                </a:lnTo>
                <a:lnTo>
                  <a:pt x="3500288" y="6081309"/>
                </a:lnTo>
                <a:lnTo>
                  <a:pt x="3500288" y="6073935"/>
                </a:lnTo>
                <a:lnTo>
                  <a:pt x="3629336" y="6081309"/>
                </a:lnTo>
                <a:lnTo>
                  <a:pt x="3629336" y="6076393"/>
                </a:lnTo>
                <a:lnTo>
                  <a:pt x="3637940" y="6076393"/>
                </a:lnTo>
                <a:lnTo>
                  <a:pt x="3717826" y="6078851"/>
                </a:lnTo>
                <a:lnTo>
                  <a:pt x="3717826" y="6080079"/>
                </a:lnTo>
                <a:lnTo>
                  <a:pt x="5534338" y="6118180"/>
                </a:lnTo>
                <a:lnTo>
                  <a:pt x="3719056" y="6118180"/>
                </a:lnTo>
                <a:lnTo>
                  <a:pt x="3719056" y="6119408"/>
                </a:lnTo>
                <a:lnTo>
                  <a:pt x="3601069" y="6116950"/>
                </a:lnTo>
                <a:lnTo>
                  <a:pt x="3601069" y="6120638"/>
                </a:lnTo>
                <a:lnTo>
                  <a:pt x="3483081" y="6116950"/>
                </a:lnTo>
                <a:lnTo>
                  <a:pt x="3483081" y="6123096"/>
                </a:lnTo>
                <a:lnTo>
                  <a:pt x="3365094" y="6116950"/>
                </a:lnTo>
                <a:lnTo>
                  <a:pt x="3365094" y="6125554"/>
                </a:lnTo>
                <a:lnTo>
                  <a:pt x="3247107" y="6116950"/>
                </a:lnTo>
                <a:lnTo>
                  <a:pt x="3247107" y="6128012"/>
                </a:lnTo>
                <a:lnTo>
                  <a:pt x="3129120" y="6116950"/>
                </a:lnTo>
                <a:lnTo>
                  <a:pt x="3127890" y="6131699"/>
                </a:lnTo>
                <a:lnTo>
                  <a:pt x="3009903" y="6116950"/>
                </a:lnTo>
                <a:lnTo>
                  <a:pt x="3008674" y="6134158"/>
                </a:lnTo>
                <a:lnTo>
                  <a:pt x="2891916" y="6116950"/>
                </a:lnTo>
                <a:lnTo>
                  <a:pt x="2889458" y="6137845"/>
                </a:lnTo>
                <a:lnTo>
                  <a:pt x="2773928" y="6116950"/>
                </a:lnTo>
                <a:lnTo>
                  <a:pt x="2770242" y="6140303"/>
                </a:lnTo>
                <a:lnTo>
                  <a:pt x="2655941" y="6116950"/>
                </a:lnTo>
                <a:lnTo>
                  <a:pt x="2651025" y="6143989"/>
                </a:lnTo>
                <a:lnTo>
                  <a:pt x="2537954" y="6116950"/>
                </a:lnTo>
                <a:lnTo>
                  <a:pt x="2531809" y="6147677"/>
                </a:lnTo>
                <a:lnTo>
                  <a:pt x="2419967" y="6116950"/>
                </a:lnTo>
                <a:lnTo>
                  <a:pt x="2412593" y="6152593"/>
                </a:lnTo>
                <a:lnTo>
                  <a:pt x="2301980" y="6116950"/>
                </a:lnTo>
                <a:lnTo>
                  <a:pt x="2292147" y="6156279"/>
                </a:lnTo>
                <a:lnTo>
                  <a:pt x="2183992" y="6116950"/>
                </a:lnTo>
                <a:lnTo>
                  <a:pt x="2171702" y="6161196"/>
                </a:lnTo>
                <a:lnTo>
                  <a:pt x="2066005" y="6116950"/>
                </a:lnTo>
                <a:lnTo>
                  <a:pt x="2050028" y="6166112"/>
                </a:lnTo>
                <a:lnTo>
                  <a:pt x="1948018" y="6116950"/>
                </a:lnTo>
                <a:lnTo>
                  <a:pt x="1928353" y="6169799"/>
                </a:lnTo>
                <a:lnTo>
                  <a:pt x="1830031" y="6116950"/>
                </a:lnTo>
                <a:lnTo>
                  <a:pt x="1805450" y="6174716"/>
                </a:lnTo>
                <a:lnTo>
                  <a:pt x="1712043" y="6116950"/>
                </a:lnTo>
                <a:lnTo>
                  <a:pt x="1682547" y="6179632"/>
                </a:lnTo>
                <a:lnTo>
                  <a:pt x="1594056" y="6118180"/>
                </a:lnTo>
                <a:lnTo>
                  <a:pt x="1558415" y="6182090"/>
                </a:lnTo>
                <a:lnTo>
                  <a:pt x="1685005" y="6270580"/>
                </a:lnTo>
                <a:lnTo>
                  <a:pt x="1718189" y="6210357"/>
                </a:lnTo>
                <a:lnTo>
                  <a:pt x="1815282" y="6270580"/>
                </a:lnTo>
                <a:lnTo>
                  <a:pt x="1842321" y="6215273"/>
                </a:lnTo>
                <a:lnTo>
                  <a:pt x="1945560" y="6270580"/>
                </a:lnTo>
                <a:lnTo>
                  <a:pt x="1967682" y="6218961"/>
                </a:lnTo>
                <a:lnTo>
                  <a:pt x="2075837" y="6270580"/>
                </a:lnTo>
                <a:lnTo>
                  <a:pt x="2093044" y="6223877"/>
                </a:lnTo>
                <a:lnTo>
                  <a:pt x="2204887" y="6270580"/>
                </a:lnTo>
                <a:lnTo>
                  <a:pt x="2218405" y="6227563"/>
                </a:lnTo>
                <a:lnTo>
                  <a:pt x="2333934" y="6270580"/>
                </a:lnTo>
                <a:lnTo>
                  <a:pt x="2344996" y="6232481"/>
                </a:lnTo>
                <a:lnTo>
                  <a:pt x="2464212" y="6270580"/>
                </a:lnTo>
                <a:lnTo>
                  <a:pt x="2472816" y="6236167"/>
                </a:lnTo>
                <a:lnTo>
                  <a:pt x="2594490" y="6270580"/>
                </a:lnTo>
                <a:lnTo>
                  <a:pt x="2600635" y="6241083"/>
                </a:lnTo>
                <a:lnTo>
                  <a:pt x="2723539" y="6270580"/>
                </a:lnTo>
                <a:lnTo>
                  <a:pt x="2728455" y="6244771"/>
                </a:lnTo>
                <a:lnTo>
                  <a:pt x="2853816" y="6270580"/>
                </a:lnTo>
                <a:lnTo>
                  <a:pt x="2857503" y="6248458"/>
                </a:lnTo>
                <a:lnTo>
                  <a:pt x="2984094" y="6270580"/>
                </a:lnTo>
                <a:lnTo>
                  <a:pt x="2986552" y="6252144"/>
                </a:lnTo>
                <a:lnTo>
                  <a:pt x="3113142" y="6270580"/>
                </a:lnTo>
                <a:lnTo>
                  <a:pt x="3114371" y="6254602"/>
                </a:lnTo>
                <a:lnTo>
                  <a:pt x="3242191" y="6270580"/>
                </a:lnTo>
                <a:lnTo>
                  <a:pt x="3243419" y="6258290"/>
                </a:lnTo>
                <a:lnTo>
                  <a:pt x="3372468" y="6270580"/>
                </a:lnTo>
                <a:lnTo>
                  <a:pt x="3373697" y="6260748"/>
                </a:lnTo>
                <a:lnTo>
                  <a:pt x="3502746" y="6270580"/>
                </a:lnTo>
                <a:lnTo>
                  <a:pt x="3502746" y="6263206"/>
                </a:lnTo>
                <a:lnTo>
                  <a:pt x="3631794" y="6270580"/>
                </a:lnTo>
                <a:lnTo>
                  <a:pt x="3631794" y="6265664"/>
                </a:lnTo>
                <a:lnTo>
                  <a:pt x="3640398" y="6265664"/>
                </a:lnTo>
                <a:lnTo>
                  <a:pt x="3720284" y="6268122"/>
                </a:lnTo>
                <a:lnTo>
                  <a:pt x="3720284" y="6269352"/>
                </a:lnTo>
                <a:lnTo>
                  <a:pt x="5476574" y="6306223"/>
                </a:lnTo>
                <a:lnTo>
                  <a:pt x="3720284" y="6306223"/>
                </a:lnTo>
                <a:lnTo>
                  <a:pt x="3720284" y="6308681"/>
                </a:lnTo>
                <a:lnTo>
                  <a:pt x="3602297" y="6306223"/>
                </a:lnTo>
                <a:lnTo>
                  <a:pt x="3602297" y="6309909"/>
                </a:lnTo>
                <a:lnTo>
                  <a:pt x="3484310" y="6306223"/>
                </a:lnTo>
                <a:lnTo>
                  <a:pt x="3484310" y="6312367"/>
                </a:lnTo>
                <a:lnTo>
                  <a:pt x="3366323" y="6306223"/>
                </a:lnTo>
                <a:lnTo>
                  <a:pt x="3366323" y="6314825"/>
                </a:lnTo>
                <a:lnTo>
                  <a:pt x="3248335" y="6306223"/>
                </a:lnTo>
                <a:lnTo>
                  <a:pt x="3248335" y="6317283"/>
                </a:lnTo>
                <a:lnTo>
                  <a:pt x="3130348" y="6306223"/>
                </a:lnTo>
                <a:lnTo>
                  <a:pt x="3129120" y="6320971"/>
                </a:lnTo>
                <a:lnTo>
                  <a:pt x="3011133" y="6307451"/>
                </a:lnTo>
                <a:lnTo>
                  <a:pt x="3009903" y="6324658"/>
                </a:lnTo>
                <a:lnTo>
                  <a:pt x="2893145" y="6307451"/>
                </a:lnTo>
                <a:lnTo>
                  <a:pt x="2890687" y="6328344"/>
                </a:lnTo>
                <a:lnTo>
                  <a:pt x="2775158" y="6307451"/>
                </a:lnTo>
                <a:lnTo>
                  <a:pt x="2771470" y="6330803"/>
                </a:lnTo>
                <a:lnTo>
                  <a:pt x="2657171" y="6307451"/>
                </a:lnTo>
                <a:lnTo>
                  <a:pt x="2652255" y="6334490"/>
                </a:lnTo>
                <a:lnTo>
                  <a:pt x="2539184" y="6307451"/>
                </a:lnTo>
                <a:lnTo>
                  <a:pt x="2533038" y="6338176"/>
                </a:lnTo>
                <a:lnTo>
                  <a:pt x="2421196" y="6307451"/>
                </a:lnTo>
                <a:lnTo>
                  <a:pt x="2413822" y="6343094"/>
                </a:lnTo>
                <a:lnTo>
                  <a:pt x="2303209" y="6307451"/>
                </a:lnTo>
                <a:lnTo>
                  <a:pt x="2293377" y="6346780"/>
                </a:lnTo>
                <a:lnTo>
                  <a:pt x="2185222" y="6307451"/>
                </a:lnTo>
                <a:lnTo>
                  <a:pt x="2172932" y="6351696"/>
                </a:lnTo>
                <a:lnTo>
                  <a:pt x="2067235" y="6307451"/>
                </a:lnTo>
                <a:lnTo>
                  <a:pt x="2051257" y="6356613"/>
                </a:lnTo>
                <a:lnTo>
                  <a:pt x="1949247" y="6307451"/>
                </a:lnTo>
                <a:lnTo>
                  <a:pt x="1929583" y="6360299"/>
                </a:lnTo>
                <a:lnTo>
                  <a:pt x="1831260" y="6307451"/>
                </a:lnTo>
                <a:lnTo>
                  <a:pt x="1806680" y="6365215"/>
                </a:lnTo>
                <a:lnTo>
                  <a:pt x="1713273" y="6307451"/>
                </a:lnTo>
                <a:lnTo>
                  <a:pt x="1683776" y="6368903"/>
                </a:lnTo>
                <a:lnTo>
                  <a:pt x="1595286" y="6307451"/>
                </a:lnTo>
                <a:lnTo>
                  <a:pt x="1559643" y="6371361"/>
                </a:lnTo>
                <a:lnTo>
                  <a:pt x="1686234" y="6459851"/>
                </a:lnTo>
                <a:lnTo>
                  <a:pt x="1719418" y="6399628"/>
                </a:lnTo>
                <a:lnTo>
                  <a:pt x="1816512" y="6459851"/>
                </a:lnTo>
                <a:lnTo>
                  <a:pt x="1843551" y="6404546"/>
                </a:lnTo>
                <a:lnTo>
                  <a:pt x="1946789" y="6459851"/>
                </a:lnTo>
                <a:lnTo>
                  <a:pt x="1968912" y="6408232"/>
                </a:lnTo>
                <a:lnTo>
                  <a:pt x="2077067" y="6459851"/>
                </a:lnTo>
                <a:lnTo>
                  <a:pt x="2094273" y="6413148"/>
                </a:lnTo>
                <a:lnTo>
                  <a:pt x="2206115" y="6459851"/>
                </a:lnTo>
                <a:lnTo>
                  <a:pt x="2219635" y="6416836"/>
                </a:lnTo>
                <a:lnTo>
                  <a:pt x="2335164" y="6459851"/>
                </a:lnTo>
                <a:lnTo>
                  <a:pt x="2346225" y="6421751"/>
                </a:lnTo>
                <a:lnTo>
                  <a:pt x="2465442" y="6459851"/>
                </a:lnTo>
                <a:lnTo>
                  <a:pt x="2474044" y="6425438"/>
                </a:lnTo>
                <a:lnTo>
                  <a:pt x="2595719" y="6459851"/>
                </a:lnTo>
                <a:lnTo>
                  <a:pt x="2601864" y="6430355"/>
                </a:lnTo>
                <a:lnTo>
                  <a:pt x="2724767" y="6459851"/>
                </a:lnTo>
                <a:lnTo>
                  <a:pt x="2729683" y="6434041"/>
                </a:lnTo>
                <a:lnTo>
                  <a:pt x="2853816" y="6459851"/>
                </a:lnTo>
                <a:lnTo>
                  <a:pt x="2857503" y="6437729"/>
                </a:lnTo>
                <a:lnTo>
                  <a:pt x="2984094" y="6459851"/>
                </a:lnTo>
                <a:lnTo>
                  <a:pt x="2986552" y="6441417"/>
                </a:lnTo>
                <a:lnTo>
                  <a:pt x="3113142" y="6459851"/>
                </a:lnTo>
                <a:lnTo>
                  <a:pt x="3114371" y="6443875"/>
                </a:lnTo>
                <a:lnTo>
                  <a:pt x="3242191" y="6459851"/>
                </a:lnTo>
                <a:lnTo>
                  <a:pt x="3243419" y="6447561"/>
                </a:lnTo>
                <a:lnTo>
                  <a:pt x="3372468" y="6459851"/>
                </a:lnTo>
                <a:lnTo>
                  <a:pt x="3373697" y="6450019"/>
                </a:lnTo>
                <a:lnTo>
                  <a:pt x="3502746" y="6459851"/>
                </a:lnTo>
                <a:lnTo>
                  <a:pt x="3502746" y="6452477"/>
                </a:lnTo>
                <a:lnTo>
                  <a:pt x="3631794" y="6459851"/>
                </a:lnTo>
                <a:lnTo>
                  <a:pt x="3631794" y="6454935"/>
                </a:lnTo>
                <a:lnTo>
                  <a:pt x="3640398" y="6454935"/>
                </a:lnTo>
                <a:lnTo>
                  <a:pt x="3720284" y="6457393"/>
                </a:lnTo>
                <a:lnTo>
                  <a:pt x="3720284" y="6459851"/>
                </a:lnTo>
                <a:lnTo>
                  <a:pt x="5711320" y="6501639"/>
                </a:lnTo>
                <a:lnTo>
                  <a:pt x="3720284" y="6501639"/>
                </a:lnTo>
                <a:lnTo>
                  <a:pt x="3720284" y="6504097"/>
                </a:lnTo>
                <a:lnTo>
                  <a:pt x="3602297" y="6501639"/>
                </a:lnTo>
                <a:lnTo>
                  <a:pt x="3602297" y="6505326"/>
                </a:lnTo>
                <a:lnTo>
                  <a:pt x="3484310" y="6501639"/>
                </a:lnTo>
                <a:lnTo>
                  <a:pt x="3484310" y="6507783"/>
                </a:lnTo>
                <a:lnTo>
                  <a:pt x="3366323" y="6501639"/>
                </a:lnTo>
                <a:lnTo>
                  <a:pt x="3366323" y="6510241"/>
                </a:lnTo>
                <a:lnTo>
                  <a:pt x="3248335" y="6501639"/>
                </a:lnTo>
                <a:lnTo>
                  <a:pt x="3248335" y="6512699"/>
                </a:lnTo>
                <a:lnTo>
                  <a:pt x="3130348" y="6501639"/>
                </a:lnTo>
                <a:lnTo>
                  <a:pt x="3129120" y="6516387"/>
                </a:lnTo>
                <a:lnTo>
                  <a:pt x="3011133" y="6501639"/>
                </a:lnTo>
                <a:lnTo>
                  <a:pt x="3009903" y="6518845"/>
                </a:lnTo>
                <a:lnTo>
                  <a:pt x="2893145" y="6501639"/>
                </a:lnTo>
                <a:lnTo>
                  <a:pt x="2890687" y="6522531"/>
                </a:lnTo>
                <a:lnTo>
                  <a:pt x="2775158" y="6501639"/>
                </a:lnTo>
                <a:lnTo>
                  <a:pt x="2771470" y="6526219"/>
                </a:lnTo>
                <a:lnTo>
                  <a:pt x="2657171" y="6501639"/>
                </a:lnTo>
                <a:lnTo>
                  <a:pt x="2652255" y="6528677"/>
                </a:lnTo>
                <a:lnTo>
                  <a:pt x="2539184" y="6501639"/>
                </a:lnTo>
                <a:lnTo>
                  <a:pt x="2533038" y="6533593"/>
                </a:lnTo>
                <a:lnTo>
                  <a:pt x="2421196" y="6501639"/>
                </a:lnTo>
                <a:lnTo>
                  <a:pt x="2413822" y="6537280"/>
                </a:lnTo>
                <a:lnTo>
                  <a:pt x="2303209" y="6501639"/>
                </a:lnTo>
                <a:lnTo>
                  <a:pt x="2293377" y="6540968"/>
                </a:lnTo>
                <a:lnTo>
                  <a:pt x="2185222" y="6501639"/>
                </a:lnTo>
                <a:lnTo>
                  <a:pt x="2172932" y="6545884"/>
                </a:lnTo>
                <a:lnTo>
                  <a:pt x="2067235" y="6501639"/>
                </a:lnTo>
                <a:lnTo>
                  <a:pt x="2051257" y="6550800"/>
                </a:lnTo>
                <a:lnTo>
                  <a:pt x="1949247" y="6501639"/>
                </a:lnTo>
                <a:lnTo>
                  <a:pt x="1929583" y="6554488"/>
                </a:lnTo>
                <a:lnTo>
                  <a:pt x="1831260" y="6501639"/>
                </a:lnTo>
                <a:lnTo>
                  <a:pt x="1806680" y="6559402"/>
                </a:lnTo>
                <a:lnTo>
                  <a:pt x="1713273" y="6501639"/>
                </a:lnTo>
                <a:lnTo>
                  <a:pt x="1683776" y="6564320"/>
                </a:lnTo>
                <a:lnTo>
                  <a:pt x="1595286" y="6501639"/>
                </a:lnTo>
                <a:lnTo>
                  <a:pt x="1559643" y="6565548"/>
                </a:lnTo>
                <a:lnTo>
                  <a:pt x="1685005" y="6654039"/>
                </a:lnTo>
                <a:lnTo>
                  <a:pt x="1718189" y="6593815"/>
                </a:lnTo>
                <a:lnTo>
                  <a:pt x="1815282" y="6654039"/>
                </a:lnTo>
                <a:lnTo>
                  <a:pt x="1842321" y="6598732"/>
                </a:lnTo>
                <a:lnTo>
                  <a:pt x="1945560" y="6654039"/>
                </a:lnTo>
                <a:lnTo>
                  <a:pt x="1967682" y="6602419"/>
                </a:lnTo>
                <a:lnTo>
                  <a:pt x="2075837" y="6654039"/>
                </a:lnTo>
                <a:lnTo>
                  <a:pt x="2093044" y="6607335"/>
                </a:lnTo>
                <a:lnTo>
                  <a:pt x="2204887" y="6654039"/>
                </a:lnTo>
                <a:lnTo>
                  <a:pt x="2218405" y="6611022"/>
                </a:lnTo>
                <a:lnTo>
                  <a:pt x="2333934" y="6654039"/>
                </a:lnTo>
                <a:lnTo>
                  <a:pt x="2344996" y="6615939"/>
                </a:lnTo>
                <a:lnTo>
                  <a:pt x="2464212" y="6654039"/>
                </a:lnTo>
                <a:lnTo>
                  <a:pt x="2472816" y="6619626"/>
                </a:lnTo>
                <a:lnTo>
                  <a:pt x="2593261" y="6654039"/>
                </a:lnTo>
                <a:lnTo>
                  <a:pt x="2598177" y="6625772"/>
                </a:lnTo>
                <a:lnTo>
                  <a:pt x="2721081" y="6655267"/>
                </a:lnTo>
                <a:lnTo>
                  <a:pt x="2725997" y="6629458"/>
                </a:lnTo>
                <a:lnTo>
                  <a:pt x="2851358" y="6655267"/>
                </a:lnTo>
                <a:lnTo>
                  <a:pt x="2855045" y="6633144"/>
                </a:lnTo>
                <a:lnTo>
                  <a:pt x="2981636" y="6655267"/>
                </a:lnTo>
                <a:lnTo>
                  <a:pt x="2984094" y="6636832"/>
                </a:lnTo>
                <a:lnTo>
                  <a:pt x="3110684" y="6655267"/>
                </a:lnTo>
                <a:lnTo>
                  <a:pt x="3113142" y="6639290"/>
                </a:lnTo>
                <a:lnTo>
                  <a:pt x="3240961" y="6655267"/>
                </a:lnTo>
                <a:lnTo>
                  <a:pt x="3242191" y="6642977"/>
                </a:lnTo>
                <a:lnTo>
                  <a:pt x="3371239" y="6655267"/>
                </a:lnTo>
                <a:lnTo>
                  <a:pt x="3372468" y="6645435"/>
                </a:lnTo>
                <a:lnTo>
                  <a:pt x="3501516" y="6655267"/>
                </a:lnTo>
                <a:lnTo>
                  <a:pt x="3501516" y="6647893"/>
                </a:lnTo>
                <a:lnTo>
                  <a:pt x="3630565" y="6655267"/>
                </a:lnTo>
                <a:lnTo>
                  <a:pt x="3630565" y="6650352"/>
                </a:lnTo>
                <a:lnTo>
                  <a:pt x="3639168" y="6650352"/>
                </a:lnTo>
                <a:lnTo>
                  <a:pt x="3719056" y="6652810"/>
                </a:lnTo>
                <a:lnTo>
                  <a:pt x="3719056" y="6654039"/>
                </a:lnTo>
                <a:lnTo>
                  <a:pt x="5715007" y="6700742"/>
                </a:lnTo>
                <a:lnTo>
                  <a:pt x="3716598" y="6700742"/>
                </a:lnTo>
                <a:lnTo>
                  <a:pt x="3716598" y="6701972"/>
                </a:lnTo>
                <a:lnTo>
                  <a:pt x="3598611" y="6699514"/>
                </a:lnTo>
                <a:lnTo>
                  <a:pt x="3598611" y="6703200"/>
                </a:lnTo>
                <a:lnTo>
                  <a:pt x="3480623" y="6699514"/>
                </a:lnTo>
                <a:lnTo>
                  <a:pt x="3480623" y="6705658"/>
                </a:lnTo>
                <a:lnTo>
                  <a:pt x="3362636" y="6699514"/>
                </a:lnTo>
                <a:lnTo>
                  <a:pt x="3362636" y="6708116"/>
                </a:lnTo>
                <a:lnTo>
                  <a:pt x="3244649" y="6699514"/>
                </a:lnTo>
                <a:lnTo>
                  <a:pt x="3244649" y="6710574"/>
                </a:lnTo>
                <a:lnTo>
                  <a:pt x="3126662" y="6699514"/>
                </a:lnTo>
                <a:lnTo>
                  <a:pt x="3125432" y="6714262"/>
                </a:lnTo>
                <a:lnTo>
                  <a:pt x="3007445" y="6699514"/>
                </a:lnTo>
                <a:lnTo>
                  <a:pt x="3006216" y="6716719"/>
                </a:lnTo>
                <a:lnTo>
                  <a:pt x="2889458" y="6699514"/>
                </a:lnTo>
                <a:lnTo>
                  <a:pt x="2887000" y="6720406"/>
                </a:lnTo>
                <a:lnTo>
                  <a:pt x="2771470" y="6699514"/>
                </a:lnTo>
                <a:lnTo>
                  <a:pt x="2767784" y="6724094"/>
                </a:lnTo>
                <a:lnTo>
                  <a:pt x="2653483" y="6699514"/>
                </a:lnTo>
                <a:lnTo>
                  <a:pt x="2648567" y="6726552"/>
                </a:lnTo>
                <a:lnTo>
                  <a:pt x="2535496" y="6699514"/>
                </a:lnTo>
                <a:lnTo>
                  <a:pt x="2529351" y="6731467"/>
                </a:lnTo>
                <a:lnTo>
                  <a:pt x="2417509" y="6699514"/>
                </a:lnTo>
                <a:lnTo>
                  <a:pt x="2410134" y="6735155"/>
                </a:lnTo>
                <a:lnTo>
                  <a:pt x="2299521" y="6699514"/>
                </a:lnTo>
                <a:lnTo>
                  <a:pt x="2289689" y="6738843"/>
                </a:lnTo>
                <a:lnTo>
                  <a:pt x="2181534" y="6699514"/>
                </a:lnTo>
                <a:lnTo>
                  <a:pt x="2169244" y="6743757"/>
                </a:lnTo>
                <a:lnTo>
                  <a:pt x="2063547" y="6699514"/>
                </a:lnTo>
                <a:lnTo>
                  <a:pt x="2047570" y="6748675"/>
                </a:lnTo>
                <a:lnTo>
                  <a:pt x="1945560" y="6699514"/>
                </a:lnTo>
                <a:lnTo>
                  <a:pt x="1925895" y="6752361"/>
                </a:lnTo>
                <a:lnTo>
                  <a:pt x="1827572" y="6699514"/>
                </a:lnTo>
                <a:lnTo>
                  <a:pt x="1802992" y="6757277"/>
                </a:lnTo>
                <a:lnTo>
                  <a:pt x="1709585" y="6699514"/>
                </a:lnTo>
                <a:lnTo>
                  <a:pt x="1680088" y="6762194"/>
                </a:lnTo>
                <a:lnTo>
                  <a:pt x="1591598" y="6699514"/>
                </a:lnTo>
                <a:lnTo>
                  <a:pt x="1557758" y="6760194"/>
                </a:lnTo>
                <a:lnTo>
                  <a:pt x="1477299" y="6695826"/>
                </a:lnTo>
                <a:lnTo>
                  <a:pt x="1440428" y="6754819"/>
                </a:lnTo>
                <a:lnTo>
                  <a:pt x="1557185" y="6848226"/>
                </a:lnTo>
                <a:lnTo>
                  <a:pt x="1593698" y="6789805"/>
                </a:lnTo>
                <a:lnTo>
                  <a:pt x="1682547" y="6851912"/>
                </a:lnTo>
                <a:lnTo>
                  <a:pt x="1715731" y="6791690"/>
                </a:lnTo>
                <a:lnTo>
                  <a:pt x="1812824" y="6851912"/>
                </a:lnTo>
                <a:lnTo>
                  <a:pt x="1839863" y="6796607"/>
                </a:lnTo>
                <a:lnTo>
                  <a:pt x="1943102" y="6851912"/>
                </a:lnTo>
                <a:lnTo>
                  <a:pt x="1965224" y="6800294"/>
                </a:lnTo>
                <a:lnTo>
                  <a:pt x="2073379" y="6851912"/>
                </a:lnTo>
                <a:lnTo>
                  <a:pt x="2090586" y="6805209"/>
                </a:lnTo>
                <a:lnTo>
                  <a:pt x="2202428" y="6851912"/>
                </a:lnTo>
                <a:lnTo>
                  <a:pt x="2215947" y="6808897"/>
                </a:lnTo>
                <a:lnTo>
                  <a:pt x="2331476" y="6851912"/>
                </a:lnTo>
                <a:lnTo>
                  <a:pt x="2342538" y="6813813"/>
                </a:lnTo>
                <a:lnTo>
                  <a:pt x="2461754" y="6851912"/>
                </a:lnTo>
                <a:lnTo>
                  <a:pt x="2470358" y="6817499"/>
                </a:lnTo>
                <a:lnTo>
                  <a:pt x="2592031" y="6851912"/>
                </a:lnTo>
                <a:lnTo>
                  <a:pt x="2598177" y="6822417"/>
                </a:lnTo>
                <a:lnTo>
                  <a:pt x="2721081" y="6851912"/>
                </a:lnTo>
                <a:lnTo>
                  <a:pt x="2725997" y="6826103"/>
                </a:lnTo>
                <a:lnTo>
                  <a:pt x="2851358" y="6851912"/>
                </a:lnTo>
                <a:lnTo>
                  <a:pt x="2855045" y="6829790"/>
                </a:lnTo>
                <a:lnTo>
                  <a:pt x="2981636" y="6851912"/>
                </a:lnTo>
                <a:lnTo>
                  <a:pt x="2984094" y="6833478"/>
                </a:lnTo>
                <a:lnTo>
                  <a:pt x="3110684" y="6851912"/>
                </a:lnTo>
                <a:lnTo>
                  <a:pt x="3111913" y="6835936"/>
                </a:lnTo>
                <a:lnTo>
                  <a:pt x="3239733" y="6851912"/>
                </a:lnTo>
                <a:lnTo>
                  <a:pt x="3240961" y="6839622"/>
                </a:lnTo>
                <a:lnTo>
                  <a:pt x="3370010" y="6851912"/>
                </a:lnTo>
                <a:lnTo>
                  <a:pt x="3371239" y="6842080"/>
                </a:lnTo>
                <a:lnTo>
                  <a:pt x="3500288" y="6851912"/>
                </a:lnTo>
                <a:lnTo>
                  <a:pt x="3500288" y="6844538"/>
                </a:lnTo>
                <a:lnTo>
                  <a:pt x="3629336" y="6851912"/>
                </a:lnTo>
                <a:lnTo>
                  <a:pt x="3629336" y="6848226"/>
                </a:lnTo>
                <a:lnTo>
                  <a:pt x="3637940" y="6848226"/>
                </a:lnTo>
                <a:lnTo>
                  <a:pt x="3717826" y="6850684"/>
                </a:lnTo>
                <a:lnTo>
                  <a:pt x="3717826" y="6851912"/>
                </a:lnTo>
                <a:lnTo>
                  <a:pt x="4009865" y="6858000"/>
                </a:lnTo>
                <a:lnTo>
                  <a:pt x="0" y="6858000"/>
                </a:lnTo>
                <a:lnTo>
                  <a:pt x="0" y="6848226"/>
                </a:lnTo>
                <a:lnTo>
                  <a:pt x="60222" y="6848226"/>
                </a:lnTo>
                <a:lnTo>
                  <a:pt x="60222" y="6694596"/>
                </a:lnTo>
                <a:lnTo>
                  <a:pt x="0" y="6694596"/>
                </a:lnTo>
                <a:lnTo>
                  <a:pt x="0" y="6654039"/>
                </a:lnTo>
                <a:lnTo>
                  <a:pt x="60222" y="6654039"/>
                </a:lnTo>
                <a:lnTo>
                  <a:pt x="60222" y="6504097"/>
                </a:lnTo>
                <a:lnTo>
                  <a:pt x="0" y="6504097"/>
                </a:lnTo>
                <a:lnTo>
                  <a:pt x="0" y="6462309"/>
                </a:lnTo>
                <a:lnTo>
                  <a:pt x="60222" y="6462309"/>
                </a:lnTo>
                <a:lnTo>
                  <a:pt x="60222" y="6308681"/>
                </a:lnTo>
                <a:lnTo>
                  <a:pt x="0" y="6308681"/>
                </a:lnTo>
                <a:lnTo>
                  <a:pt x="0" y="6271810"/>
                </a:lnTo>
                <a:lnTo>
                  <a:pt x="60222" y="6271810"/>
                </a:lnTo>
                <a:lnTo>
                  <a:pt x="60222" y="6118180"/>
                </a:lnTo>
                <a:lnTo>
                  <a:pt x="0" y="6118180"/>
                </a:lnTo>
                <a:lnTo>
                  <a:pt x="0" y="6081309"/>
                </a:lnTo>
                <a:lnTo>
                  <a:pt x="60222" y="6081309"/>
                </a:lnTo>
                <a:lnTo>
                  <a:pt x="60222" y="5927679"/>
                </a:lnTo>
                <a:lnTo>
                  <a:pt x="0" y="5927679"/>
                </a:lnTo>
                <a:lnTo>
                  <a:pt x="0" y="5888351"/>
                </a:lnTo>
                <a:lnTo>
                  <a:pt x="60222" y="5888351"/>
                </a:lnTo>
                <a:lnTo>
                  <a:pt x="60222" y="5734722"/>
                </a:lnTo>
                <a:lnTo>
                  <a:pt x="0" y="5734722"/>
                </a:lnTo>
                <a:lnTo>
                  <a:pt x="0" y="5695392"/>
                </a:lnTo>
                <a:lnTo>
                  <a:pt x="60222" y="5695392"/>
                </a:lnTo>
                <a:lnTo>
                  <a:pt x="60222" y="5539305"/>
                </a:lnTo>
                <a:lnTo>
                  <a:pt x="0" y="5539305"/>
                </a:lnTo>
                <a:lnTo>
                  <a:pt x="0" y="5501205"/>
                </a:lnTo>
                <a:lnTo>
                  <a:pt x="60222" y="5501205"/>
                </a:lnTo>
                <a:lnTo>
                  <a:pt x="60222" y="5347577"/>
                </a:lnTo>
                <a:lnTo>
                  <a:pt x="0" y="5347577"/>
                </a:lnTo>
                <a:lnTo>
                  <a:pt x="0" y="5313162"/>
                </a:lnTo>
                <a:lnTo>
                  <a:pt x="60222" y="5313162"/>
                </a:lnTo>
                <a:lnTo>
                  <a:pt x="60222" y="5160762"/>
                </a:lnTo>
                <a:lnTo>
                  <a:pt x="0" y="5160762"/>
                </a:lnTo>
                <a:lnTo>
                  <a:pt x="0" y="5118975"/>
                </a:lnTo>
                <a:lnTo>
                  <a:pt x="60222" y="5118975"/>
                </a:lnTo>
                <a:lnTo>
                  <a:pt x="60222" y="4966575"/>
                </a:lnTo>
                <a:lnTo>
                  <a:pt x="0" y="4966575"/>
                </a:lnTo>
                <a:lnTo>
                  <a:pt x="0" y="4926017"/>
                </a:lnTo>
                <a:lnTo>
                  <a:pt x="60222" y="4926017"/>
                </a:lnTo>
                <a:lnTo>
                  <a:pt x="60222" y="4772388"/>
                </a:lnTo>
                <a:lnTo>
                  <a:pt x="0" y="4772388"/>
                </a:lnTo>
                <a:lnTo>
                  <a:pt x="0" y="4731830"/>
                </a:lnTo>
                <a:lnTo>
                  <a:pt x="60222" y="4731830"/>
                </a:lnTo>
                <a:lnTo>
                  <a:pt x="60222" y="4579430"/>
                </a:lnTo>
                <a:lnTo>
                  <a:pt x="0" y="4579430"/>
                </a:lnTo>
                <a:lnTo>
                  <a:pt x="0" y="4537643"/>
                </a:lnTo>
                <a:lnTo>
                  <a:pt x="60222" y="4537643"/>
                </a:lnTo>
                <a:lnTo>
                  <a:pt x="60222" y="4385243"/>
                </a:lnTo>
                <a:lnTo>
                  <a:pt x="0" y="4385243"/>
                </a:lnTo>
                <a:lnTo>
                  <a:pt x="0" y="4343456"/>
                </a:lnTo>
                <a:lnTo>
                  <a:pt x="60222" y="4343456"/>
                </a:lnTo>
                <a:lnTo>
                  <a:pt x="60222" y="4191055"/>
                </a:lnTo>
                <a:lnTo>
                  <a:pt x="0" y="4191055"/>
                </a:lnTo>
                <a:lnTo>
                  <a:pt x="0" y="4149268"/>
                </a:lnTo>
                <a:lnTo>
                  <a:pt x="60222" y="4149268"/>
                </a:lnTo>
                <a:lnTo>
                  <a:pt x="60222" y="4145580"/>
                </a:lnTo>
                <a:lnTo>
                  <a:pt x="60222" y="3996868"/>
                </a:lnTo>
                <a:lnTo>
                  <a:pt x="60222" y="3993180"/>
                </a:lnTo>
                <a:lnTo>
                  <a:pt x="0" y="3993180"/>
                </a:lnTo>
                <a:lnTo>
                  <a:pt x="0" y="3953851"/>
                </a:lnTo>
                <a:lnTo>
                  <a:pt x="60222" y="3953851"/>
                </a:lnTo>
                <a:lnTo>
                  <a:pt x="60222" y="3800223"/>
                </a:lnTo>
                <a:lnTo>
                  <a:pt x="0" y="3800223"/>
                </a:lnTo>
                <a:lnTo>
                  <a:pt x="0" y="3762122"/>
                </a:lnTo>
                <a:lnTo>
                  <a:pt x="60222" y="3762122"/>
                </a:lnTo>
                <a:lnTo>
                  <a:pt x="60222" y="3608493"/>
                </a:lnTo>
                <a:lnTo>
                  <a:pt x="0" y="3608493"/>
                </a:lnTo>
                <a:lnTo>
                  <a:pt x="0" y="3574080"/>
                </a:lnTo>
                <a:lnTo>
                  <a:pt x="60222" y="3574080"/>
                </a:lnTo>
                <a:lnTo>
                  <a:pt x="60222" y="3420451"/>
                </a:lnTo>
                <a:lnTo>
                  <a:pt x="0" y="3420451"/>
                </a:lnTo>
                <a:lnTo>
                  <a:pt x="0" y="3379893"/>
                </a:lnTo>
                <a:lnTo>
                  <a:pt x="60222" y="3379893"/>
                </a:lnTo>
                <a:lnTo>
                  <a:pt x="60222" y="3226263"/>
                </a:lnTo>
                <a:lnTo>
                  <a:pt x="0" y="3226263"/>
                </a:lnTo>
                <a:lnTo>
                  <a:pt x="0" y="3185706"/>
                </a:lnTo>
                <a:lnTo>
                  <a:pt x="60222" y="3185706"/>
                </a:lnTo>
                <a:lnTo>
                  <a:pt x="60222" y="3032076"/>
                </a:lnTo>
                <a:lnTo>
                  <a:pt x="0" y="3032076"/>
                </a:lnTo>
                <a:lnTo>
                  <a:pt x="0" y="2990289"/>
                </a:lnTo>
                <a:lnTo>
                  <a:pt x="60222" y="2990289"/>
                </a:lnTo>
                <a:lnTo>
                  <a:pt x="60222" y="2836660"/>
                </a:lnTo>
                <a:lnTo>
                  <a:pt x="0" y="2836660"/>
                </a:lnTo>
                <a:lnTo>
                  <a:pt x="0" y="2794873"/>
                </a:lnTo>
                <a:lnTo>
                  <a:pt x="60222" y="2794873"/>
                </a:lnTo>
                <a:lnTo>
                  <a:pt x="60222" y="2641243"/>
                </a:lnTo>
                <a:lnTo>
                  <a:pt x="0" y="2641243"/>
                </a:lnTo>
                <a:lnTo>
                  <a:pt x="0" y="2600686"/>
                </a:lnTo>
                <a:lnTo>
                  <a:pt x="60222" y="2600686"/>
                </a:lnTo>
                <a:lnTo>
                  <a:pt x="60222" y="2447056"/>
                </a:lnTo>
                <a:lnTo>
                  <a:pt x="0" y="2447056"/>
                </a:lnTo>
                <a:lnTo>
                  <a:pt x="0" y="2406498"/>
                </a:lnTo>
                <a:lnTo>
                  <a:pt x="60222" y="2406498"/>
                </a:lnTo>
                <a:lnTo>
                  <a:pt x="60222" y="2254098"/>
                </a:lnTo>
                <a:lnTo>
                  <a:pt x="0" y="2254098"/>
                </a:lnTo>
                <a:lnTo>
                  <a:pt x="0" y="2217227"/>
                </a:lnTo>
                <a:lnTo>
                  <a:pt x="60222" y="2217227"/>
                </a:lnTo>
                <a:lnTo>
                  <a:pt x="60222" y="2068514"/>
                </a:lnTo>
                <a:lnTo>
                  <a:pt x="0" y="2068514"/>
                </a:lnTo>
                <a:lnTo>
                  <a:pt x="0" y="2031643"/>
                </a:lnTo>
                <a:lnTo>
                  <a:pt x="60222" y="2031643"/>
                </a:lnTo>
                <a:lnTo>
                  <a:pt x="60222" y="1878014"/>
                </a:lnTo>
                <a:lnTo>
                  <a:pt x="0" y="1878014"/>
                </a:lnTo>
                <a:lnTo>
                  <a:pt x="0" y="1838685"/>
                </a:lnTo>
                <a:lnTo>
                  <a:pt x="60222" y="1838685"/>
                </a:lnTo>
                <a:lnTo>
                  <a:pt x="60222" y="1685055"/>
                </a:lnTo>
                <a:lnTo>
                  <a:pt x="0" y="1685055"/>
                </a:lnTo>
                <a:lnTo>
                  <a:pt x="0" y="1645726"/>
                </a:lnTo>
                <a:lnTo>
                  <a:pt x="60222" y="1645726"/>
                </a:lnTo>
                <a:lnTo>
                  <a:pt x="60222" y="1492097"/>
                </a:lnTo>
                <a:lnTo>
                  <a:pt x="0" y="1492097"/>
                </a:lnTo>
                <a:lnTo>
                  <a:pt x="0" y="1453997"/>
                </a:lnTo>
                <a:lnTo>
                  <a:pt x="60222" y="1453997"/>
                </a:lnTo>
                <a:lnTo>
                  <a:pt x="60222" y="1300368"/>
                </a:lnTo>
                <a:lnTo>
                  <a:pt x="0" y="1300368"/>
                </a:lnTo>
                <a:lnTo>
                  <a:pt x="0" y="1265955"/>
                </a:lnTo>
                <a:lnTo>
                  <a:pt x="60222" y="1265955"/>
                </a:lnTo>
                <a:lnTo>
                  <a:pt x="60222" y="1112325"/>
                </a:lnTo>
                <a:lnTo>
                  <a:pt x="0" y="1112325"/>
                </a:lnTo>
                <a:lnTo>
                  <a:pt x="0" y="1071768"/>
                </a:lnTo>
                <a:lnTo>
                  <a:pt x="60222" y="1071768"/>
                </a:lnTo>
                <a:lnTo>
                  <a:pt x="60222" y="918138"/>
                </a:lnTo>
                <a:lnTo>
                  <a:pt x="0" y="918138"/>
                </a:lnTo>
                <a:lnTo>
                  <a:pt x="0" y="877581"/>
                </a:lnTo>
                <a:lnTo>
                  <a:pt x="60222" y="877581"/>
                </a:lnTo>
                <a:lnTo>
                  <a:pt x="60222" y="723951"/>
                </a:lnTo>
                <a:lnTo>
                  <a:pt x="0" y="723951"/>
                </a:lnTo>
                <a:lnTo>
                  <a:pt x="0" y="683393"/>
                </a:lnTo>
                <a:lnTo>
                  <a:pt x="60222" y="683393"/>
                </a:lnTo>
                <a:lnTo>
                  <a:pt x="60222" y="529763"/>
                </a:lnTo>
                <a:lnTo>
                  <a:pt x="0" y="529763"/>
                </a:lnTo>
                <a:lnTo>
                  <a:pt x="0" y="487976"/>
                </a:lnTo>
                <a:lnTo>
                  <a:pt x="60222" y="487976"/>
                </a:lnTo>
                <a:lnTo>
                  <a:pt x="60222" y="334348"/>
                </a:lnTo>
                <a:lnTo>
                  <a:pt x="0" y="334348"/>
                </a:lnTo>
                <a:lnTo>
                  <a:pt x="0" y="292561"/>
                </a:lnTo>
                <a:lnTo>
                  <a:pt x="60222" y="292561"/>
                </a:lnTo>
                <a:lnTo>
                  <a:pt x="60222" y="138931"/>
                </a:lnTo>
                <a:lnTo>
                  <a:pt x="0" y="138931"/>
                </a:lnTo>
                <a:lnTo>
                  <a:pt x="0" y="97144"/>
                </a:lnTo>
                <a:lnTo>
                  <a:pt x="60222" y="97144"/>
                </a:lnTo>
                <a:lnTo>
                  <a:pt x="60222" y="0"/>
                </a:lnTo>
                <a:close/>
                <a:moveTo>
                  <a:pt x="179439" y="137702"/>
                </a:moveTo>
                <a:lnTo>
                  <a:pt x="120445" y="142619"/>
                </a:lnTo>
                <a:lnTo>
                  <a:pt x="129048" y="291331"/>
                </a:lnTo>
                <a:lnTo>
                  <a:pt x="189271" y="286415"/>
                </a:lnTo>
                <a:lnTo>
                  <a:pt x="179439" y="137702"/>
                </a:lnTo>
                <a:close/>
                <a:moveTo>
                  <a:pt x="296197" y="137702"/>
                </a:moveTo>
                <a:lnTo>
                  <a:pt x="240891" y="147535"/>
                </a:lnTo>
                <a:lnTo>
                  <a:pt x="259326" y="291331"/>
                </a:lnTo>
                <a:lnTo>
                  <a:pt x="315861" y="281499"/>
                </a:lnTo>
                <a:lnTo>
                  <a:pt x="296197" y="137702"/>
                </a:lnTo>
                <a:close/>
                <a:moveTo>
                  <a:pt x="415413" y="137702"/>
                </a:moveTo>
                <a:lnTo>
                  <a:pt x="360106" y="152451"/>
                </a:lnTo>
                <a:lnTo>
                  <a:pt x="389603" y="291331"/>
                </a:lnTo>
                <a:lnTo>
                  <a:pt x="444910" y="276583"/>
                </a:lnTo>
                <a:lnTo>
                  <a:pt x="415413" y="137702"/>
                </a:lnTo>
                <a:close/>
                <a:moveTo>
                  <a:pt x="532171" y="137702"/>
                </a:moveTo>
                <a:lnTo>
                  <a:pt x="479323" y="157367"/>
                </a:lnTo>
                <a:lnTo>
                  <a:pt x="518652" y="291331"/>
                </a:lnTo>
                <a:lnTo>
                  <a:pt x="571500" y="271666"/>
                </a:lnTo>
                <a:lnTo>
                  <a:pt x="532171" y="137702"/>
                </a:lnTo>
                <a:close/>
                <a:moveTo>
                  <a:pt x="651388" y="137702"/>
                </a:moveTo>
                <a:lnTo>
                  <a:pt x="599769" y="162283"/>
                </a:lnTo>
                <a:lnTo>
                  <a:pt x="648930" y="291331"/>
                </a:lnTo>
                <a:lnTo>
                  <a:pt x="699320" y="266750"/>
                </a:lnTo>
                <a:lnTo>
                  <a:pt x="651388" y="137702"/>
                </a:lnTo>
                <a:close/>
                <a:moveTo>
                  <a:pt x="768145" y="137702"/>
                </a:moveTo>
                <a:lnTo>
                  <a:pt x="720214" y="168428"/>
                </a:lnTo>
                <a:lnTo>
                  <a:pt x="777978" y="291331"/>
                </a:lnTo>
                <a:lnTo>
                  <a:pt x="827139" y="261834"/>
                </a:lnTo>
                <a:lnTo>
                  <a:pt x="768145" y="137702"/>
                </a:lnTo>
                <a:close/>
                <a:moveTo>
                  <a:pt x="1005350" y="137702"/>
                </a:moveTo>
                <a:lnTo>
                  <a:pt x="959875" y="177031"/>
                </a:lnTo>
                <a:lnTo>
                  <a:pt x="1037304" y="290103"/>
                </a:lnTo>
                <a:lnTo>
                  <a:pt x="1082778" y="250773"/>
                </a:lnTo>
                <a:lnTo>
                  <a:pt x="1005350" y="137702"/>
                </a:lnTo>
                <a:close/>
                <a:moveTo>
                  <a:pt x="1123337" y="137702"/>
                </a:moveTo>
                <a:lnTo>
                  <a:pt x="1080320" y="183176"/>
                </a:lnTo>
                <a:lnTo>
                  <a:pt x="1167582" y="291331"/>
                </a:lnTo>
                <a:lnTo>
                  <a:pt x="1210598" y="245857"/>
                </a:lnTo>
                <a:lnTo>
                  <a:pt x="1123337" y="137702"/>
                </a:lnTo>
                <a:close/>
                <a:moveTo>
                  <a:pt x="1241324" y="137702"/>
                </a:moveTo>
                <a:lnTo>
                  <a:pt x="1200765" y="186864"/>
                </a:lnTo>
                <a:lnTo>
                  <a:pt x="1297860" y="291331"/>
                </a:lnTo>
                <a:lnTo>
                  <a:pt x="1338417" y="242170"/>
                </a:lnTo>
                <a:lnTo>
                  <a:pt x="1241324" y="137702"/>
                </a:lnTo>
                <a:close/>
                <a:moveTo>
                  <a:pt x="1359311" y="138931"/>
                </a:moveTo>
                <a:lnTo>
                  <a:pt x="1319982" y="193008"/>
                </a:lnTo>
                <a:lnTo>
                  <a:pt x="1426908" y="291331"/>
                </a:lnTo>
                <a:lnTo>
                  <a:pt x="1466237" y="237253"/>
                </a:lnTo>
                <a:lnTo>
                  <a:pt x="1359311" y="138931"/>
                </a:lnTo>
                <a:close/>
                <a:moveTo>
                  <a:pt x="1477299" y="138931"/>
                </a:moveTo>
                <a:lnTo>
                  <a:pt x="1440428" y="197924"/>
                </a:lnTo>
                <a:lnTo>
                  <a:pt x="1557185" y="291331"/>
                </a:lnTo>
                <a:lnTo>
                  <a:pt x="1594056" y="232337"/>
                </a:lnTo>
                <a:lnTo>
                  <a:pt x="1477299" y="138931"/>
                </a:lnTo>
                <a:close/>
                <a:moveTo>
                  <a:pt x="887362" y="138931"/>
                </a:moveTo>
                <a:lnTo>
                  <a:pt x="840659" y="173344"/>
                </a:lnTo>
                <a:lnTo>
                  <a:pt x="908255" y="291331"/>
                </a:lnTo>
                <a:lnTo>
                  <a:pt x="954959" y="258148"/>
                </a:lnTo>
                <a:lnTo>
                  <a:pt x="887362" y="138931"/>
                </a:lnTo>
                <a:close/>
                <a:moveTo>
                  <a:pt x="179439" y="331890"/>
                </a:moveTo>
                <a:lnTo>
                  <a:pt x="120445" y="336806"/>
                </a:lnTo>
                <a:lnTo>
                  <a:pt x="129048" y="485518"/>
                </a:lnTo>
                <a:lnTo>
                  <a:pt x="189271" y="480602"/>
                </a:lnTo>
                <a:lnTo>
                  <a:pt x="179439" y="331890"/>
                </a:lnTo>
                <a:close/>
                <a:moveTo>
                  <a:pt x="296197" y="331890"/>
                </a:moveTo>
                <a:lnTo>
                  <a:pt x="239661" y="341722"/>
                </a:lnTo>
                <a:lnTo>
                  <a:pt x="259326" y="485518"/>
                </a:lnTo>
                <a:lnTo>
                  <a:pt x="315861" y="475686"/>
                </a:lnTo>
                <a:lnTo>
                  <a:pt x="296197" y="331890"/>
                </a:lnTo>
                <a:close/>
                <a:moveTo>
                  <a:pt x="415413" y="331890"/>
                </a:moveTo>
                <a:lnTo>
                  <a:pt x="360106" y="346638"/>
                </a:lnTo>
                <a:lnTo>
                  <a:pt x="389603" y="485518"/>
                </a:lnTo>
                <a:lnTo>
                  <a:pt x="444910" y="470770"/>
                </a:lnTo>
                <a:lnTo>
                  <a:pt x="415413" y="331890"/>
                </a:lnTo>
                <a:close/>
                <a:moveTo>
                  <a:pt x="532171" y="331890"/>
                </a:moveTo>
                <a:lnTo>
                  <a:pt x="479323" y="351554"/>
                </a:lnTo>
                <a:lnTo>
                  <a:pt x="518652" y="485518"/>
                </a:lnTo>
                <a:lnTo>
                  <a:pt x="571500" y="465854"/>
                </a:lnTo>
                <a:lnTo>
                  <a:pt x="532171" y="331890"/>
                </a:lnTo>
                <a:close/>
                <a:moveTo>
                  <a:pt x="651388" y="331890"/>
                </a:moveTo>
                <a:lnTo>
                  <a:pt x="599769" y="356470"/>
                </a:lnTo>
                <a:lnTo>
                  <a:pt x="648930" y="485518"/>
                </a:lnTo>
                <a:lnTo>
                  <a:pt x="699320" y="460938"/>
                </a:lnTo>
                <a:lnTo>
                  <a:pt x="651388" y="331890"/>
                </a:lnTo>
                <a:close/>
                <a:moveTo>
                  <a:pt x="768145" y="331890"/>
                </a:moveTo>
                <a:lnTo>
                  <a:pt x="720214" y="361387"/>
                </a:lnTo>
                <a:lnTo>
                  <a:pt x="777978" y="484290"/>
                </a:lnTo>
                <a:lnTo>
                  <a:pt x="827139" y="454793"/>
                </a:lnTo>
                <a:lnTo>
                  <a:pt x="768145" y="331890"/>
                </a:lnTo>
                <a:close/>
                <a:moveTo>
                  <a:pt x="1005350" y="331890"/>
                </a:moveTo>
                <a:lnTo>
                  <a:pt x="959875" y="372447"/>
                </a:lnTo>
                <a:lnTo>
                  <a:pt x="1037304" y="485518"/>
                </a:lnTo>
                <a:lnTo>
                  <a:pt x="1082778" y="446189"/>
                </a:lnTo>
                <a:lnTo>
                  <a:pt x="1005350" y="331890"/>
                </a:lnTo>
                <a:close/>
                <a:moveTo>
                  <a:pt x="1123337" y="333118"/>
                </a:moveTo>
                <a:lnTo>
                  <a:pt x="1080320" y="377363"/>
                </a:lnTo>
                <a:lnTo>
                  <a:pt x="1167582" y="485518"/>
                </a:lnTo>
                <a:lnTo>
                  <a:pt x="1210598" y="441273"/>
                </a:lnTo>
                <a:lnTo>
                  <a:pt x="1123337" y="333118"/>
                </a:lnTo>
                <a:close/>
                <a:moveTo>
                  <a:pt x="1240094" y="333118"/>
                </a:moveTo>
                <a:lnTo>
                  <a:pt x="1199537" y="382279"/>
                </a:lnTo>
                <a:lnTo>
                  <a:pt x="1296630" y="485518"/>
                </a:lnTo>
                <a:lnTo>
                  <a:pt x="1338417" y="436357"/>
                </a:lnTo>
                <a:lnTo>
                  <a:pt x="1240094" y="333118"/>
                </a:lnTo>
                <a:close/>
                <a:moveTo>
                  <a:pt x="1359311" y="333118"/>
                </a:moveTo>
                <a:lnTo>
                  <a:pt x="1319982" y="387196"/>
                </a:lnTo>
                <a:lnTo>
                  <a:pt x="1426908" y="485518"/>
                </a:lnTo>
                <a:lnTo>
                  <a:pt x="1466237" y="431441"/>
                </a:lnTo>
                <a:lnTo>
                  <a:pt x="1359311" y="333118"/>
                </a:lnTo>
                <a:close/>
                <a:moveTo>
                  <a:pt x="1477299" y="333118"/>
                </a:moveTo>
                <a:lnTo>
                  <a:pt x="1440428" y="392112"/>
                </a:lnTo>
                <a:lnTo>
                  <a:pt x="1557185" y="485518"/>
                </a:lnTo>
                <a:lnTo>
                  <a:pt x="1594056" y="426525"/>
                </a:lnTo>
                <a:lnTo>
                  <a:pt x="1477299" y="333118"/>
                </a:lnTo>
                <a:close/>
                <a:moveTo>
                  <a:pt x="887362" y="333118"/>
                </a:moveTo>
                <a:lnTo>
                  <a:pt x="840659" y="367531"/>
                </a:lnTo>
                <a:lnTo>
                  <a:pt x="908255" y="485518"/>
                </a:lnTo>
                <a:lnTo>
                  <a:pt x="954959" y="452335"/>
                </a:lnTo>
                <a:lnTo>
                  <a:pt x="887362" y="333118"/>
                </a:lnTo>
                <a:close/>
                <a:moveTo>
                  <a:pt x="415413" y="526077"/>
                </a:moveTo>
                <a:lnTo>
                  <a:pt x="360106" y="540825"/>
                </a:lnTo>
                <a:lnTo>
                  <a:pt x="389603" y="679706"/>
                </a:lnTo>
                <a:lnTo>
                  <a:pt x="444910" y="664957"/>
                </a:lnTo>
                <a:lnTo>
                  <a:pt x="415413" y="526077"/>
                </a:lnTo>
                <a:close/>
                <a:moveTo>
                  <a:pt x="651388" y="526077"/>
                </a:moveTo>
                <a:lnTo>
                  <a:pt x="599769" y="550658"/>
                </a:lnTo>
                <a:lnTo>
                  <a:pt x="648930" y="679706"/>
                </a:lnTo>
                <a:lnTo>
                  <a:pt x="699320" y="655125"/>
                </a:lnTo>
                <a:lnTo>
                  <a:pt x="651388" y="526077"/>
                </a:lnTo>
                <a:close/>
                <a:moveTo>
                  <a:pt x="887362" y="526077"/>
                </a:moveTo>
                <a:lnTo>
                  <a:pt x="840659" y="560490"/>
                </a:lnTo>
                <a:lnTo>
                  <a:pt x="908255" y="679706"/>
                </a:lnTo>
                <a:lnTo>
                  <a:pt x="954959" y="644064"/>
                </a:lnTo>
                <a:lnTo>
                  <a:pt x="887362" y="526077"/>
                </a:lnTo>
                <a:close/>
                <a:moveTo>
                  <a:pt x="1477299" y="526077"/>
                </a:moveTo>
                <a:lnTo>
                  <a:pt x="1440428" y="585071"/>
                </a:lnTo>
                <a:lnTo>
                  <a:pt x="1557185" y="679706"/>
                </a:lnTo>
                <a:lnTo>
                  <a:pt x="1594056" y="620712"/>
                </a:lnTo>
                <a:lnTo>
                  <a:pt x="1477299" y="526077"/>
                </a:lnTo>
                <a:close/>
                <a:moveTo>
                  <a:pt x="1005350" y="527305"/>
                </a:moveTo>
                <a:lnTo>
                  <a:pt x="959875" y="565406"/>
                </a:lnTo>
                <a:lnTo>
                  <a:pt x="1037304" y="679706"/>
                </a:lnTo>
                <a:lnTo>
                  <a:pt x="1082778" y="640377"/>
                </a:lnTo>
                <a:lnTo>
                  <a:pt x="1005350" y="527305"/>
                </a:lnTo>
                <a:close/>
                <a:moveTo>
                  <a:pt x="1123337" y="527305"/>
                </a:moveTo>
                <a:lnTo>
                  <a:pt x="1080320" y="571551"/>
                </a:lnTo>
                <a:lnTo>
                  <a:pt x="1167582" y="679706"/>
                </a:lnTo>
                <a:lnTo>
                  <a:pt x="1210598" y="635460"/>
                </a:lnTo>
                <a:lnTo>
                  <a:pt x="1123337" y="527305"/>
                </a:lnTo>
                <a:close/>
                <a:moveTo>
                  <a:pt x="1241324" y="527305"/>
                </a:moveTo>
                <a:lnTo>
                  <a:pt x="1200765" y="576467"/>
                </a:lnTo>
                <a:lnTo>
                  <a:pt x="1297860" y="680935"/>
                </a:lnTo>
                <a:lnTo>
                  <a:pt x="1338417" y="631774"/>
                </a:lnTo>
                <a:lnTo>
                  <a:pt x="1241324" y="527305"/>
                </a:lnTo>
                <a:close/>
                <a:moveTo>
                  <a:pt x="1359311" y="527305"/>
                </a:moveTo>
                <a:lnTo>
                  <a:pt x="1319982" y="581383"/>
                </a:lnTo>
                <a:lnTo>
                  <a:pt x="1426908" y="679706"/>
                </a:lnTo>
                <a:lnTo>
                  <a:pt x="1466237" y="625628"/>
                </a:lnTo>
                <a:lnTo>
                  <a:pt x="1359311" y="527305"/>
                </a:lnTo>
                <a:close/>
                <a:moveTo>
                  <a:pt x="768145" y="527305"/>
                </a:moveTo>
                <a:lnTo>
                  <a:pt x="720214" y="556802"/>
                </a:lnTo>
                <a:lnTo>
                  <a:pt x="777978" y="680935"/>
                </a:lnTo>
                <a:lnTo>
                  <a:pt x="827139" y="651438"/>
                </a:lnTo>
                <a:lnTo>
                  <a:pt x="768145" y="527305"/>
                </a:lnTo>
                <a:close/>
                <a:moveTo>
                  <a:pt x="532171" y="527305"/>
                </a:moveTo>
                <a:lnTo>
                  <a:pt x="479323" y="546970"/>
                </a:lnTo>
                <a:lnTo>
                  <a:pt x="518652" y="679706"/>
                </a:lnTo>
                <a:lnTo>
                  <a:pt x="571500" y="661271"/>
                </a:lnTo>
                <a:lnTo>
                  <a:pt x="532171" y="527305"/>
                </a:lnTo>
                <a:close/>
                <a:moveTo>
                  <a:pt x="179439" y="527305"/>
                </a:moveTo>
                <a:lnTo>
                  <a:pt x="120445" y="532222"/>
                </a:lnTo>
                <a:lnTo>
                  <a:pt x="129048" y="679706"/>
                </a:lnTo>
                <a:lnTo>
                  <a:pt x="189271" y="676019"/>
                </a:lnTo>
                <a:lnTo>
                  <a:pt x="179439" y="527305"/>
                </a:lnTo>
                <a:close/>
                <a:moveTo>
                  <a:pt x="296197" y="527305"/>
                </a:moveTo>
                <a:lnTo>
                  <a:pt x="239661" y="537138"/>
                </a:lnTo>
                <a:lnTo>
                  <a:pt x="259326" y="680935"/>
                </a:lnTo>
                <a:lnTo>
                  <a:pt x="315861" y="671103"/>
                </a:lnTo>
                <a:lnTo>
                  <a:pt x="296197" y="527305"/>
                </a:lnTo>
                <a:close/>
                <a:moveTo>
                  <a:pt x="179439" y="721493"/>
                </a:moveTo>
                <a:lnTo>
                  <a:pt x="120445" y="726409"/>
                </a:lnTo>
                <a:lnTo>
                  <a:pt x="129048" y="875123"/>
                </a:lnTo>
                <a:lnTo>
                  <a:pt x="189271" y="870206"/>
                </a:lnTo>
                <a:lnTo>
                  <a:pt x="179439" y="721493"/>
                </a:lnTo>
                <a:close/>
                <a:moveTo>
                  <a:pt x="296197" y="721493"/>
                </a:moveTo>
                <a:lnTo>
                  <a:pt x="239661" y="731325"/>
                </a:lnTo>
                <a:lnTo>
                  <a:pt x="259326" y="875123"/>
                </a:lnTo>
                <a:lnTo>
                  <a:pt x="315861" y="865290"/>
                </a:lnTo>
                <a:lnTo>
                  <a:pt x="296197" y="721493"/>
                </a:lnTo>
                <a:close/>
                <a:moveTo>
                  <a:pt x="415413" y="721493"/>
                </a:moveTo>
                <a:lnTo>
                  <a:pt x="360106" y="736241"/>
                </a:lnTo>
                <a:lnTo>
                  <a:pt x="389603" y="875123"/>
                </a:lnTo>
                <a:lnTo>
                  <a:pt x="444910" y="860374"/>
                </a:lnTo>
                <a:lnTo>
                  <a:pt x="415413" y="721493"/>
                </a:lnTo>
                <a:close/>
                <a:moveTo>
                  <a:pt x="532171" y="721493"/>
                </a:moveTo>
                <a:lnTo>
                  <a:pt x="479323" y="741157"/>
                </a:lnTo>
                <a:lnTo>
                  <a:pt x="518652" y="875123"/>
                </a:lnTo>
                <a:lnTo>
                  <a:pt x="571500" y="855458"/>
                </a:lnTo>
                <a:lnTo>
                  <a:pt x="532171" y="721493"/>
                </a:lnTo>
                <a:close/>
                <a:moveTo>
                  <a:pt x="651388" y="721493"/>
                </a:moveTo>
                <a:lnTo>
                  <a:pt x="599769" y="746073"/>
                </a:lnTo>
                <a:lnTo>
                  <a:pt x="648930" y="875123"/>
                </a:lnTo>
                <a:lnTo>
                  <a:pt x="699320" y="850542"/>
                </a:lnTo>
                <a:lnTo>
                  <a:pt x="651388" y="721493"/>
                </a:lnTo>
                <a:close/>
                <a:moveTo>
                  <a:pt x="769375" y="721493"/>
                </a:moveTo>
                <a:lnTo>
                  <a:pt x="721442" y="750990"/>
                </a:lnTo>
                <a:lnTo>
                  <a:pt x="779207" y="875123"/>
                </a:lnTo>
                <a:lnTo>
                  <a:pt x="828369" y="845626"/>
                </a:lnTo>
                <a:lnTo>
                  <a:pt x="769375" y="721493"/>
                </a:lnTo>
                <a:close/>
                <a:moveTo>
                  <a:pt x="887362" y="721493"/>
                </a:moveTo>
                <a:lnTo>
                  <a:pt x="840659" y="755906"/>
                </a:lnTo>
                <a:lnTo>
                  <a:pt x="908255" y="875123"/>
                </a:lnTo>
                <a:lnTo>
                  <a:pt x="954959" y="840710"/>
                </a:lnTo>
                <a:lnTo>
                  <a:pt x="887362" y="721493"/>
                </a:lnTo>
                <a:close/>
                <a:moveTo>
                  <a:pt x="1005350" y="721493"/>
                </a:moveTo>
                <a:lnTo>
                  <a:pt x="959875" y="760822"/>
                </a:lnTo>
                <a:lnTo>
                  <a:pt x="1037304" y="873893"/>
                </a:lnTo>
                <a:lnTo>
                  <a:pt x="1082778" y="834564"/>
                </a:lnTo>
                <a:lnTo>
                  <a:pt x="1005350" y="721493"/>
                </a:lnTo>
                <a:close/>
                <a:moveTo>
                  <a:pt x="1123337" y="721493"/>
                </a:moveTo>
                <a:lnTo>
                  <a:pt x="1080320" y="765738"/>
                </a:lnTo>
                <a:lnTo>
                  <a:pt x="1167582" y="875123"/>
                </a:lnTo>
                <a:lnTo>
                  <a:pt x="1210598" y="829648"/>
                </a:lnTo>
                <a:lnTo>
                  <a:pt x="1123337" y="721493"/>
                </a:lnTo>
                <a:close/>
                <a:moveTo>
                  <a:pt x="1241324" y="721493"/>
                </a:moveTo>
                <a:lnTo>
                  <a:pt x="1200765" y="770654"/>
                </a:lnTo>
                <a:lnTo>
                  <a:pt x="1297860" y="875123"/>
                </a:lnTo>
                <a:lnTo>
                  <a:pt x="1338417" y="825961"/>
                </a:lnTo>
                <a:lnTo>
                  <a:pt x="1241324" y="721493"/>
                </a:lnTo>
                <a:close/>
                <a:moveTo>
                  <a:pt x="1477299" y="721493"/>
                </a:moveTo>
                <a:lnTo>
                  <a:pt x="1440428" y="780486"/>
                </a:lnTo>
                <a:lnTo>
                  <a:pt x="1557185" y="873893"/>
                </a:lnTo>
                <a:lnTo>
                  <a:pt x="1594056" y="814899"/>
                </a:lnTo>
                <a:lnTo>
                  <a:pt x="1477299" y="721493"/>
                </a:lnTo>
                <a:close/>
                <a:moveTo>
                  <a:pt x="1359311" y="722722"/>
                </a:moveTo>
                <a:lnTo>
                  <a:pt x="1319982" y="776800"/>
                </a:lnTo>
                <a:lnTo>
                  <a:pt x="1426908" y="876351"/>
                </a:lnTo>
                <a:lnTo>
                  <a:pt x="1466237" y="821045"/>
                </a:lnTo>
                <a:lnTo>
                  <a:pt x="1359311" y="722722"/>
                </a:lnTo>
                <a:close/>
                <a:moveTo>
                  <a:pt x="179439" y="915680"/>
                </a:moveTo>
                <a:lnTo>
                  <a:pt x="120445" y="920596"/>
                </a:lnTo>
                <a:lnTo>
                  <a:pt x="129048" y="1069310"/>
                </a:lnTo>
                <a:lnTo>
                  <a:pt x="189271" y="1064394"/>
                </a:lnTo>
                <a:lnTo>
                  <a:pt x="179439" y="915680"/>
                </a:lnTo>
                <a:close/>
                <a:moveTo>
                  <a:pt x="296197" y="915680"/>
                </a:moveTo>
                <a:lnTo>
                  <a:pt x="239661" y="925512"/>
                </a:lnTo>
                <a:lnTo>
                  <a:pt x="259326" y="1069310"/>
                </a:lnTo>
                <a:lnTo>
                  <a:pt x="315861" y="1059478"/>
                </a:lnTo>
                <a:lnTo>
                  <a:pt x="296197" y="915680"/>
                </a:lnTo>
                <a:close/>
                <a:moveTo>
                  <a:pt x="415413" y="915680"/>
                </a:moveTo>
                <a:lnTo>
                  <a:pt x="360106" y="930428"/>
                </a:lnTo>
                <a:lnTo>
                  <a:pt x="389603" y="1069310"/>
                </a:lnTo>
                <a:lnTo>
                  <a:pt x="444910" y="1054561"/>
                </a:lnTo>
                <a:lnTo>
                  <a:pt x="415413" y="915680"/>
                </a:lnTo>
                <a:close/>
                <a:moveTo>
                  <a:pt x="532171" y="915680"/>
                </a:moveTo>
                <a:lnTo>
                  <a:pt x="479323" y="935345"/>
                </a:lnTo>
                <a:lnTo>
                  <a:pt x="518652" y="1069310"/>
                </a:lnTo>
                <a:lnTo>
                  <a:pt x="571500" y="1049645"/>
                </a:lnTo>
                <a:lnTo>
                  <a:pt x="532171" y="915680"/>
                </a:lnTo>
                <a:close/>
                <a:moveTo>
                  <a:pt x="651388" y="915680"/>
                </a:moveTo>
                <a:lnTo>
                  <a:pt x="599769" y="940261"/>
                </a:lnTo>
                <a:lnTo>
                  <a:pt x="648930" y="1069310"/>
                </a:lnTo>
                <a:lnTo>
                  <a:pt x="699320" y="1044729"/>
                </a:lnTo>
                <a:lnTo>
                  <a:pt x="651388" y="915680"/>
                </a:lnTo>
                <a:close/>
                <a:moveTo>
                  <a:pt x="768145" y="915680"/>
                </a:moveTo>
                <a:lnTo>
                  <a:pt x="720214" y="945177"/>
                </a:lnTo>
                <a:lnTo>
                  <a:pt x="777978" y="1068080"/>
                </a:lnTo>
                <a:lnTo>
                  <a:pt x="827139" y="1038583"/>
                </a:lnTo>
                <a:lnTo>
                  <a:pt x="768145" y="915680"/>
                </a:lnTo>
                <a:close/>
                <a:moveTo>
                  <a:pt x="887362" y="915680"/>
                </a:moveTo>
                <a:lnTo>
                  <a:pt x="840659" y="950093"/>
                </a:lnTo>
                <a:lnTo>
                  <a:pt x="908255" y="1069310"/>
                </a:lnTo>
                <a:lnTo>
                  <a:pt x="954959" y="1034897"/>
                </a:lnTo>
                <a:lnTo>
                  <a:pt x="887362" y="915680"/>
                </a:lnTo>
                <a:close/>
                <a:moveTo>
                  <a:pt x="1005350" y="915680"/>
                </a:moveTo>
                <a:lnTo>
                  <a:pt x="959875" y="955009"/>
                </a:lnTo>
                <a:lnTo>
                  <a:pt x="1037304" y="1068080"/>
                </a:lnTo>
                <a:lnTo>
                  <a:pt x="1082778" y="1028751"/>
                </a:lnTo>
                <a:lnTo>
                  <a:pt x="1005350" y="915680"/>
                </a:lnTo>
                <a:close/>
                <a:moveTo>
                  <a:pt x="1241324" y="915680"/>
                </a:moveTo>
                <a:lnTo>
                  <a:pt x="1200765" y="964841"/>
                </a:lnTo>
                <a:lnTo>
                  <a:pt x="1297860" y="1069310"/>
                </a:lnTo>
                <a:lnTo>
                  <a:pt x="1338417" y="1020149"/>
                </a:lnTo>
                <a:lnTo>
                  <a:pt x="1241324" y="915680"/>
                </a:lnTo>
                <a:close/>
                <a:moveTo>
                  <a:pt x="1477299" y="915680"/>
                </a:moveTo>
                <a:lnTo>
                  <a:pt x="1440428" y="974674"/>
                </a:lnTo>
                <a:lnTo>
                  <a:pt x="1557185" y="1068080"/>
                </a:lnTo>
                <a:lnTo>
                  <a:pt x="1594056" y="1009087"/>
                </a:lnTo>
                <a:lnTo>
                  <a:pt x="1477299" y="915680"/>
                </a:lnTo>
                <a:close/>
                <a:moveTo>
                  <a:pt x="1359311" y="916910"/>
                </a:moveTo>
                <a:lnTo>
                  <a:pt x="1319982" y="970987"/>
                </a:lnTo>
                <a:lnTo>
                  <a:pt x="1426908" y="1069310"/>
                </a:lnTo>
                <a:lnTo>
                  <a:pt x="1466237" y="1015232"/>
                </a:lnTo>
                <a:lnTo>
                  <a:pt x="1359311" y="916910"/>
                </a:lnTo>
                <a:close/>
                <a:moveTo>
                  <a:pt x="1123337" y="916910"/>
                </a:moveTo>
                <a:lnTo>
                  <a:pt x="1080320" y="961155"/>
                </a:lnTo>
                <a:lnTo>
                  <a:pt x="1167582" y="1069310"/>
                </a:lnTo>
                <a:lnTo>
                  <a:pt x="1210598" y="1025065"/>
                </a:lnTo>
                <a:lnTo>
                  <a:pt x="1123337" y="916910"/>
                </a:lnTo>
                <a:close/>
                <a:moveTo>
                  <a:pt x="179439" y="1109867"/>
                </a:moveTo>
                <a:lnTo>
                  <a:pt x="120445" y="1114783"/>
                </a:lnTo>
                <a:lnTo>
                  <a:pt x="129048" y="1263497"/>
                </a:lnTo>
                <a:lnTo>
                  <a:pt x="189271" y="1258581"/>
                </a:lnTo>
                <a:lnTo>
                  <a:pt x="179439" y="1109867"/>
                </a:lnTo>
                <a:close/>
                <a:moveTo>
                  <a:pt x="296197" y="1109867"/>
                </a:moveTo>
                <a:lnTo>
                  <a:pt x="239661" y="1119700"/>
                </a:lnTo>
                <a:lnTo>
                  <a:pt x="259326" y="1263497"/>
                </a:lnTo>
                <a:lnTo>
                  <a:pt x="315861" y="1253665"/>
                </a:lnTo>
                <a:lnTo>
                  <a:pt x="296197" y="1109867"/>
                </a:lnTo>
                <a:close/>
                <a:moveTo>
                  <a:pt x="415413" y="1109867"/>
                </a:moveTo>
                <a:lnTo>
                  <a:pt x="360106" y="1124616"/>
                </a:lnTo>
                <a:lnTo>
                  <a:pt x="389603" y="1263497"/>
                </a:lnTo>
                <a:lnTo>
                  <a:pt x="444910" y="1248749"/>
                </a:lnTo>
                <a:lnTo>
                  <a:pt x="415413" y="1109867"/>
                </a:lnTo>
                <a:close/>
                <a:moveTo>
                  <a:pt x="532171" y="1109867"/>
                </a:moveTo>
                <a:lnTo>
                  <a:pt x="479323" y="1129532"/>
                </a:lnTo>
                <a:lnTo>
                  <a:pt x="518652" y="1263497"/>
                </a:lnTo>
                <a:lnTo>
                  <a:pt x="571500" y="1243833"/>
                </a:lnTo>
                <a:lnTo>
                  <a:pt x="532171" y="1109867"/>
                </a:lnTo>
                <a:close/>
                <a:moveTo>
                  <a:pt x="651388" y="1109867"/>
                </a:moveTo>
                <a:lnTo>
                  <a:pt x="599769" y="1135678"/>
                </a:lnTo>
                <a:lnTo>
                  <a:pt x="648930" y="1264726"/>
                </a:lnTo>
                <a:lnTo>
                  <a:pt x="699320" y="1238917"/>
                </a:lnTo>
                <a:lnTo>
                  <a:pt x="651388" y="1109867"/>
                </a:lnTo>
                <a:close/>
                <a:moveTo>
                  <a:pt x="768145" y="1109867"/>
                </a:moveTo>
                <a:lnTo>
                  <a:pt x="720214" y="1138136"/>
                </a:lnTo>
                <a:lnTo>
                  <a:pt x="777978" y="1262268"/>
                </a:lnTo>
                <a:lnTo>
                  <a:pt x="827139" y="1232771"/>
                </a:lnTo>
                <a:lnTo>
                  <a:pt x="768145" y="1109867"/>
                </a:lnTo>
                <a:close/>
                <a:moveTo>
                  <a:pt x="887362" y="1109867"/>
                </a:moveTo>
                <a:lnTo>
                  <a:pt x="840659" y="1144280"/>
                </a:lnTo>
                <a:lnTo>
                  <a:pt x="908255" y="1263497"/>
                </a:lnTo>
                <a:lnTo>
                  <a:pt x="954959" y="1229084"/>
                </a:lnTo>
                <a:lnTo>
                  <a:pt x="887362" y="1109867"/>
                </a:lnTo>
                <a:close/>
                <a:moveTo>
                  <a:pt x="1005350" y="1109867"/>
                </a:moveTo>
                <a:lnTo>
                  <a:pt x="959875" y="1150426"/>
                </a:lnTo>
                <a:lnTo>
                  <a:pt x="1037304" y="1263497"/>
                </a:lnTo>
                <a:lnTo>
                  <a:pt x="1082778" y="1224168"/>
                </a:lnTo>
                <a:lnTo>
                  <a:pt x="1005350" y="1109867"/>
                </a:lnTo>
                <a:close/>
                <a:moveTo>
                  <a:pt x="1123337" y="1109867"/>
                </a:moveTo>
                <a:lnTo>
                  <a:pt x="1080320" y="1154113"/>
                </a:lnTo>
                <a:lnTo>
                  <a:pt x="1167582" y="1263497"/>
                </a:lnTo>
                <a:lnTo>
                  <a:pt x="1210598" y="1219252"/>
                </a:lnTo>
                <a:lnTo>
                  <a:pt x="1123337" y="1109867"/>
                </a:lnTo>
                <a:close/>
                <a:moveTo>
                  <a:pt x="1241324" y="1109867"/>
                </a:moveTo>
                <a:lnTo>
                  <a:pt x="1199537" y="1160258"/>
                </a:lnTo>
                <a:lnTo>
                  <a:pt x="1297860" y="1263497"/>
                </a:lnTo>
                <a:lnTo>
                  <a:pt x="1338417" y="1214336"/>
                </a:lnTo>
                <a:lnTo>
                  <a:pt x="1241324" y="1109867"/>
                </a:lnTo>
                <a:close/>
                <a:moveTo>
                  <a:pt x="1359311" y="1111097"/>
                </a:moveTo>
                <a:lnTo>
                  <a:pt x="1319982" y="1165175"/>
                </a:lnTo>
                <a:lnTo>
                  <a:pt x="1426908" y="1263497"/>
                </a:lnTo>
                <a:lnTo>
                  <a:pt x="1466237" y="1209420"/>
                </a:lnTo>
                <a:lnTo>
                  <a:pt x="1359311" y="1111097"/>
                </a:lnTo>
                <a:close/>
                <a:moveTo>
                  <a:pt x="1476069" y="1111097"/>
                </a:moveTo>
                <a:lnTo>
                  <a:pt x="1439198" y="1170091"/>
                </a:lnTo>
                <a:lnTo>
                  <a:pt x="1555957" y="1263497"/>
                </a:lnTo>
                <a:lnTo>
                  <a:pt x="1592828" y="1204504"/>
                </a:lnTo>
                <a:lnTo>
                  <a:pt x="1476069" y="1111097"/>
                </a:lnTo>
                <a:close/>
                <a:moveTo>
                  <a:pt x="769375" y="1296680"/>
                </a:moveTo>
                <a:lnTo>
                  <a:pt x="720214" y="1327407"/>
                </a:lnTo>
                <a:lnTo>
                  <a:pt x="777978" y="1450310"/>
                </a:lnTo>
                <a:lnTo>
                  <a:pt x="827139" y="1420814"/>
                </a:lnTo>
                <a:lnTo>
                  <a:pt x="769375" y="1296680"/>
                </a:lnTo>
                <a:close/>
                <a:moveTo>
                  <a:pt x="1123337" y="1296680"/>
                </a:moveTo>
                <a:lnTo>
                  <a:pt x="1080320" y="1342155"/>
                </a:lnTo>
                <a:lnTo>
                  <a:pt x="1167582" y="1450310"/>
                </a:lnTo>
                <a:lnTo>
                  <a:pt x="1210598" y="1406065"/>
                </a:lnTo>
                <a:lnTo>
                  <a:pt x="1123337" y="1296680"/>
                </a:lnTo>
                <a:close/>
                <a:moveTo>
                  <a:pt x="1359311" y="1297910"/>
                </a:moveTo>
                <a:lnTo>
                  <a:pt x="1319982" y="1351988"/>
                </a:lnTo>
                <a:lnTo>
                  <a:pt x="1426908" y="1450310"/>
                </a:lnTo>
                <a:lnTo>
                  <a:pt x="1466237" y="1396233"/>
                </a:lnTo>
                <a:lnTo>
                  <a:pt x="1359311" y="1297910"/>
                </a:lnTo>
                <a:close/>
                <a:moveTo>
                  <a:pt x="1242552" y="1299139"/>
                </a:moveTo>
                <a:lnTo>
                  <a:pt x="1200765" y="1348300"/>
                </a:lnTo>
                <a:lnTo>
                  <a:pt x="1297860" y="1451539"/>
                </a:lnTo>
                <a:lnTo>
                  <a:pt x="1338417" y="1402377"/>
                </a:lnTo>
                <a:lnTo>
                  <a:pt x="1242552" y="1299139"/>
                </a:lnTo>
                <a:close/>
                <a:moveTo>
                  <a:pt x="1005350" y="1297910"/>
                </a:moveTo>
                <a:lnTo>
                  <a:pt x="959875" y="1338468"/>
                </a:lnTo>
                <a:lnTo>
                  <a:pt x="1037304" y="1451539"/>
                </a:lnTo>
                <a:lnTo>
                  <a:pt x="1082778" y="1412210"/>
                </a:lnTo>
                <a:lnTo>
                  <a:pt x="1005350" y="1297910"/>
                </a:lnTo>
                <a:close/>
                <a:moveTo>
                  <a:pt x="887362" y="1299139"/>
                </a:moveTo>
                <a:lnTo>
                  <a:pt x="840659" y="1333551"/>
                </a:lnTo>
                <a:lnTo>
                  <a:pt x="908255" y="1451539"/>
                </a:lnTo>
                <a:lnTo>
                  <a:pt x="954959" y="1418355"/>
                </a:lnTo>
                <a:lnTo>
                  <a:pt x="887362" y="1299139"/>
                </a:lnTo>
                <a:close/>
                <a:moveTo>
                  <a:pt x="178209" y="1297910"/>
                </a:moveTo>
                <a:lnTo>
                  <a:pt x="119216" y="1302826"/>
                </a:lnTo>
                <a:lnTo>
                  <a:pt x="129048" y="1451539"/>
                </a:lnTo>
                <a:lnTo>
                  <a:pt x="188042" y="1446623"/>
                </a:lnTo>
                <a:lnTo>
                  <a:pt x="178209" y="1297910"/>
                </a:lnTo>
                <a:close/>
                <a:moveTo>
                  <a:pt x="296197" y="1297910"/>
                </a:moveTo>
                <a:lnTo>
                  <a:pt x="239661" y="1307742"/>
                </a:lnTo>
                <a:lnTo>
                  <a:pt x="259326" y="1451539"/>
                </a:lnTo>
                <a:lnTo>
                  <a:pt x="315861" y="1441706"/>
                </a:lnTo>
                <a:lnTo>
                  <a:pt x="296197" y="1297910"/>
                </a:lnTo>
                <a:close/>
                <a:moveTo>
                  <a:pt x="415413" y="1297910"/>
                </a:moveTo>
                <a:lnTo>
                  <a:pt x="360106" y="1312659"/>
                </a:lnTo>
                <a:lnTo>
                  <a:pt x="389603" y="1451539"/>
                </a:lnTo>
                <a:lnTo>
                  <a:pt x="444910" y="1436790"/>
                </a:lnTo>
                <a:lnTo>
                  <a:pt x="415413" y="1297910"/>
                </a:lnTo>
                <a:close/>
                <a:moveTo>
                  <a:pt x="532171" y="1297910"/>
                </a:moveTo>
                <a:lnTo>
                  <a:pt x="479323" y="1317575"/>
                </a:lnTo>
                <a:lnTo>
                  <a:pt x="518652" y="1451539"/>
                </a:lnTo>
                <a:lnTo>
                  <a:pt x="571500" y="1431874"/>
                </a:lnTo>
                <a:lnTo>
                  <a:pt x="532171" y="1297910"/>
                </a:lnTo>
                <a:close/>
                <a:moveTo>
                  <a:pt x="651388" y="1297910"/>
                </a:moveTo>
                <a:lnTo>
                  <a:pt x="599769" y="1322491"/>
                </a:lnTo>
                <a:lnTo>
                  <a:pt x="648930" y="1451539"/>
                </a:lnTo>
                <a:lnTo>
                  <a:pt x="699320" y="1426958"/>
                </a:lnTo>
                <a:lnTo>
                  <a:pt x="651388" y="1297910"/>
                </a:lnTo>
                <a:close/>
                <a:moveTo>
                  <a:pt x="178209" y="1488410"/>
                </a:moveTo>
                <a:lnTo>
                  <a:pt x="119216" y="1493326"/>
                </a:lnTo>
                <a:lnTo>
                  <a:pt x="129048" y="1642040"/>
                </a:lnTo>
                <a:lnTo>
                  <a:pt x="188042" y="1637123"/>
                </a:lnTo>
                <a:lnTo>
                  <a:pt x="178209" y="1488410"/>
                </a:lnTo>
                <a:close/>
                <a:moveTo>
                  <a:pt x="651388" y="1488410"/>
                </a:moveTo>
                <a:lnTo>
                  <a:pt x="599769" y="1512990"/>
                </a:lnTo>
                <a:lnTo>
                  <a:pt x="648930" y="1642040"/>
                </a:lnTo>
                <a:lnTo>
                  <a:pt x="699320" y="1617459"/>
                </a:lnTo>
                <a:lnTo>
                  <a:pt x="651388" y="1488410"/>
                </a:lnTo>
                <a:close/>
                <a:moveTo>
                  <a:pt x="887362" y="1488410"/>
                </a:moveTo>
                <a:lnTo>
                  <a:pt x="840659" y="1522823"/>
                </a:lnTo>
                <a:lnTo>
                  <a:pt x="908255" y="1642040"/>
                </a:lnTo>
                <a:lnTo>
                  <a:pt x="954959" y="1607627"/>
                </a:lnTo>
                <a:lnTo>
                  <a:pt x="887362" y="1488410"/>
                </a:lnTo>
                <a:close/>
                <a:moveTo>
                  <a:pt x="1242552" y="1488410"/>
                </a:moveTo>
                <a:lnTo>
                  <a:pt x="1200765" y="1537571"/>
                </a:lnTo>
                <a:lnTo>
                  <a:pt x="1297860" y="1642040"/>
                </a:lnTo>
                <a:lnTo>
                  <a:pt x="1338417" y="1592878"/>
                </a:lnTo>
                <a:lnTo>
                  <a:pt x="1242552" y="1488410"/>
                </a:lnTo>
                <a:close/>
                <a:moveTo>
                  <a:pt x="1359311" y="1488410"/>
                </a:moveTo>
                <a:lnTo>
                  <a:pt x="1319982" y="1543717"/>
                </a:lnTo>
                <a:lnTo>
                  <a:pt x="1426908" y="1640810"/>
                </a:lnTo>
                <a:lnTo>
                  <a:pt x="1466237" y="1586732"/>
                </a:lnTo>
                <a:lnTo>
                  <a:pt x="1359311" y="1488410"/>
                </a:lnTo>
                <a:close/>
                <a:moveTo>
                  <a:pt x="1005350" y="1489639"/>
                </a:moveTo>
                <a:lnTo>
                  <a:pt x="959875" y="1528968"/>
                </a:lnTo>
                <a:lnTo>
                  <a:pt x="1037304" y="1642040"/>
                </a:lnTo>
                <a:lnTo>
                  <a:pt x="1082778" y="1602710"/>
                </a:lnTo>
                <a:lnTo>
                  <a:pt x="1005350" y="1489639"/>
                </a:lnTo>
                <a:close/>
                <a:moveTo>
                  <a:pt x="1123337" y="1489639"/>
                </a:moveTo>
                <a:lnTo>
                  <a:pt x="1080320" y="1533885"/>
                </a:lnTo>
                <a:lnTo>
                  <a:pt x="1167582" y="1642040"/>
                </a:lnTo>
                <a:lnTo>
                  <a:pt x="1210598" y="1597794"/>
                </a:lnTo>
                <a:lnTo>
                  <a:pt x="1123337" y="1489639"/>
                </a:lnTo>
                <a:close/>
                <a:moveTo>
                  <a:pt x="769375" y="1489639"/>
                </a:moveTo>
                <a:lnTo>
                  <a:pt x="720214" y="1519136"/>
                </a:lnTo>
                <a:lnTo>
                  <a:pt x="777978" y="1643268"/>
                </a:lnTo>
                <a:lnTo>
                  <a:pt x="827139" y="1613771"/>
                </a:lnTo>
                <a:lnTo>
                  <a:pt x="769375" y="1489639"/>
                </a:lnTo>
                <a:close/>
                <a:moveTo>
                  <a:pt x="296197" y="1489639"/>
                </a:moveTo>
                <a:lnTo>
                  <a:pt x="239661" y="1499472"/>
                </a:lnTo>
                <a:lnTo>
                  <a:pt x="259326" y="1643268"/>
                </a:lnTo>
                <a:lnTo>
                  <a:pt x="315861" y="1633436"/>
                </a:lnTo>
                <a:lnTo>
                  <a:pt x="296197" y="1489639"/>
                </a:lnTo>
                <a:close/>
                <a:moveTo>
                  <a:pt x="415413" y="1489639"/>
                </a:moveTo>
                <a:lnTo>
                  <a:pt x="360106" y="1504388"/>
                </a:lnTo>
                <a:lnTo>
                  <a:pt x="389603" y="1642040"/>
                </a:lnTo>
                <a:lnTo>
                  <a:pt x="444910" y="1628520"/>
                </a:lnTo>
                <a:lnTo>
                  <a:pt x="415413" y="1489639"/>
                </a:lnTo>
                <a:close/>
                <a:moveTo>
                  <a:pt x="532171" y="1489639"/>
                </a:moveTo>
                <a:lnTo>
                  <a:pt x="479323" y="1509304"/>
                </a:lnTo>
                <a:lnTo>
                  <a:pt x="518652" y="1642040"/>
                </a:lnTo>
                <a:lnTo>
                  <a:pt x="571500" y="1623603"/>
                </a:lnTo>
                <a:lnTo>
                  <a:pt x="532171" y="1489639"/>
                </a:lnTo>
                <a:close/>
                <a:moveTo>
                  <a:pt x="178209" y="1681369"/>
                </a:moveTo>
                <a:lnTo>
                  <a:pt x="119216" y="1686285"/>
                </a:lnTo>
                <a:lnTo>
                  <a:pt x="129048" y="1834997"/>
                </a:lnTo>
                <a:lnTo>
                  <a:pt x="188042" y="1830081"/>
                </a:lnTo>
                <a:lnTo>
                  <a:pt x="178209" y="1681369"/>
                </a:lnTo>
                <a:close/>
                <a:moveTo>
                  <a:pt x="296197" y="1681369"/>
                </a:moveTo>
                <a:lnTo>
                  <a:pt x="239661" y="1691201"/>
                </a:lnTo>
                <a:lnTo>
                  <a:pt x="259326" y="1834997"/>
                </a:lnTo>
                <a:lnTo>
                  <a:pt x="315861" y="1825165"/>
                </a:lnTo>
                <a:lnTo>
                  <a:pt x="296197" y="1681369"/>
                </a:lnTo>
                <a:close/>
                <a:moveTo>
                  <a:pt x="415413" y="1681369"/>
                </a:moveTo>
                <a:lnTo>
                  <a:pt x="360106" y="1696117"/>
                </a:lnTo>
                <a:lnTo>
                  <a:pt x="389603" y="1834997"/>
                </a:lnTo>
                <a:lnTo>
                  <a:pt x="444910" y="1820249"/>
                </a:lnTo>
                <a:lnTo>
                  <a:pt x="415413" y="1681369"/>
                </a:lnTo>
                <a:close/>
                <a:moveTo>
                  <a:pt x="532171" y="1681369"/>
                </a:moveTo>
                <a:lnTo>
                  <a:pt x="479323" y="1701033"/>
                </a:lnTo>
                <a:lnTo>
                  <a:pt x="518652" y="1834997"/>
                </a:lnTo>
                <a:lnTo>
                  <a:pt x="571500" y="1815333"/>
                </a:lnTo>
                <a:lnTo>
                  <a:pt x="532171" y="1681369"/>
                </a:lnTo>
                <a:close/>
                <a:moveTo>
                  <a:pt x="651388" y="1681369"/>
                </a:moveTo>
                <a:lnTo>
                  <a:pt x="599769" y="1705949"/>
                </a:lnTo>
                <a:lnTo>
                  <a:pt x="648930" y="1834997"/>
                </a:lnTo>
                <a:lnTo>
                  <a:pt x="699320" y="1809188"/>
                </a:lnTo>
                <a:lnTo>
                  <a:pt x="651388" y="1681369"/>
                </a:lnTo>
                <a:close/>
                <a:moveTo>
                  <a:pt x="769375" y="1681369"/>
                </a:moveTo>
                <a:lnTo>
                  <a:pt x="720214" y="1709636"/>
                </a:lnTo>
                <a:lnTo>
                  <a:pt x="777978" y="1833769"/>
                </a:lnTo>
                <a:lnTo>
                  <a:pt x="827139" y="1804272"/>
                </a:lnTo>
                <a:lnTo>
                  <a:pt x="769375" y="1681369"/>
                </a:lnTo>
                <a:close/>
                <a:moveTo>
                  <a:pt x="887362" y="1681369"/>
                </a:moveTo>
                <a:lnTo>
                  <a:pt x="840659" y="1715782"/>
                </a:lnTo>
                <a:lnTo>
                  <a:pt x="908255" y="1834997"/>
                </a:lnTo>
                <a:lnTo>
                  <a:pt x="954959" y="1800584"/>
                </a:lnTo>
                <a:lnTo>
                  <a:pt x="887362" y="1681369"/>
                </a:lnTo>
                <a:close/>
                <a:moveTo>
                  <a:pt x="1005350" y="1681369"/>
                </a:moveTo>
                <a:lnTo>
                  <a:pt x="959875" y="1720698"/>
                </a:lnTo>
                <a:lnTo>
                  <a:pt x="1037304" y="1833769"/>
                </a:lnTo>
                <a:lnTo>
                  <a:pt x="1082778" y="1794440"/>
                </a:lnTo>
                <a:lnTo>
                  <a:pt x="1005350" y="1681369"/>
                </a:lnTo>
                <a:close/>
                <a:moveTo>
                  <a:pt x="1242552" y="1681369"/>
                </a:moveTo>
                <a:lnTo>
                  <a:pt x="1200765" y="1730530"/>
                </a:lnTo>
                <a:lnTo>
                  <a:pt x="1297860" y="1834997"/>
                </a:lnTo>
                <a:lnTo>
                  <a:pt x="1338417" y="1785836"/>
                </a:lnTo>
                <a:lnTo>
                  <a:pt x="1242552" y="1681369"/>
                </a:lnTo>
                <a:close/>
                <a:moveTo>
                  <a:pt x="1359311" y="1681369"/>
                </a:moveTo>
                <a:lnTo>
                  <a:pt x="1319982" y="1735446"/>
                </a:lnTo>
                <a:lnTo>
                  <a:pt x="1426908" y="1833769"/>
                </a:lnTo>
                <a:lnTo>
                  <a:pt x="1466237" y="1779691"/>
                </a:lnTo>
                <a:lnTo>
                  <a:pt x="1359311" y="1681369"/>
                </a:lnTo>
                <a:close/>
                <a:moveTo>
                  <a:pt x="1476069" y="1682597"/>
                </a:moveTo>
                <a:lnTo>
                  <a:pt x="1439198" y="1741591"/>
                </a:lnTo>
                <a:lnTo>
                  <a:pt x="1555957" y="1834997"/>
                </a:lnTo>
                <a:lnTo>
                  <a:pt x="1592828" y="1776004"/>
                </a:lnTo>
                <a:lnTo>
                  <a:pt x="1476069" y="1682597"/>
                </a:lnTo>
                <a:close/>
                <a:moveTo>
                  <a:pt x="1123337" y="1682597"/>
                </a:moveTo>
                <a:lnTo>
                  <a:pt x="1080320" y="1726842"/>
                </a:lnTo>
                <a:lnTo>
                  <a:pt x="1167582" y="1834997"/>
                </a:lnTo>
                <a:lnTo>
                  <a:pt x="1210598" y="1790752"/>
                </a:lnTo>
                <a:lnTo>
                  <a:pt x="1123337" y="1682597"/>
                </a:lnTo>
                <a:close/>
                <a:moveTo>
                  <a:pt x="178209" y="1873098"/>
                </a:moveTo>
                <a:lnTo>
                  <a:pt x="119216" y="1878014"/>
                </a:lnTo>
                <a:lnTo>
                  <a:pt x="129048" y="2026726"/>
                </a:lnTo>
                <a:lnTo>
                  <a:pt x="188042" y="2021810"/>
                </a:lnTo>
                <a:lnTo>
                  <a:pt x="178209" y="1873098"/>
                </a:lnTo>
                <a:close/>
                <a:moveTo>
                  <a:pt x="415413" y="1873098"/>
                </a:moveTo>
                <a:lnTo>
                  <a:pt x="360106" y="1887846"/>
                </a:lnTo>
                <a:lnTo>
                  <a:pt x="389603" y="2026726"/>
                </a:lnTo>
                <a:lnTo>
                  <a:pt x="444910" y="2011978"/>
                </a:lnTo>
                <a:lnTo>
                  <a:pt x="415413" y="1873098"/>
                </a:lnTo>
                <a:close/>
                <a:moveTo>
                  <a:pt x="651388" y="1873098"/>
                </a:moveTo>
                <a:lnTo>
                  <a:pt x="599769" y="1897679"/>
                </a:lnTo>
                <a:lnTo>
                  <a:pt x="648930" y="2026726"/>
                </a:lnTo>
                <a:lnTo>
                  <a:pt x="699320" y="2002146"/>
                </a:lnTo>
                <a:lnTo>
                  <a:pt x="651388" y="1873098"/>
                </a:lnTo>
                <a:close/>
                <a:moveTo>
                  <a:pt x="1359311" y="1873098"/>
                </a:moveTo>
                <a:lnTo>
                  <a:pt x="1319982" y="1928404"/>
                </a:lnTo>
                <a:lnTo>
                  <a:pt x="1426908" y="2026726"/>
                </a:lnTo>
                <a:lnTo>
                  <a:pt x="1466237" y="1972649"/>
                </a:lnTo>
                <a:lnTo>
                  <a:pt x="1359311" y="1873098"/>
                </a:lnTo>
                <a:close/>
                <a:moveTo>
                  <a:pt x="1476069" y="1874326"/>
                </a:moveTo>
                <a:lnTo>
                  <a:pt x="1439198" y="1933320"/>
                </a:lnTo>
                <a:lnTo>
                  <a:pt x="1555957" y="2026726"/>
                </a:lnTo>
                <a:lnTo>
                  <a:pt x="1592828" y="1967733"/>
                </a:lnTo>
                <a:lnTo>
                  <a:pt x="1476069" y="1874326"/>
                </a:lnTo>
                <a:close/>
                <a:moveTo>
                  <a:pt x="769375" y="1874326"/>
                </a:moveTo>
                <a:lnTo>
                  <a:pt x="720214" y="1903823"/>
                </a:lnTo>
                <a:lnTo>
                  <a:pt x="777978" y="2027956"/>
                </a:lnTo>
                <a:lnTo>
                  <a:pt x="827139" y="1998459"/>
                </a:lnTo>
                <a:lnTo>
                  <a:pt x="769375" y="1874326"/>
                </a:lnTo>
                <a:close/>
                <a:moveTo>
                  <a:pt x="887362" y="1874326"/>
                </a:moveTo>
                <a:lnTo>
                  <a:pt x="840659" y="1908739"/>
                </a:lnTo>
                <a:lnTo>
                  <a:pt x="908255" y="2026726"/>
                </a:lnTo>
                <a:lnTo>
                  <a:pt x="954959" y="1993543"/>
                </a:lnTo>
                <a:lnTo>
                  <a:pt x="887362" y="1874326"/>
                </a:lnTo>
                <a:close/>
                <a:moveTo>
                  <a:pt x="1005350" y="1874326"/>
                </a:moveTo>
                <a:lnTo>
                  <a:pt x="959875" y="1913655"/>
                </a:lnTo>
                <a:lnTo>
                  <a:pt x="1037304" y="2026726"/>
                </a:lnTo>
                <a:lnTo>
                  <a:pt x="1082778" y="1987397"/>
                </a:lnTo>
                <a:lnTo>
                  <a:pt x="1005350" y="1874326"/>
                </a:lnTo>
                <a:close/>
                <a:moveTo>
                  <a:pt x="1123337" y="1874326"/>
                </a:moveTo>
                <a:lnTo>
                  <a:pt x="1080320" y="1918571"/>
                </a:lnTo>
                <a:lnTo>
                  <a:pt x="1167582" y="2026726"/>
                </a:lnTo>
                <a:lnTo>
                  <a:pt x="1210598" y="1982481"/>
                </a:lnTo>
                <a:lnTo>
                  <a:pt x="1123337" y="1874326"/>
                </a:lnTo>
                <a:close/>
                <a:moveTo>
                  <a:pt x="1242552" y="1874326"/>
                </a:moveTo>
                <a:lnTo>
                  <a:pt x="1200765" y="1923488"/>
                </a:lnTo>
                <a:lnTo>
                  <a:pt x="1297860" y="2026726"/>
                </a:lnTo>
                <a:lnTo>
                  <a:pt x="1338417" y="1977565"/>
                </a:lnTo>
                <a:lnTo>
                  <a:pt x="1242552" y="1874326"/>
                </a:lnTo>
                <a:close/>
                <a:moveTo>
                  <a:pt x="532171" y="1874326"/>
                </a:moveTo>
                <a:lnTo>
                  <a:pt x="479323" y="1893991"/>
                </a:lnTo>
                <a:lnTo>
                  <a:pt x="518652" y="2026726"/>
                </a:lnTo>
                <a:lnTo>
                  <a:pt x="571500" y="2008292"/>
                </a:lnTo>
                <a:lnTo>
                  <a:pt x="532171" y="1874326"/>
                </a:lnTo>
                <a:close/>
                <a:moveTo>
                  <a:pt x="296197" y="1874326"/>
                </a:moveTo>
                <a:lnTo>
                  <a:pt x="239661" y="1884159"/>
                </a:lnTo>
                <a:lnTo>
                  <a:pt x="259326" y="2027956"/>
                </a:lnTo>
                <a:lnTo>
                  <a:pt x="315861" y="2018124"/>
                </a:lnTo>
                <a:lnTo>
                  <a:pt x="296197" y="1874326"/>
                </a:lnTo>
                <a:close/>
                <a:moveTo>
                  <a:pt x="1242552" y="2062369"/>
                </a:moveTo>
                <a:lnTo>
                  <a:pt x="1200765" y="2112759"/>
                </a:lnTo>
                <a:lnTo>
                  <a:pt x="1297860" y="2217227"/>
                </a:lnTo>
                <a:lnTo>
                  <a:pt x="1338417" y="2168066"/>
                </a:lnTo>
                <a:lnTo>
                  <a:pt x="1242552" y="2062369"/>
                </a:lnTo>
                <a:close/>
                <a:moveTo>
                  <a:pt x="1476069" y="2063597"/>
                </a:moveTo>
                <a:lnTo>
                  <a:pt x="1439198" y="2122591"/>
                </a:lnTo>
                <a:lnTo>
                  <a:pt x="1555957" y="2217227"/>
                </a:lnTo>
                <a:lnTo>
                  <a:pt x="1592828" y="2158234"/>
                </a:lnTo>
                <a:lnTo>
                  <a:pt x="1476069" y="2063597"/>
                </a:lnTo>
                <a:close/>
                <a:moveTo>
                  <a:pt x="1359311" y="2064827"/>
                </a:moveTo>
                <a:lnTo>
                  <a:pt x="1319982" y="2118905"/>
                </a:lnTo>
                <a:lnTo>
                  <a:pt x="1426908" y="2217227"/>
                </a:lnTo>
                <a:lnTo>
                  <a:pt x="1466237" y="2163150"/>
                </a:lnTo>
                <a:lnTo>
                  <a:pt x="1359311" y="2064827"/>
                </a:lnTo>
                <a:close/>
                <a:moveTo>
                  <a:pt x="178209" y="2063597"/>
                </a:moveTo>
                <a:lnTo>
                  <a:pt x="119216" y="2068514"/>
                </a:lnTo>
                <a:lnTo>
                  <a:pt x="129048" y="2217227"/>
                </a:lnTo>
                <a:lnTo>
                  <a:pt x="188042" y="2212311"/>
                </a:lnTo>
                <a:lnTo>
                  <a:pt x="178209" y="2063597"/>
                </a:lnTo>
                <a:close/>
                <a:moveTo>
                  <a:pt x="296197" y="2063597"/>
                </a:moveTo>
                <a:lnTo>
                  <a:pt x="239661" y="2073430"/>
                </a:lnTo>
                <a:lnTo>
                  <a:pt x="259326" y="2217227"/>
                </a:lnTo>
                <a:lnTo>
                  <a:pt x="315861" y="2207395"/>
                </a:lnTo>
                <a:lnTo>
                  <a:pt x="296197" y="2063597"/>
                </a:lnTo>
                <a:close/>
                <a:moveTo>
                  <a:pt x="532171" y="2063597"/>
                </a:moveTo>
                <a:lnTo>
                  <a:pt x="479323" y="2084492"/>
                </a:lnTo>
                <a:lnTo>
                  <a:pt x="518652" y="2217227"/>
                </a:lnTo>
                <a:lnTo>
                  <a:pt x="571500" y="2197563"/>
                </a:lnTo>
                <a:lnTo>
                  <a:pt x="532171" y="2063597"/>
                </a:lnTo>
                <a:close/>
                <a:moveTo>
                  <a:pt x="651388" y="2063597"/>
                </a:moveTo>
                <a:lnTo>
                  <a:pt x="599769" y="2089408"/>
                </a:lnTo>
                <a:lnTo>
                  <a:pt x="648930" y="2217227"/>
                </a:lnTo>
                <a:lnTo>
                  <a:pt x="699320" y="2192647"/>
                </a:lnTo>
                <a:lnTo>
                  <a:pt x="651388" y="2063597"/>
                </a:lnTo>
                <a:close/>
                <a:moveTo>
                  <a:pt x="769375" y="2063597"/>
                </a:moveTo>
                <a:lnTo>
                  <a:pt x="720214" y="2094324"/>
                </a:lnTo>
                <a:lnTo>
                  <a:pt x="777978" y="2217227"/>
                </a:lnTo>
                <a:lnTo>
                  <a:pt x="827139" y="2187731"/>
                </a:lnTo>
                <a:lnTo>
                  <a:pt x="769375" y="2063597"/>
                </a:lnTo>
                <a:close/>
                <a:moveTo>
                  <a:pt x="887362" y="2063597"/>
                </a:moveTo>
                <a:lnTo>
                  <a:pt x="840659" y="2098010"/>
                </a:lnTo>
                <a:lnTo>
                  <a:pt x="908255" y="2217227"/>
                </a:lnTo>
                <a:lnTo>
                  <a:pt x="954959" y="2182814"/>
                </a:lnTo>
                <a:lnTo>
                  <a:pt x="887362" y="2063597"/>
                </a:lnTo>
                <a:close/>
                <a:moveTo>
                  <a:pt x="1005350" y="2063597"/>
                </a:moveTo>
                <a:lnTo>
                  <a:pt x="959875" y="2101698"/>
                </a:lnTo>
                <a:lnTo>
                  <a:pt x="1037304" y="2215998"/>
                </a:lnTo>
                <a:lnTo>
                  <a:pt x="1082778" y="2176669"/>
                </a:lnTo>
                <a:lnTo>
                  <a:pt x="1005350" y="2063597"/>
                </a:lnTo>
                <a:close/>
                <a:moveTo>
                  <a:pt x="1123337" y="2063597"/>
                </a:moveTo>
                <a:lnTo>
                  <a:pt x="1080320" y="2109072"/>
                </a:lnTo>
                <a:lnTo>
                  <a:pt x="1167582" y="2217227"/>
                </a:lnTo>
                <a:lnTo>
                  <a:pt x="1210598" y="2172982"/>
                </a:lnTo>
                <a:lnTo>
                  <a:pt x="1123337" y="2063597"/>
                </a:lnTo>
                <a:close/>
                <a:moveTo>
                  <a:pt x="415413" y="2064827"/>
                </a:moveTo>
                <a:lnTo>
                  <a:pt x="360106" y="2079576"/>
                </a:lnTo>
                <a:lnTo>
                  <a:pt x="389603" y="2217227"/>
                </a:lnTo>
                <a:lnTo>
                  <a:pt x="444910" y="2203707"/>
                </a:lnTo>
                <a:lnTo>
                  <a:pt x="415413" y="2064827"/>
                </a:lnTo>
                <a:close/>
                <a:moveTo>
                  <a:pt x="178209" y="2252869"/>
                </a:moveTo>
                <a:lnTo>
                  <a:pt x="119216" y="2257785"/>
                </a:lnTo>
                <a:lnTo>
                  <a:pt x="129048" y="2406498"/>
                </a:lnTo>
                <a:lnTo>
                  <a:pt x="188042" y="2400353"/>
                </a:lnTo>
                <a:lnTo>
                  <a:pt x="178209" y="2252869"/>
                </a:lnTo>
                <a:close/>
                <a:moveTo>
                  <a:pt x="415413" y="2252869"/>
                </a:moveTo>
                <a:lnTo>
                  <a:pt x="360106" y="2267617"/>
                </a:lnTo>
                <a:lnTo>
                  <a:pt x="389603" y="2406498"/>
                </a:lnTo>
                <a:lnTo>
                  <a:pt x="444910" y="2390520"/>
                </a:lnTo>
                <a:lnTo>
                  <a:pt x="415413" y="2252869"/>
                </a:lnTo>
                <a:close/>
                <a:moveTo>
                  <a:pt x="887362" y="2252869"/>
                </a:moveTo>
                <a:lnTo>
                  <a:pt x="840659" y="2287282"/>
                </a:lnTo>
                <a:lnTo>
                  <a:pt x="908255" y="2406498"/>
                </a:lnTo>
                <a:lnTo>
                  <a:pt x="954959" y="2370856"/>
                </a:lnTo>
                <a:lnTo>
                  <a:pt x="887362" y="2252869"/>
                </a:lnTo>
                <a:close/>
                <a:moveTo>
                  <a:pt x="1240094" y="2252869"/>
                </a:moveTo>
                <a:lnTo>
                  <a:pt x="1199537" y="2302030"/>
                </a:lnTo>
                <a:lnTo>
                  <a:pt x="1296630" y="2406498"/>
                </a:lnTo>
                <a:lnTo>
                  <a:pt x="1338417" y="2357337"/>
                </a:lnTo>
                <a:lnTo>
                  <a:pt x="1240094" y="2252869"/>
                </a:lnTo>
                <a:close/>
                <a:moveTo>
                  <a:pt x="1359311" y="2254098"/>
                </a:moveTo>
                <a:lnTo>
                  <a:pt x="1319982" y="2308176"/>
                </a:lnTo>
                <a:lnTo>
                  <a:pt x="1426908" y="2407727"/>
                </a:lnTo>
                <a:lnTo>
                  <a:pt x="1466237" y="2352421"/>
                </a:lnTo>
                <a:lnTo>
                  <a:pt x="1359311" y="2254098"/>
                </a:lnTo>
                <a:close/>
                <a:moveTo>
                  <a:pt x="1005350" y="2254098"/>
                </a:moveTo>
                <a:lnTo>
                  <a:pt x="959875" y="2293427"/>
                </a:lnTo>
                <a:lnTo>
                  <a:pt x="1037304" y="2406498"/>
                </a:lnTo>
                <a:lnTo>
                  <a:pt x="1082778" y="2367169"/>
                </a:lnTo>
                <a:lnTo>
                  <a:pt x="1005350" y="2254098"/>
                </a:lnTo>
                <a:close/>
                <a:moveTo>
                  <a:pt x="1123337" y="2254098"/>
                </a:moveTo>
                <a:lnTo>
                  <a:pt x="1080320" y="2298344"/>
                </a:lnTo>
                <a:lnTo>
                  <a:pt x="1167582" y="2406498"/>
                </a:lnTo>
                <a:lnTo>
                  <a:pt x="1210598" y="2362253"/>
                </a:lnTo>
                <a:lnTo>
                  <a:pt x="1123337" y="2254098"/>
                </a:lnTo>
                <a:close/>
                <a:moveTo>
                  <a:pt x="532171" y="2254098"/>
                </a:moveTo>
                <a:lnTo>
                  <a:pt x="479323" y="2273763"/>
                </a:lnTo>
                <a:lnTo>
                  <a:pt x="518652" y="2406498"/>
                </a:lnTo>
                <a:lnTo>
                  <a:pt x="571500" y="2386834"/>
                </a:lnTo>
                <a:lnTo>
                  <a:pt x="532171" y="2254098"/>
                </a:lnTo>
                <a:close/>
                <a:moveTo>
                  <a:pt x="651388" y="2254098"/>
                </a:moveTo>
                <a:lnTo>
                  <a:pt x="599769" y="2277449"/>
                </a:lnTo>
                <a:lnTo>
                  <a:pt x="648930" y="2406498"/>
                </a:lnTo>
                <a:lnTo>
                  <a:pt x="699320" y="2381918"/>
                </a:lnTo>
                <a:lnTo>
                  <a:pt x="651388" y="2254098"/>
                </a:lnTo>
                <a:close/>
                <a:moveTo>
                  <a:pt x="768145" y="2254098"/>
                </a:moveTo>
                <a:lnTo>
                  <a:pt x="720214" y="2282365"/>
                </a:lnTo>
                <a:lnTo>
                  <a:pt x="777978" y="2406498"/>
                </a:lnTo>
                <a:lnTo>
                  <a:pt x="827139" y="2377002"/>
                </a:lnTo>
                <a:lnTo>
                  <a:pt x="768145" y="2254098"/>
                </a:lnTo>
                <a:close/>
                <a:moveTo>
                  <a:pt x="296197" y="2254098"/>
                </a:moveTo>
                <a:lnTo>
                  <a:pt x="239661" y="2262701"/>
                </a:lnTo>
                <a:lnTo>
                  <a:pt x="259326" y="2406498"/>
                </a:lnTo>
                <a:lnTo>
                  <a:pt x="315861" y="2396666"/>
                </a:lnTo>
                <a:lnTo>
                  <a:pt x="296197" y="2254098"/>
                </a:lnTo>
                <a:close/>
                <a:moveTo>
                  <a:pt x="651388" y="2447056"/>
                </a:moveTo>
                <a:lnTo>
                  <a:pt x="599769" y="2471637"/>
                </a:lnTo>
                <a:lnTo>
                  <a:pt x="648930" y="2600686"/>
                </a:lnTo>
                <a:lnTo>
                  <a:pt x="699320" y="2574875"/>
                </a:lnTo>
                <a:lnTo>
                  <a:pt x="651388" y="2447056"/>
                </a:lnTo>
                <a:close/>
                <a:moveTo>
                  <a:pt x="887362" y="2447056"/>
                </a:moveTo>
                <a:lnTo>
                  <a:pt x="840659" y="2481469"/>
                </a:lnTo>
                <a:lnTo>
                  <a:pt x="908255" y="2600686"/>
                </a:lnTo>
                <a:lnTo>
                  <a:pt x="954959" y="2566273"/>
                </a:lnTo>
                <a:lnTo>
                  <a:pt x="887362" y="2447056"/>
                </a:lnTo>
                <a:close/>
                <a:moveTo>
                  <a:pt x="1123337" y="2447056"/>
                </a:moveTo>
                <a:lnTo>
                  <a:pt x="1080320" y="2491301"/>
                </a:lnTo>
                <a:lnTo>
                  <a:pt x="1167582" y="2600686"/>
                </a:lnTo>
                <a:lnTo>
                  <a:pt x="1210598" y="2556441"/>
                </a:lnTo>
                <a:lnTo>
                  <a:pt x="1123337" y="2447056"/>
                </a:lnTo>
                <a:close/>
                <a:moveTo>
                  <a:pt x="1242552" y="2447056"/>
                </a:moveTo>
                <a:lnTo>
                  <a:pt x="1200765" y="2496217"/>
                </a:lnTo>
                <a:lnTo>
                  <a:pt x="1297860" y="2600686"/>
                </a:lnTo>
                <a:lnTo>
                  <a:pt x="1338417" y="2551524"/>
                </a:lnTo>
                <a:lnTo>
                  <a:pt x="1242552" y="2447056"/>
                </a:lnTo>
                <a:close/>
                <a:moveTo>
                  <a:pt x="1359311" y="2448286"/>
                </a:moveTo>
                <a:lnTo>
                  <a:pt x="1319982" y="2502363"/>
                </a:lnTo>
                <a:lnTo>
                  <a:pt x="1426908" y="2600686"/>
                </a:lnTo>
                <a:lnTo>
                  <a:pt x="1466237" y="2546608"/>
                </a:lnTo>
                <a:lnTo>
                  <a:pt x="1359311" y="2448286"/>
                </a:lnTo>
                <a:close/>
                <a:moveTo>
                  <a:pt x="1005350" y="2448286"/>
                </a:moveTo>
                <a:lnTo>
                  <a:pt x="959875" y="2487615"/>
                </a:lnTo>
                <a:lnTo>
                  <a:pt x="1037304" y="2600686"/>
                </a:lnTo>
                <a:lnTo>
                  <a:pt x="1082778" y="2561357"/>
                </a:lnTo>
                <a:lnTo>
                  <a:pt x="1005350" y="2448286"/>
                </a:lnTo>
                <a:close/>
                <a:moveTo>
                  <a:pt x="769375" y="2448286"/>
                </a:moveTo>
                <a:lnTo>
                  <a:pt x="720214" y="2477782"/>
                </a:lnTo>
                <a:lnTo>
                  <a:pt x="777978" y="2601914"/>
                </a:lnTo>
                <a:lnTo>
                  <a:pt x="827139" y="2572417"/>
                </a:lnTo>
                <a:lnTo>
                  <a:pt x="769375" y="2448286"/>
                </a:lnTo>
                <a:close/>
                <a:moveTo>
                  <a:pt x="178209" y="2448286"/>
                </a:moveTo>
                <a:lnTo>
                  <a:pt x="119216" y="2453202"/>
                </a:lnTo>
                <a:lnTo>
                  <a:pt x="129048" y="2601914"/>
                </a:lnTo>
                <a:lnTo>
                  <a:pt x="188042" y="2596998"/>
                </a:lnTo>
                <a:lnTo>
                  <a:pt x="178209" y="2448286"/>
                </a:lnTo>
                <a:close/>
                <a:moveTo>
                  <a:pt x="297426" y="2448286"/>
                </a:moveTo>
                <a:lnTo>
                  <a:pt x="240891" y="2458118"/>
                </a:lnTo>
                <a:lnTo>
                  <a:pt x="260555" y="2601914"/>
                </a:lnTo>
                <a:lnTo>
                  <a:pt x="317091" y="2592082"/>
                </a:lnTo>
                <a:lnTo>
                  <a:pt x="297426" y="2448286"/>
                </a:lnTo>
                <a:close/>
                <a:moveTo>
                  <a:pt x="415413" y="2448286"/>
                </a:moveTo>
                <a:lnTo>
                  <a:pt x="360106" y="2463034"/>
                </a:lnTo>
                <a:lnTo>
                  <a:pt x="389603" y="2601914"/>
                </a:lnTo>
                <a:lnTo>
                  <a:pt x="444910" y="2587166"/>
                </a:lnTo>
                <a:lnTo>
                  <a:pt x="415413" y="2448286"/>
                </a:lnTo>
                <a:close/>
                <a:moveTo>
                  <a:pt x="532171" y="2448286"/>
                </a:moveTo>
                <a:lnTo>
                  <a:pt x="479323" y="2467950"/>
                </a:lnTo>
                <a:lnTo>
                  <a:pt x="518652" y="2601914"/>
                </a:lnTo>
                <a:lnTo>
                  <a:pt x="571500" y="2582250"/>
                </a:lnTo>
                <a:lnTo>
                  <a:pt x="532171" y="2448286"/>
                </a:lnTo>
                <a:close/>
                <a:moveTo>
                  <a:pt x="415413" y="2641243"/>
                </a:moveTo>
                <a:lnTo>
                  <a:pt x="360106" y="2655992"/>
                </a:lnTo>
                <a:lnTo>
                  <a:pt x="389603" y="2794873"/>
                </a:lnTo>
                <a:lnTo>
                  <a:pt x="444910" y="2780125"/>
                </a:lnTo>
                <a:lnTo>
                  <a:pt x="415413" y="2641243"/>
                </a:lnTo>
                <a:close/>
                <a:moveTo>
                  <a:pt x="651388" y="2641243"/>
                </a:moveTo>
                <a:lnTo>
                  <a:pt x="599769" y="2665824"/>
                </a:lnTo>
                <a:lnTo>
                  <a:pt x="648930" y="2794873"/>
                </a:lnTo>
                <a:lnTo>
                  <a:pt x="699320" y="2769063"/>
                </a:lnTo>
                <a:lnTo>
                  <a:pt x="651388" y="2641243"/>
                </a:lnTo>
                <a:close/>
                <a:moveTo>
                  <a:pt x="769375" y="2642473"/>
                </a:moveTo>
                <a:lnTo>
                  <a:pt x="720214" y="2671970"/>
                </a:lnTo>
                <a:lnTo>
                  <a:pt x="777978" y="2796101"/>
                </a:lnTo>
                <a:lnTo>
                  <a:pt x="827139" y="2766605"/>
                </a:lnTo>
                <a:lnTo>
                  <a:pt x="769375" y="2642473"/>
                </a:lnTo>
                <a:close/>
                <a:moveTo>
                  <a:pt x="887362" y="2642473"/>
                </a:moveTo>
                <a:lnTo>
                  <a:pt x="840659" y="2676886"/>
                </a:lnTo>
                <a:lnTo>
                  <a:pt x="908255" y="2796101"/>
                </a:lnTo>
                <a:lnTo>
                  <a:pt x="954959" y="2761689"/>
                </a:lnTo>
                <a:lnTo>
                  <a:pt x="887362" y="2642473"/>
                </a:lnTo>
                <a:close/>
                <a:moveTo>
                  <a:pt x="1005350" y="2642473"/>
                </a:moveTo>
                <a:lnTo>
                  <a:pt x="959875" y="2681802"/>
                </a:lnTo>
                <a:lnTo>
                  <a:pt x="1037304" y="2794873"/>
                </a:lnTo>
                <a:lnTo>
                  <a:pt x="1082778" y="2755544"/>
                </a:lnTo>
                <a:lnTo>
                  <a:pt x="1005350" y="2642473"/>
                </a:lnTo>
                <a:close/>
                <a:moveTo>
                  <a:pt x="1123337" y="2642473"/>
                </a:moveTo>
                <a:lnTo>
                  <a:pt x="1080320" y="2686718"/>
                </a:lnTo>
                <a:lnTo>
                  <a:pt x="1167582" y="2796101"/>
                </a:lnTo>
                <a:lnTo>
                  <a:pt x="1210598" y="2751856"/>
                </a:lnTo>
                <a:lnTo>
                  <a:pt x="1123337" y="2642473"/>
                </a:lnTo>
                <a:close/>
                <a:moveTo>
                  <a:pt x="1240094" y="2642473"/>
                </a:moveTo>
                <a:lnTo>
                  <a:pt x="1199537" y="2691634"/>
                </a:lnTo>
                <a:lnTo>
                  <a:pt x="1296630" y="2794873"/>
                </a:lnTo>
                <a:lnTo>
                  <a:pt x="1338417" y="2745712"/>
                </a:lnTo>
                <a:lnTo>
                  <a:pt x="1240094" y="2642473"/>
                </a:lnTo>
                <a:close/>
                <a:moveTo>
                  <a:pt x="1359311" y="2642473"/>
                </a:moveTo>
                <a:lnTo>
                  <a:pt x="1319982" y="2696550"/>
                </a:lnTo>
                <a:lnTo>
                  <a:pt x="1426908" y="2794873"/>
                </a:lnTo>
                <a:lnTo>
                  <a:pt x="1466237" y="2740796"/>
                </a:lnTo>
                <a:lnTo>
                  <a:pt x="1359311" y="2642473"/>
                </a:lnTo>
                <a:close/>
                <a:moveTo>
                  <a:pt x="532171" y="2642473"/>
                </a:moveTo>
                <a:lnTo>
                  <a:pt x="479323" y="2662137"/>
                </a:lnTo>
                <a:lnTo>
                  <a:pt x="518652" y="2796101"/>
                </a:lnTo>
                <a:lnTo>
                  <a:pt x="571500" y="2776437"/>
                </a:lnTo>
                <a:lnTo>
                  <a:pt x="532171" y="2642473"/>
                </a:lnTo>
                <a:close/>
                <a:moveTo>
                  <a:pt x="179439" y="2642473"/>
                </a:moveTo>
                <a:lnTo>
                  <a:pt x="120445" y="2647389"/>
                </a:lnTo>
                <a:lnTo>
                  <a:pt x="129048" y="2796101"/>
                </a:lnTo>
                <a:lnTo>
                  <a:pt x="189271" y="2791185"/>
                </a:lnTo>
                <a:lnTo>
                  <a:pt x="179439" y="2642473"/>
                </a:lnTo>
                <a:close/>
                <a:moveTo>
                  <a:pt x="296197" y="2642473"/>
                </a:moveTo>
                <a:lnTo>
                  <a:pt x="239661" y="2652305"/>
                </a:lnTo>
                <a:lnTo>
                  <a:pt x="259326" y="2796101"/>
                </a:lnTo>
                <a:lnTo>
                  <a:pt x="315861" y="2786269"/>
                </a:lnTo>
                <a:lnTo>
                  <a:pt x="296197" y="2642473"/>
                </a:lnTo>
                <a:close/>
                <a:moveTo>
                  <a:pt x="178209" y="2836660"/>
                </a:moveTo>
                <a:lnTo>
                  <a:pt x="119216" y="2841576"/>
                </a:lnTo>
                <a:lnTo>
                  <a:pt x="129048" y="2990289"/>
                </a:lnTo>
                <a:lnTo>
                  <a:pt x="188042" y="2985373"/>
                </a:lnTo>
                <a:lnTo>
                  <a:pt x="178209" y="2836660"/>
                </a:lnTo>
                <a:close/>
                <a:moveTo>
                  <a:pt x="296197" y="2836660"/>
                </a:moveTo>
                <a:lnTo>
                  <a:pt x="239661" y="2846493"/>
                </a:lnTo>
                <a:lnTo>
                  <a:pt x="259326" y="2990289"/>
                </a:lnTo>
                <a:lnTo>
                  <a:pt x="315861" y="2980457"/>
                </a:lnTo>
                <a:lnTo>
                  <a:pt x="296197" y="2836660"/>
                </a:lnTo>
                <a:close/>
                <a:moveTo>
                  <a:pt x="415413" y="2836660"/>
                </a:moveTo>
                <a:lnTo>
                  <a:pt x="360106" y="2851409"/>
                </a:lnTo>
                <a:lnTo>
                  <a:pt x="389603" y="2990289"/>
                </a:lnTo>
                <a:lnTo>
                  <a:pt x="444910" y="2975540"/>
                </a:lnTo>
                <a:lnTo>
                  <a:pt x="415413" y="2836660"/>
                </a:lnTo>
                <a:close/>
                <a:moveTo>
                  <a:pt x="532171" y="2836660"/>
                </a:moveTo>
                <a:lnTo>
                  <a:pt x="479323" y="2856325"/>
                </a:lnTo>
                <a:lnTo>
                  <a:pt x="518652" y="2990289"/>
                </a:lnTo>
                <a:lnTo>
                  <a:pt x="571500" y="2970624"/>
                </a:lnTo>
                <a:lnTo>
                  <a:pt x="532171" y="2836660"/>
                </a:lnTo>
                <a:close/>
                <a:moveTo>
                  <a:pt x="651388" y="2836660"/>
                </a:moveTo>
                <a:lnTo>
                  <a:pt x="599769" y="2861241"/>
                </a:lnTo>
                <a:lnTo>
                  <a:pt x="648930" y="2990289"/>
                </a:lnTo>
                <a:lnTo>
                  <a:pt x="699320" y="2964480"/>
                </a:lnTo>
                <a:lnTo>
                  <a:pt x="651388" y="2836660"/>
                </a:lnTo>
                <a:close/>
                <a:moveTo>
                  <a:pt x="769375" y="2836660"/>
                </a:moveTo>
                <a:lnTo>
                  <a:pt x="720214" y="2864927"/>
                </a:lnTo>
                <a:lnTo>
                  <a:pt x="777978" y="2989060"/>
                </a:lnTo>
                <a:lnTo>
                  <a:pt x="827139" y="2959564"/>
                </a:lnTo>
                <a:lnTo>
                  <a:pt x="769375" y="2836660"/>
                </a:lnTo>
                <a:close/>
                <a:moveTo>
                  <a:pt x="887362" y="2836660"/>
                </a:moveTo>
                <a:lnTo>
                  <a:pt x="840659" y="2871073"/>
                </a:lnTo>
                <a:lnTo>
                  <a:pt x="908255" y="2990289"/>
                </a:lnTo>
                <a:lnTo>
                  <a:pt x="954959" y="2955876"/>
                </a:lnTo>
                <a:lnTo>
                  <a:pt x="887362" y="2836660"/>
                </a:lnTo>
                <a:close/>
                <a:moveTo>
                  <a:pt x="1005350" y="2836660"/>
                </a:moveTo>
                <a:lnTo>
                  <a:pt x="959875" y="2874760"/>
                </a:lnTo>
                <a:lnTo>
                  <a:pt x="1037304" y="2989060"/>
                </a:lnTo>
                <a:lnTo>
                  <a:pt x="1082778" y="2949731"/>
                </a:lnTo>
                <a:lnTo>
                  <a:pt x="1005350" y="2836660"/>
                </a:lnTo>
                <a:close/>
                <a:moveTo>
                  <a:pt x="1240094" y="2836660"/>
                </a:moveTo>
                <a:lnTo>
                  <a:pt x="1199537" y="2885822"/>
                </a:lnTo>
                <a:lnTo>
                  <a:pt x="1296630" y="2990289"/>
                </a:lnTo>
                <a:lnTo>
                  <a:pt x="1338417" y="2941127"/>
                </a:lnTo>
                <a:lnTo>
                  <a:pt x="1240094" y="2836660"/>
                </a:lnTo>
                <a:close/>
                <a:moveTo>
                  <a:pt x="1359311" y="2836660"/>
                </a:moveTo>
                <a:lnTo>
                  <a:pt x="1319982" y="2890738"/>
                </a:lnTo>
                <a:lnTo>
                  <a:pt x="1426908" y="2989060"/>
                </a:lnTo>
                <a:lnTo>
                  <a:pt x="1466237" y="2934983"/>
                </a:lnTo>
                <a:lnTo>
                  <a:pt x="1359311" y="2836660"/>
                </a:lnTo>
                <a:close/>
                <a:moveTo>
                  <a:pt x="1123337" y="2837889"/>
                </a:moveTo>
                <a:lnTo>
                  <a:pt x="1080320" y="2882134"/>
                </a:lnTo>
                <a:lnTo>
                  <a:pt x="1167582" y="2990289"/>
                </a:lnTo>
                <a:lnTo>
                  <a:pt x="1210598" y="2946044"/>
                </a:lnTo>
                <a:lnTo>
                  <a:pt x="1123337" y="2837889"/>
                </a:lnTo>
                <a:close/>
                <a:moveTo>
                  <a:pt x="178209" y="3030848"/>
                </a:moveTo>
                <a:lnTo>
                  <a:pt x="119216" y="3035764"/>
                </a:lnTo>
                <a:lnTo>
                  <a:pt x="129048" y="3184476"/>
                </a:lnTo>
                <a:lnTo>
                  <a:pt x="188042" y="3179560"/>
                </a:lnTo>
                <a:lnTo>
                  <a:pt x="178209" y="3030848"/>
                </a:lnTo>
                <a:close/>
                <a:moveTo>
                  <a:pt x="296197" y="3030848"/>
                </a:moveTo>
                <a:lnTo>
                  <a:pt x="239661" y="3040680"/>
                </a:lnTo>
                <a:lnTo>
                  <a:pt x="259326" y="3184476"/>
                </a:lnTo>
                <a:lnTo>
                  <a:pt x="315861" y="3174644"/>
                </a:lnTo>
                <a:lnTo>
                  <a:pt x="296197" y="3030848"/>
                </a:lnTo>
                <a:close/>
                <a:moveTo>
                  <a:pt x="415413" y="3030848"/>
                </a:moveTo>
                <a:lnTo>
                  <a:pt x="360106" y="3045596"/>
                </a:lnTo>
                <a:lnTo>
                  <a:pt x="389603" y="3184476"/>
                </a:lnTo>
                <a:lnTo>
                  <a:pt x="444910" y="3169728"/>
                </a:lnTo>
                <a:lnTo>
                  <a:pt x="415413" y="3030848"/>
                </a:lnTo>
                <a:close/>
                <a:moveTo>
                  <a:pt x="532171" y="3030848"/>
                </a:moveTo>
                <a:lnTo>
                  <a:pt x="479323" y="3050512"/>
                </a:lnTo>
                <a:lnTo>
                  <a:pt x="518652" y="3184476"/>
                </a:lnTo>
                <a:lnTo>
                  <a:pt x="571500" y="3164812"/>
                </a:lnTo>
                <a:lnTo>
                  <a:pt x="532171" y="3030848"/>
                </a:lnTo>
                <a:close/>
                <a:moveTo>
                  <a:pt x="651388" y="3030848"/>
                </a:moveTo>
                <a:lnTo>
                  <a:pt x="599769" y="3055428"/>
                </a:lnTo>
                <a:lnTo>
                  <a:pt x="648930" y="3184476"/>
                </a:lnTo>
                <a:lnTo>
                  <a:pt x="699320" y="3158667"/>
                </a:lnTo>
                <a:lnTo>
                  <a:pt x="651388" y="3030848"/>
                </a:lnTo>
                <a:close/>
                <a:moveTo>
                  <a:pt x="887362" y="3030848"/>
                </a:moveTo>
                <a:lnTo>
                  <a:pt x="840659" y="3065260"/>
                </a:lnTo>
                <a:lnTo>
                  <a:pt x="908255" y="3184476"/>
                </a:lnTo>
                <a:lnTo>
                  <a:pt x="954959" y="3148835"/>
                </a:lnTo>
                <a:lnTo>
                  <a:pt x="887362" y="3030848"/>
                </a:lnTo>
                <a:close/>
                <a:moveTo>
                  <a:pt x="1005350" y="3030848"/>
                </a:moveTo>
                <a:lnTo>
                  <a:pt x="959875" y="3070177"/>
                </a:lnTo>
                <a:lnTo>
                  <a:pt x="1037304" y="3183248"/>
                </a:lnTo>
                <a:lnTo>
                  <a:pt x="1082778" y="3143919"/>
                </a:lnTo>
                <a:lnTo>
                  <a:pt x="1005350" y="3030848"/>
                </a:lnTo>
                <a:close/>
                <a:moveTo>
                  <a:pt x="1240094" y="3030848"/>
                </a:moveTo>
                <a:lnTo>
                  <a:pt x="1199537" y="3080009"/>
                </a:lnTo>
                <a:lnTo>
                  <a:pt x="1296630" y="3184476"/>
                </a:lnTo>
                <a:lnTo>
                  <a:pt x="1338417" y="3135315"/>
                </a:lnTo>
                <a:lnTo>
                  <a:pt x="1240094" y="3030848"/>
                </a:lnTo>
                <a:close/>
                <a:moveTo>
                  <a:pt x="1359311" y="3032076"/>
                </a:moveTo>
                <a:lnTo>
                  <a:pt x="1319982" y="3086153"/>
                </a:lnTo>
                <a:lnTo>
                  <a:pt x="1426908" y="3185706"/>
                </a:lnTo>
                <a:lnTo>
                  <a:pt x="1466237" y="3130399"/>
                </a:lnTo>
                <a:lnTo>
                  <a:pt x="1359311" y="3032076"/>
                </a:lnTo>
                <a:close/>
                <a:moveTo>
                  <a:pt x="1123337" y="3032076"/>
                </a:moveTo>
                <a:lnTo>
                  <a:pt x="1080320" y="3076321"/>
                </a:lnTo>
                <a:lnTo>
                  <a:pt x="1167582" y="3184476"/>
                </a:lnTo>
                <a:lnTo>
                  <a:pt x="1210598" y="3140231"/>
                </a:lnTo>
                <a:lnTo>
                  <a:pt x="1123337" y="3032076"/>
                </a:lnTo>
                <a:close/>
                <a:moveTo>
                  <a:pt x="770604" y="3032076"/>
                </a:moveTo>
                <a:lnTo>
                  <a:pt x="721442" y="3061573"/>
                </a:lnTo>
                <a:lnTo>
                  <a:pt x="779207" y="3185706"/>
                </a:lnTo>
                <a:lnTo>
                  <a:pt x="828369" y="3154979"/>
                </a:lnTo>
                <a:lnTo>
                  <a:pt x="770604" y="3032076"/>
                </a:lnTo>
                <a:close/>
                <a:moveTo>
                  <a:pt x="178209" y="3225035"/>
                </a:moveTo>
                <a:lnTo>
                  <a:pt x="119216" y="3229951"/>
                </a:lnTo>
                <a:lnTo>
                  <a:pt x="129048" y="3378663"/>
                </a:lnTo>
                <a:lnTo>
                  <a:pt x="188042" y="3373747"/>
                </a:lnTo>
                <a:lnTo>
                  <a:pt x="178209" y="3225035"/>
                </a:lnTo>
                <a:close/>
                <a:moveTo>
                  <a:pt x="296197" y="3225035"/>
                </a:moveTo>
                <a:lnTo>
                  <a:pt x="239661" y="3234867"/>
                </a:lnTo>
                <a:lnTo>
                  <a:pt x="259326" y="3378663"/>
                </a:lnTo>
                <a:lnTo>
                  <a:pt x="315861" y="3368831"/>
                </a:lnTo>
                <a:lnTo>
                  <a:pt x="296197" y="3225035"/>
                </a:lnTo>
                <a:close/>
                <a:moveTo>
                  <a:pt x="415413" y="3225035"/>
                </a:moveTo>
                <a:lnTo>
                  <a:pt x="360106" y="3239783"/>
                </a:lnTo>
                <a:lnTo>
                  <a:pt x="389603" y="3378663"/>
                </a:lnTo>
                <a:lnTo>
                  <a:pt x="444910" y="3363915"/>
                </a:lnTo>
                <a:lnTo>
                  <a:pt x="415413" y="3225035"/>
                </a:lnTo>
                <a:close/>
                <a:moveTo>
                  <a:pt x="532171" y="3225035"/>
                </a:moveTo>
                <a:lnTo>
                  <a:pt x="479323" y="3244699"/>
                </a:lnTo>
                <a:lnTo>
                  <a:pt x="518652" y="3378663"/>
                </a:lnTo>
                <a:lnTo>
                  <a:pt x="571500" y="3358999"/>
                </a:lnTo>
                <a:lnTo>
                  <a:pt x="532171" y="3225035"/>
                </a:lnTo>
                <a:close/>
                <a:moveTo>
                  <a:pt x="651388" y="3225035"/>
                </a:moveTo>
                <a:lnTo>
                  <a:pt x="599769" y="3249616"/>
                </a:lnTo>
                <a:lnTo>
                  <a:pt x="648930" y="3378663"/>
                </a:lnTo>
                <a:lnTo>
                  <a:pt x="699320" y="3352854"/>
                </a:lnTo>
                <a:lnTo>
                  <a:pt x="651388" y="3225035"/>
                </a:lnTo>
                <a:close/>
                <a:moveTo>
                  <a:pt x="1123337" y="3225035"/>
                </a:moveTo>
                <a:lnTo>
                  <a:pt x="1080320" y="3269280"/>
                </a:lnTo>
                <a:lnTo>
                  <a:pt x="1167582" y="3378663"/>
                </a:lnTo>
                <a:lnTo>
                  <a:pt x="1210598" y="3334418"/>
                </a:lnTo>
                <a:lnTo>
                  <a:pt x="1123337" y="3225035"/>
                </a:lnTo>
                <a:close/>
                <a:moveTo>
                  <a:pt x="1241324" y="3225035"/>
                </a:moveTo>
                <a:lnTo>
                  <a:pt x="1200765" y="3274196"/>
                </a:lnTo>
                <a:lnTo>
                  <a:pt x="1297860" y="3378663"/>
                </a:lnTo>
                <a:lnTo>
                  <a:pt x="1338417" y="3329502"/>
                </a:lnTo>
                <a:lnTo>
                  <a:pt x="1241324" y="3225035"/>
                </a:lnTo>
                <a:close/>
                <a:moveTo>
                  <a:pt x="1359311" y="3226263"/>
                </a:moveTo>
                <a:lnTo>
                  <a:pt x="1319982" y="3280341"/>
                </a:lnTo>
                <a:lnTo>
                  <a:pt x="1426908" y="3379893"/>
                </a:lnTo>
                <a:lnTo>
                  <a:pt x="1466237" y="3324586"/>
                </a:lnTo>
                <a:lnTo>
                  <a:pt x="1359311" y="3226263"/>
                </a:lnTo>
                <a:close/>
                <a:moveTo>
                  <a:pt x="1477299" y="3226263"/>
                </a:moveTo>
                <a:lnTo>
                  <a:pt x="1440428" y="3285257"/>
                </a:lnTo>
                <a:lnTo>
                  <a:pt x="1557185" y="3378663"/>
                </a:lnTo>
                <a:lnTo>
                  <a:pt x="1594056" y="3319670"/>
                </a:lnTo>
                <a:lnTo>
                  <a:pt x="1477299" y="3226263"/>
                </a:lnTo>
                <a:close/>
                <a:moveTo>
                  <a:pt x="769375" y="3226263"/>
                </a:moveTo>
                <a:lnTo>
                  <a:pt x="720214" y="3255760"/>
                </a:lnTo>
                <a:lnTo>
                  <a:pt x="777978" y="3379893"/>
                </a:lnTo>
                <a:lnTo>
                  <a:pt x="827139" y="3350396"/>
                </a:lnTo>
                <a:lnTo>
                  <a:pt x="769375" y="3226263"/>
                </a:lnTo>
                <a:close/>
                <a:moveTo>
                  <a:pt x="887362" y="3226263"/>
                </a:moveTo>
                <a:lnTo>
                  <a:pt x="840659" y="3260676"/>
                </a:lnTo>
                <a:lnTo>
                  <a:pt x="908255" y="3378663"/>
                </a:lnTo>
                <a:lnTo>
                  <a:pt x="954959" y="3344250"/>
                </a:lnTo>
                <a:lnTo>
                  <a:pt x="887362" y="3226263"/>
                </a:lnTo>
                <a:close/>
                <a:moveTo>
                  <a:pt x="1005350" y="3226263"/>
                </a:moveTo>
                <a:lnTo>
                  <a:pt x="959875" y="3265592"/>
                </a:lnTo>
                <a:lnTo>
                  <a:pt x="1037304" y="3378663"/>
                </a:lnTo>
                <a:lnTo>
                  <a:pt x="1082778" y="3339334"/>
                </a:lnTo>
                <a:lnTo>
                  <a:pt x="1005350" y="3226263"/>
                </a:lnTo>
                <a:close/>
                <a:moveTo>
                  <a:pt x="415413" y="3419222"/>
                </a:moveTo>
                <a:lnTo>
                  <a:pt x="360106" y="3433971"/>
                </a:lnTo>
                <a:lnTo>
                  <a:pt x="389603" y="3572851"/>
                </a:lnTo>
                <a:lnTo>
                  <a:pt x="444910" y="3556874"/>
                </a:lnTo>
                <a:lnTo>
                  <a:pt x="415413" y="3419222"/>
                </a:lnTo>
                <a:close/>
                <a:moveTo>
                  <a:pt x="1359311" y="3419222"/>
                </a:moveTo>
                <a:lnTo>
                  <a:pt x="1319982" y="3474528"/>
                </a:lnTo>
                <a:lnTo>
                  <a:pt x="1426908" y="3571622"/>
                </a:lnTo>
                <a:lnTo>
                  <a:pt x="1466237" y="3517545"/>
                </a:lnTo>
                <a:lnTo>
                  <a:pt x="1359311" y="3419222"/>
                </a:lnTo>
                <a:close/>
                <a:moveTo>
                  <a:pt x="532171" y="3420451"/>
                </a:moveTo>
                <a:lnTo>
                  <a:pt x="479323" y="3440115"/>
                </a:lnTo>
                <a:lnTo>
                  <a:pt x="518652" y="3574080"/>
                </a:lnTo>
                <a:lnTo>
                  <a:pt x="571500" y="3554416"/>
                </a:lnTo>
                <a:lnTo>
                  <a:pt x="532171" y="3420451"/>
                </a:lnTo>
                <a:close/>
                <a:moveTo>
                  <a:pt x="651388" y="3420451"/>
                </a:moveTo>
                <a:lnTo>
                  <a:pt x="599769" y="3445031"/>
                </a:lnTo>
                <a:lnTo>
                  <a:pt x="648930" y="3574080"/>
                </a:lnTo>
                <a:lnTo>
                  <a:pt x="699320" y="3549500"/>
                </a:lnTo>
                <a:lnTo>
                  <a:pt x="651388" y="3420451"/>
                </a:lnTo>
                <a:close/>
                <a:moveTo>
                  <a:pt x="768145" y="3420451"/>
                </a:moveTo>
                <a:lnTo>
                  <a:pt x="720214" y="3449947"/>
                </a:lnTo>
                <a:lnTo>
                  <a:pt x="777978" y="3572851"/>
                </a:lnTo>
                <a:lnTo>
                  <a:pt x="827139" y="3543354"/>
                </a:lnTo>
                <a:lnTo>
                  <a:pt x="768145" y="3420451"/>
                </a:lnTo>
                <a:close/>
                <a:moveTo>
                  <a:pt x="887362" y="3420451"/>
                </a:moveTo>
                <a:lnTo>
                  <a:pt x="840659" y="3454863"/>
                </a:lnTo>
                <a:lnTo>
                  <a:pt x="908255" y="3574080"/>
                </a:lnTo>
                <a:lnTo>
                  <a:pt x="954959" y="3539667"/>
                </a:lnTo>
                <a:lnTo>
                  <a:pt x="887362" y="3420451"/>
                </a:lnTo>
                <a:close/>
                <a:moveTo>
                  <a:pt x="1005350" y="3420451"/>
                </a:moveTo>
                <a:lnTo>
                  <a:pt x="959875" y="3459780"/>
                </a:lnTo>
                <a:lnTo>
                  <a:pt x="1037304" y="3572851"/>
                </a:lnTo>
                <a:lnTo>
                  <a:pt x="1082778" y="3533522"/>
                </a:lnTo>
                <a:lnTo>
                  <a:pt x="1005350" y="3420451"/>
                </a:lnTo>
                <a:close/>
                <a:moveTo>
                  <a:pt x="1123337" y="3420451"/>
                </a:moveTo>
                <a:lnTo>
                  <a:pt x="1080320" y="3464696"/>
                </a:lnTo>
                <a:lnTo>
                  <a:pt x="1167582" y="3574080"/>
                </a:lnTo>
                <a:lnTo>
                  <a:pt x="1210598" y="3529835"/>
                </a:lnTo>
                <a:lnTo>
                  <a:pt x="1123337" y="3420451"/>
                </a:lnTo>
                <a:close/>
                <a:moveTo>
                  <a:pt x="1242552" y="3420451"/>
                </a:moveTo>
                <a:lnTo>
                  <a:pt x="1200765" y="3469612"/>
                </a:lnTo>
                <a:lnTo>
                  <a:pt x="1297860" y="3574080"/>
                </a:lnTo>
                <a:lnTo>
                  <a:pt x="1338417" y="3524919"/>
                </a:lnTo>
                <a:lnTo>
                  <a:pt x="1242552" y="3420451"/>
                </a:lnTo>
                <a:close/>
                <a:moveTo>
                  <a:pt x="178209" y="3420451"/>
                </a:moveTo>
                <a:lnTo>
                  <a:pt x="119216" y="3425367"/>
                </a:lnTo>
                <a:lnTo>
                  <a:pt x="129048" y="3574080"/>
                </a:lnTo>
                <a:lnTo>
                  <a:pt x="188042" y="3569164"/>
                </a:lnTo>
                <a:lnTo>
                  <a:pt x="178209" y="3420451"/>
                </a:lnTo>
                <a:close/>
                <a:moveTo>
                  <a:pt x="296197" y="3420451"/>
                </a:moveTo>
                <a:lnTo>
                  <a:pt x="239661" y="3430283"/>
                </a:lnTo>
                <a:lnTo>
                  <a:pt x="259326" y="3574080"/>
                </a:lnTo>
                <a:lnTo>
                  <a:pt x="315861" y="3564248"/>
                </a:lnTo>
                <a:lnTo>
                  <a:pt x="296197" y="3420451"/>
                </a:lnTo>
                <a:close/>
                <a:moveTo>
                  <a:pt x="415413" y="3607264"/>
                </a:moveTo>
                <a:lnTo>
                  <a:pt x="360106" y="3622012"/>
                </a:lnTo>
                <a:lnTo>
                  <a:pt x="389603" y="3760894"/>
                </a:lnTo>
                <a:lnTo>
                  <a:pt x="444910" y="3746145"/>
                </a:lnTo>
                <a:lnTo>
                  <a:pt x="415413" y="3607264"/>
                </a:lnTo>
                <a:close/>
                <a:moveTo>
                  <a:pt x="651388" y="3607264"/>
                </a:moveTo>
                <a:lnTo>
                  <a:pt x="599769" y="3631844"/>
                </a:lnTo>
                <a:lnTo>
                  <a:pt x="648930" y="3760894"/>
                </a:lnTo>
                <a:lnTo>
                  <a:pt x="699320" y="3736313"/>
                </a:lnTo>
                <a:lnTo>
                  <a:pt x="651388" y="3607264"/>
                </a:lnTo>
                <a:close/>
                <a:moveTo>
                  <a:pt x="1123337" y="3607264"/>
                </a:moveTo>
                <a:lnTo>
                  <a:pt x="1080320" y="3652739"/>
                </a:lnTo>
                <a:lnTo>
                  <a:pt x="1167582" y="3760894"/>
                </a:lnTo>
                <a:lnTo>
                  <a:pt x="1210598" y="3716648"/>
                </a:lnTo>
                <a:lnTo>
                  <a:pt x="1123337" y="3607264"/>
                </a:lnTo>
                <a:close/>
                <a:moveTo>
                  <a:pt x="1241324" y="3607264"/>
                </a:moveTo>
                <a:lnTo>
                  <a:pt x="1199537" y="3657655"/>
                </a:lnTo>
                <a:lnTo>
                  <a:pt x="1297860" y="3760894"/>
                </a:lnTo>
                <a:lnTo>
                  <a:pt x="1338417" y="3711732"/>
                </a:lnTo>
                <a:lnTo>
                  <a:pt x="1241324" y="3607264"/>
                </a:lnTo>
                <a:close/>
                <a:moveTo>
                  <a:pt x="1359311" y="3607264"/>
                </a:moveTo>
                <a:lnTo>
                  <a:pt x="1319982" y="3662571"/>
                </a:lnTo>
                <a:lnTo>
                  <a:pt x="1426908" y="3759664"/>
                </a:lnTo>
                <a:lnTo>
                  <a:pt x="1466237" y="3705586"/>
                </a:lnTo>
                <a:lnTo>
                  <a:pt x="1359311" y="3607264"/>
                </a:lnTo>
                <a:close/>
                <a:moveTo>
                  <a:pt x="769375" y="3608493"/>
                </a:moveTo>
                <a:lnTo>
                  <a:pt x="720214" y="3639219"/>
                </a:lnTo>
                <a:lnTo>
                  <a:pt x="777978" y="3762122"/>
                </a:lnTo>
                <a:lnTo>
                  <a:pt x="827139" y="3732625"/>
                </a:lnTo>
                <a:lnTo>
                  <a:pt x="769375" y="3608493"/>
                </a:lnTo>
                <a:close/>
                <a:moveTo>
                  <a:pt x="1005350" y="3608493"/>
                </a:moveTo>
                <a:lnTo>
                  <a:pt x="959875" y="3649051"/>
                </a:lnTo>
                <a:lnTo>
                  <a:pt x="1037304" y="3762122"/>
                </a:lnTo>
                <a:lnTo>
                  <a:pt x="1082778" y="3722793"/>
                </a:lnTo>
                <a:lnTo>
                  <a:pt x="1005350" y="3608493"/>
                </a:lnTo>
                <a:close/>
                <a:moveTo>
                  <a:pt x="887362" y="3609722"/>
                </a:moveTo>
                <a:lnTo>
                  <a:pt x="840659" y="3644135"/>
                </a:lnTo>
                <a:lnTo>
                  <a:pt x="908255" y="3762122"/>
                </a:lnTo>
                <a:lnTo>
                  <a:pt x="954959" y="3728939"/>
                </a:lnTo>
                <a:lnTo>
                  <a:pt x="887362" y="3609722"/>
                </a:lnTo>
                <a:close/>
                <a:moveTo>
                  <a:pt x="532171" y="3608493"/>
                </a:moveTo>
                <a:lnTo>
                  <a:pt x="479323" y="3628158"/>
                </a:lnTo>
                <a:lnTo>
                  <a:pt x="518652" y="3760894"/>
                </a:lnTo>
                <a:lnTo>
                  <a:pt x="571500" y="3742457"/>
                </a:lnTo>
                <a:lnTo>
                  <a:pt x="532171" y="3608493"/>
                </a:lnTo>
                <a:close/>
                <a:moveTo>
                  <a:pt x="178209" y="3608493"/>
                </a:moveTo>
                <a:lnTo>
                  <a:pt x="119216" y="3613409"/>
                </a:lnTo>
                <a:lnTo>
                  <a:pt x="129048" y="3762122"/>
                </a:lnTo>
                <a:lnTo>
                  <a:pt x="188042" y="3757206"/>
                </a:lnTo>
                <a:lnTo>
                  <a:pt x="178209" y="3608493"/>
                </a:lnTo>
                <a:close/>
                <a:moveTo>
                  <a:pt x="296197" y="3608493"/>
                </a:moveTo>
                <a:lnTo>
                  <a:pt x="239661" y="3618326"/>
                </a:lnTo>
                <a:lnTo>
                  <a:pt x="259326" y="3762122"/>
                </a:lnTo>
                <a:lnTo>
                  <a:pt x="315861" y="3752290"/>
                </a:lnTo>
                <a:lnTo>
                  <a:pt x="296197" y="3608493"/>
                </a:lnTo>
                <a:close/>
                <a:moveTo>
                  <a:pt x="178209" y="3798993"/>
                </a:moveTo>
                <a:lnTo>
                  <a:pt x="119216" y="3803909"/>
                </a:lnTo>
                <a:lnTo>
                  <a:pt x="129048" y="3952623"/>
                </a:lnTo>
                <a:lnTo>
                  <a:pt x="188042" y="3947707"/>
                </a:lnTo>
                <a:lnTo>
                  <a:pt x="178209" y="3798993"/>
                </a:lnTo>
                <a:close/>
                <a:moveTo>
                  <a:pt x="296197" y="3798993"/>
                </a:moveTo>
                <a:lnTo>
                  <a:pt x="239661" y="3808825"/>
                </a:lnTo>
                <a:lnTo>
                  <a:pt x="259326" y="3952623"/>
                </a:lnTo>
                <a:lnTo>
                  <a:pt x="315861" y="3942790"/>
                </a:lnTo>
                <a:lnTo>
                  <a:pt x="296197" y="3798993"/>
                </a:lnTo>
                <a:close/>
                <a:moveTo>
                  <a:pt x="651388" y="3798993"/>
                </a:moveTo>
                <a:lnTo>
                  <a:pt x="599769" y="3823574"/>
                </a:lnTo>
                <a:lnTo>
                  <a:pt x="648930" y="3952623"/>
                </a:lnTo>
                <a:lnTo>
                  <a:pt x="699320" y="3928042"/>
                </a:lnTo>
                <a:lnTo>
                  <a:pt x="651388" y="3798993"/>
                </a:lnTo>
                <a:close/>
                <a:moveTo>
                  <a:pt x="887362" y="3798993"/>
                </a:moveTo>
                <a:lnTo>
                  <a:pt x="840659" y="3833406"/>
                </a:lnTo>
                <a:lnTo>
                  <a:pt x="908255" y="3952623"/>
                </a:lnTo>
                <a:lnTo>
                  <a:pt x="954959" y="3918210"/>
                </a:lnTo>
                <a:lnTo>
                  <a:pt x="887362" y="3798993"/>
                </a:lnTo>
                <a:close/>
                <a:moveTo>
                  <a:pt x="1005350" y="3800223"/>
                </a:moveTo>
                <a:lnTo>
                  <a:pt x="959875" y="3839552"/>
                </a:lnTo>
                <a:lnTo>
                  <a:pt x="1037304" y="3952623"/>
                </a:lnTo>
                <a:lnTo>
                  <a:pt x="1082778" y="3913294"/>
                </a:lnTo>
                <a:lnTo>
                  <a:pt x="1005350" y="3800223"/>
                </a:lnTo>
                <a:close/>
                <a:moveTo>
                  <a:pt x="1123337" y="3800223"/>
                </a:moveTo>
                <a:lnTo>
                  <a:pt x="1080320" y="3844468"/>
                </a:lnTo>
                <a:lnTo>
                  <a:pt x="1167582" y="3952623"/>
                </a:lnTo>
                <a:lnTo>
                  <a:pt x="1210598" y="3908378"/>
                </a:lnTo>
                <a:lnTo>
                  <a:pt x="1123337" y="3800223"/>
                </a:lnTo>
                <a:close/>
                <a:moveTo>
                  <a:pt x="1241324" y="3800223"/>
                </a:moveTo>
                <a:lnTo>
                  <a:pt x="1199537" y="3849384"/>
                </a:lnTo>
                <a:lnTo>
                  <a:pt x="1297860" y="3953851"/>
                </a:lnTo>
                <a:lnTo>
                  <a:pt x="1338417" y="3904690"/>
                </a:lnTo>
                <a:lnTo>
                  <a:pt x="1241324" y="3800223"/>
                </a:lnTo>
                <a:close/>
                <a:moveTo>
                  <a:pt x="1359311" y="3800223"/>
                </a:moveTo>
                <a:lnTo>
                  <a:pt x="1319982" y="3854300"/>
                </a:lnTo>
                <a:lnTo>
                  <a:pt x="1426908" y="3952623"/>
                </a:lnTo>
                <a:lnTo>
                  <a:pt x="1466237" y="3898545"/>
                </a:lnTo>
                <a:lnTo>
                  <a:pt x="1359311" y="3800223"/>
                </a:lnTo>
                <a:close/>
                <a:moveTo>
                  <a:pt x="769375" y="3800223"/>
                </a:moveTo>
                <a:lnTo>
                  <a:pt x="720214" y="3829719"/>
                </a:lnTo>
                <a:lnTo>
                  <a:pt x="777978" y="3953851"/>
                </a:lnTo>
                <a:lnTo>
                  <a:pt x="827139" y="3924354"/>
                </a:lnTo>
                <a:lnTo>
                  <a:pt x="769375" y="3800223"/>
                </a:lnTo>
                <a:close/>
                <a:moveTo>
                  <a:pt x="415413" y="3800223"/>
                </a:moveTo>
                <a:lnTo>
                  <a:pt x="360106" y="3814971"/>
                </a:lnTo>
                <a:lnTo>
                  <a:pt x="389603" y="3952623"/>
                </a:lnTo>
                <a:lnTo>
                  <a:pt x="444910" y="3939103"/>
                </a:lnTo>
                <a:lnTo>
                  <a:pt x="415413" y="3800223"/>
                </a:lnTo>
                <a:close/>
                <a:moveTo>
                  <a:pt x="532171" y="3800223"/>
                </a:moveTo>
                <a:lnTo>
                  <a:pt x="479323" y="3819887"/>
                </a:lnTo>
                <a:lnTo>
                  <a:pt x="518652" y="3952623"/>
                </a:lnTo>
                <a:lnTo>
                  <a:pt x="571500" y="3934187"/>
                </a:lnTo>
                <a:lnTo>
                  <a:pt x="532171" y="3800223"/>
                </a:lnTo>
                <a:close/>
                <a:moveTo>
                  <a:pt x="1240094" y="3990722"/>
                </a:moveTo>
                <a:lnTo>
                  <a:pt x="1198307" y="4039883"/>
                </a:lnTo>
                <a:lnTo>
                  <a:pt x="1200765" y="4042342"/>
                </a:lnTo>
                <a:lnTo>
                  <a:pt x="1199537" y="4044800"/>
                </a:lnTo>
                <a:lnTo>
                  <a:pt x="1296630" y="4149268"/>
                </a:lnTo>
                <a:lnTo>
                  <a:pt x="1338417" y="4100107"/>
                </a:lnTo>
                <a:lnTo>
                  <a:pt x="1335959" y="4097649"/>
                </a:lnTo>
                <a:lnTo>
                  <a:pt x="1337189" y="4095191"/>
                </a:lnTo>
                <a:lnTo>
                  <a:pt x="1240094" y="3990722"/>
                </a:lnTo>
                <a:close/>
                <a:moveTo>
                  <a:pt x="1359311" y="3991952"/>
                </a:moveTo>
                <a:lnTo>
                  <a:pt x="1319982" y="4046029"/>
                </a:lnTo>
                <a:lnTo>
                  <a:pt x="1322440" y="4048487"/>
                </a:lnTo>
                <a:lnTo>
                  <a:pt x="1321211" y="4050945"/>
                </a:lnTo>
                <a:lnTo>
                  <a:pt x="1428137" y="4149268"/>
                </a:lnTo>
                <a:lnTo>
                  <a:pt x="1467466" y="4095191"/>
                </a:lnTo>
                <a:lnTo>
                  <a:pt x="1465008" y="4092733"/>
                </a:lnTo>
                <a:lnTo>
                  <a:pt x="1466237" y="4090275"/>
                </a:lnTo>
                <a:lnTo>
                  <a:pt x="1359311" y="3991952"/>
                </a:lnTo>
                <a:close/>
                <a:moveTo>
                  <a:pt x="178209" y="3991952"/>
                </a:moveTo>
                <a:lnTo>
                  <a:pt x="119216" y="3996868"/>
                </a:lnTo>
                <a:lnTo>
                  <a:pt x="119216" y="4000554"/>
                </a:lnTo>
                <a:lnTo>
                  <a:pt x="129048" y="4149268"/>
                </a:lnTo>
                <a:lnTo>
                  <a:pt x="188042" y="4144352"/>
                </a:lnTo>
                <a:lnTo>
                  <a:pt x="188042" y="4140664"/>
                </a:lnTo>
                <a:lnTo>
                  <a:pt x="178209" y="3991952"/>
                </a:lnTo>
                <a:close/>
                <a:moveTo>
                  <a:pt x="296197" y="3991952"/>
                </a:moveTo>
                <a:lnTo>
                  <a:pt x="239661" y="4001784"/>
                </a:lnTo>
                <a:lnTo>
                  <a:pt x="240891" y="4006700"/>
                </a:lnTo>
                <a:lnTo>
                  <a:pt x="239661" y="4006700"/>
                </a:lnTo>
                <a:lnTo>
                  <a:pt x="259326" y="4150497"/>
                </a:lnTo>
                <a:lnTo>
                  <a:pt x="315861" y="4140664"/>
                </a:lnTo>
                <a:lnTo>
                  <a:pt x="314633" y="4135748"/>
                </a:lnTo>
                <a:lnTo>
                  <a:pt x="315861" y="4135748"/>
                </a:lnTo>
                <a:lnTo>
                  <a:pt x="296197" y="3991952"/>
                </a:lnTo>
                <a:close/>
                <a:moveTo>
                  <a:pt x="415413" y="3991952"/>
                </a:moveTo>
                <a:lnTo>
                  <a:pt x="360106" y="4006700"/>
                </a:lnTo>
                <a:lnTo>
                  <a:pt x="361336" y="4011616"/>
                </a:lnTo>
                <a:lnTo>
                  <a:pt x="360106" y="4011616"/>
                </a:lnTo>
                <a:lnTo>
                  <a:pt x="388375" y="4150497"/>
                </a:lnTo>
                <a:lnTo>
                  <a:pt x="443681" y="4134520"/>
                </a:lnTo>
                <a:lnTo>
                  <a:pt x="443681" y="4129604"/>
                </a:lnTo>
                <a:lnTo>
                  <a:pt x="444910" y="4129604"/>
                </a:lnTo>
                <a:lnTo>
                  <a:pt x="415413" y="3991952"/>
                </a:lnTo>
                <a:close/>
                <a:moveTo>
                  <a:pt x="532171" y="3991952"/>
                </a:moveTo>
                <a:lnTo>
                  <a:pt x="479323" y="4011616"/>
                </a:lnTo>
                <a:lnTo>
                  <a:pt x="480552" y="4015303"/>
                </a:lnTo>
                <a:lnTo>
                  <a:pt x="479323" y="4015303"/>
                </a:lnTo>
                <a:lnTo>
                  <a:pt x="518652" y="4149268"/>
                </a:lnTo>
                <a:lnTo>
                  <a:pt x="571500" y="4129604"/>
                </a:lnTo>
                <a:lnTo>
                  <a:pt x="570272" y="4125916"/>
                </a:lnTo>
                <a:lnTo>
                  <a:pt x="571500" y="4125916"/>
                </a:lnTo>
                <a:lnTo>
                  <a:pt x="532171" y="3991952"/>
                </a:lnTo>
                <a:close/>
                <a:moveTo>
                  <a:pt x="651388" y="3991952"/>
                </a:moveTo>
                <a:lnTo>
                  <a:pt x="599769" y="4016532"/>
                </a:lnTo>
                <a:lnTo>
                  <a:pt x="600997" y="4020219"/>
                </a:lnTo>
                <a:lnTo>
                  <a:pt x="599769" y="4020219"/>
                </a:lnTo>
                <a:lnTo>
                  <a:pt x="648930" y="4149268"/>
                </a:lnTo>
                <a:lnTo>
                  <a:pt x="699320" y="4124687"/>
                </a:lnTo>
                <a:lnTo>
                  <a:pt x="698091" y="4121000"/>
                </a:lnTo>
                <a:lnTo>
                  <a:pt x="699320" y="4121000"/>
                </a:lnTo>
                <a:lnTo>
                  <a:pt x="651388" y="3991952"/>
                </a:lnTo>
                <a:close/>
                <a:moveTo>
                  <a:pt x="769375" y="3991952"/>
                </a:moveTo>
                <a:lnTo>
                  <a:pt x="720214" y="4021449"/>
                </a:lnTo>
                <a:lnTo>
                  <a:pt x="722672" y="4023907"/>
                </a:lnTo>
                <a:lnTo>
                  <a:pt x="721442" y="4025135"/>
                </a:lnTo>
                <a:lnTo>
                  <a:pt x="779207" y="4149268"/>
                </a:lnTo>
                <a:lnTo>
                  <a:pt x="828369" y="4119771"/>
                </a:lnTo>
                <a:lnTo>
                  <a:pt x="827139" y="4116084"/>
                </a:lnTo>
                <a:lnTo>
                  <a:pt x="828369" y="4114855"/>
                </a:lnTo>
                <a:lnTo>
                  <a:pt x="769375" y="3991952"/>
                </a:lnTo>
                <a:close/>
                <a:moveTo>
                  <a:pt x="1005350" y="3991952"/>
                </a:moveTo>
                <a:lnTo>
                  <a:pt x="959875" y="4031281"/>
                </a:lnTo>
                <a:lnTo>
                  <a:pt x="962333" y="4033739"/>
                </a:lnTo>
                <a:lnTo>
                  <a:pt x="959875" y="4034967"/>
                </a:lnTo>
                <a:lnTo>
                  <a:pt x="1037304" y="4148039"/>
                </a:lnTo>
                <a:lnTo>
                  <a:pt x="1082778" y="4108709"/>
                </a:lnTo>
                <a:lnTo>
                  <a:pt x="1081550" y="4106251"/>
                </a:lnTo>
                <a:lnTo>
                  <a:pt x="1082778" y="4105023"/>
                </a:lnTo>
                <a:lnTo>
                  <a:pt x="1005350" y="3991952"/>
                </a:lnTo>
                <a:close/>
                <a:moveTo>
                  <a:pt x="1123337" y="3991952"/>
                </a:moveTo>
                <a:lnTo>
                  <a:pt x="1080320" y="4036197"/>
                </a:lnTo>
                <a:lnTo>
                  <a:pt x="1081550" y="4041113"/>
                </a:lnTo>
                <a:lnTo>
                  <a:pt x="1080320" y="4042342"/>
                </a:lnTo>
                <a:lnTo>
                  <a:pt x="1167582" y="4150497"/>
                </a:lnTo>
                <a:lnTo>
                  <a:pt x="1210598" y="4106251"/>
                </a:lnTo>
                <a:lnTo>
                  <a:pt x="1209369" y="4103793"/>
                </a:lnTo>
                <a:lnTo>
                  <a:pt x="1210598" y="4101335"/>
                </a:lnTo>
                <a:lnTo>
                  <a:pt x="1123337" y="3991952"/>
                </a:lnTo>
                <a:close/>
                <a:moveTo>
                  <a:pt x="887362" y="3993180"/>
                </a:moveTo>
                <a:lnTo>
                  <a:pt x="840659" y="4027593"/>
                </a:lnTo>
                <a:lnTo>
                  <a:pt x="841887" y="4030051"/>
                </a:lnTo>
                <a:lnTo>
                  <a:pt x="840659" y="4031281"/>
                </a:lnTo>
                <a:lnTo>
                  <a:pt x="908255" y="4149268"/>
                </a:lnTo>
                <a:lnTo>
                  <a:pt x="954959" y="4114855"/>
                </a:lnTo>
                <a:lnTo>
                  <a:pt x="953730" y="4112397"/>
                </a:lnTo>
                <a:lnTo>
                  <a:pt x="954959" y="4111167"/>
                </a:lnTo>
                <a:lnTo>
                  <a:pt x="887362" y="3993180"/>
                </a:lnTo>
                <a:close/>
                <a:moveTo>
                  <a:pt x="415413" y="4189826"/>
                </a:moveTo>
                <a:lnTo>
                  <a:pt x="360106" y="4205804"/>
                </a:lnTo>
                <a:lnTo>
                  <a:pt x="389603" y="4343456"/>
                </a:lnTo>
                <a:lnTo>
                  <a:pt x="444910" y="4328707"/>
                </a:lnTo>
                <a:lnTo>
                  <a:pt x="415413" y="4189826"/>
                </a:lnTo>
                <a:close/>
                <a:moveTo>
                  <a:pt x="532171" y="4189826"/>
                </a:moveTo>
                <a:lnTo>
                  <a:pt x="479323" y="4209490"/>
                </a:lnTo>
                <a:lnTo>
                  <a:pt x="518652" y="4343456"/>
                </a:lnTo>
                <a:lnTo>
                  <a:pt x="571500" y="4323791"/>
                </a:lnTo>
                <a:lnTo>
                  <a:pt x="532171" y="4189826"/>
                </a:lnTo>
                <a:close/>
                <a:moveTo>
                  <a:pt x="651388" y="4189826"/>
                </a:moveTo>
                <a:lnTo>
                  <a:pt x="599769" y="4214406"/>
                </a:lnTo>
                <a:lnTo>
                  <a:pt x="648930" y="4343456"/>
                </a:lnTo>
                <a:lnTo>
                  <a:pt x="699320" y="4317645"/>
                </a:lnTo>
                <a:lnTo>
                  <a:pt x="651388" y="4189826"/>
                </a:lnTo>
                <a:close/>
                <a:moveTo>
                  <a:pt x="769375" y="4189826"/>
                </a:moveTo>
                <a:lnTo>
                  <a:pt x="720214" y="4220552"/>
                </a:lnTo>
                <a:lnTo>
                  <a:pt x="777978" y="4343456"/>
                </a:lnTo>
                <a:lnTo>
                  <a:pt x="827139" y="4313959"/>
                </a:lnTo>
                <a:lnTo>
                  <a:pt x="769375" y="4189826"/>
                </a:lnTo>
                <a:close/>
                <a:moveTo>
                  <a:pt x="887362" y="4189826"/>
                </a:moveTo>
                <a:lnTo>
                  <a:pt x="840659" y="4225468"/>
                </a:lnTo>
                <a:lnTo>
                  <a:pt x="908255" y="4343456"/>
                </a:lnTo>
                <a:lnTo>
                  <a:pt x="954959" y="4309043"/>
                </a:lnTo>
                <a:lnTo>
                  <a:pt x="887362" y="4189826"/>
                </a:lnTo>
                <a:close/>
                <a:moveTo>
                  <a:pt x="1005350" y="4189826"/>
                </a:moveTo>
                <a:lnTo>
                  <a:pt x="959875" y="4230384"/>
                </a:lnTo>
                <a:lnTo>
                  <a:pt x="1037304" y="4343456"/>
                </a:lnTo>
                <a:lnTo>
                  <a:pt x="1082778" y="4304126"/>
                </a:lnTo>
                <a:lnTo>
                  <a:pt x="1005350" y="4189826"/>
                </a:lnTo>
                <a:close/>
                <a:moveTo>
                  <a:pt x="1123337" y="4189826"/>
                </a:moveTo>
                <a:lnTo>
                  <a:pt x="1080320" y="4235301"/>
                </a:lnTo>
                <a:lnTo>
                  <a:pt x="1167582" y="4343456"/>
                </a:lnTo>
                <a:lnTo>
                  <a:pt x="1210598" y="4299210"/>
                </a:lnTo>
                <a:lnTo>
                  <a:pt x="1123337" y="4189826"/>
                </a:lnTo>
                <a:close/>
                <a:moveTo>
                  <a:pt x="1241324" y="4191055"/>
                </a:moveTo>
                <a:lnTo>
                  <a:pt x="1199537" y="4240217"/>
                </a:lnTo>
                <a:lnTo>
                  <a:pt x="1297860" y="4343456"/>
                </a:lnTo>
                <a:lnTo>
                  <a:pt x="1338417" y="4294294"/>
                </a:lnTo>
                <a:lnTo>
                  <a:pt x="1241324" y="4191055"/>
                </a:lnTo>
                <a:close/>
                <a:moveTo>
                  <a:pt x="1359311" y="4191055"/>
                </a:moveTo>
                <a:lnTo>
                  <a:pt x="1319982" y="4245133"/>
                </a:lnTo>
                <a:lnTo>
                  <a:pt x="1426908" y="4343456"/>
                </a:lnTo>
                <a:lnTo>
                  <a:pt x="1466237" y="4289378"/>
                </a:lnTo>
                <a:lnTo>
                  <a:pt x="1359311" y="4191055"/>
                </a:lnTo>
                <a:close/>
                <a:moveTo>
                  <a:pt x="1477299" y="4191055"/>
                </a:moveTo>
                <a:lnTo>
                  <a:pt x="1440428" y="4250049"/>
                </a:lnTo>
                <a:lnTo>
                  <a:pt x="1557185" y="4343456"/>
                </a:lnTo>
                <a:lnTo>
                  <a:pt x="1594056" y="4284462"/>
                </a:lnTo>
                <a:lnTo>
                  <a:pt x="1477299" y="4191055"/>
                </a:lnTo>
                <a:close/>
                <a:moveTo>
                  <a:pt x="178209" y="4191055"/>
                </a:moveTo>
                <a:lnTo>
                  <a:pt x="119216" y="4195972"/>
                </a:lnTo>
                <a:lnTo>
                  <a:pt x="129048" y="4343456"/>
                </a:lnTo>
                <a:lnTo>
                  <a:pt x="188042" y="4339768"/>
                </a:lnTo>
                <a:lnTo>
                  <a:pt x="178209" y="4191055"/>
                </a:lnTo>
                <a:close/>
                <a:moveTo>
                  <a:pt x="296197" y="4191055"/>
                </a:moveTo>
                <a:lnTo>
                  <a:pt x="240891" y="4200888"/>
                </a:lnTo>
                <a:lnTo>
                  <a:pt x="259326" y="4343456"/>
                </a:lnTo>
                <a:lnTo>
                  <a:pt x="315861" y="4334852"/>
                </a:lnTo>
                <a:lnTo>
                  <a:pt x="296197" y="4191055"/>
                </a:lnTo>
                <a:close/>
                <a:moveTo>
                  <a:pt x="651388" y="4384013"/>
                </a:moveTo>
                <a:lnTo>
                  <a:pt x="599769" y="4408594"/>
                </a:lnTo>
                <a:lnTo>
                  <a:pt x="648930" y="4537643"/>
                </a:lnTo>
                <a:lnTo>
                  <a:pt x="699320" y="4511832"/>
                </a:lnTo>
                <a:lnTo>
                  <a:pt x="651388" y="4384013"/>
                </a:lnTo>
                <a:close/>
                <a:moveTo>
                  <a:pt x="887362" y="4384013"/>
                </a:moveTo>
                <a:lnTo>
                  <a:pt x="840659" y="4419656"/>
                </a:lnTo>
                <a:lnTo>
                  <a:pt x="908255" y="4538871"/>
                </a:lnTo>
                <a:lnTo>
                  <a:pt x="954959" y="4503230"/>
                </a:lnTo>
                <a:lnTo>
                  <a:pt x="887362" y="4384013"/>
                </a:lnTo>
                <a:close/>
                <a:moveTo>
                  <a:pt x="1123337" y="4384013"/>
                </a:moveTo>
                <a:lnTo>
                  <a:pt x="1080320" y="4428258"/>
                </a:lnTo>
                <a:lnTo>
                  <a:pt x="1167582" y="4537643"/>
                </a:lnTo>
                <a:lnTo>
                  <a:pt x="1210598" y="4493398"/>
                </a:lnTo>
                <a:lnTo>
                  <a:pt x="1123337" y="4384013"/>
                </a:lnTo>
                <a:close/>
                <a:moveTo>
                  <a:pt x="1240094" y="4384013"/>
                </a:moveTo>
                <a:lnTo>
                  <a:pt x="1199537" y="4433174"/>
                </a:lnTo>
                <a:lnTo>
                  <a:pt x="1296630" y="4537643"/>
                </a:lnTo>
                <a:lnTo>
                  <a:pt x="1338417" y="4488482"/>
                </a:lnTo>
                <a:lnTo>
                  <a:pt x="1240094" y="4384013"/>
                </a:lnTo>
                <a:close/>
                <a:moveTo>
                  <a:pt x="1359311" y="4385243"/>
                </a:moveTo>
                <a:lnTo>
                  <a:pt x="1319982" y="4439320"/>
                </a:lnTo>
                <a:lnTo>
                  <a:pt x="1426908" y="4537643"/>
                </a:lnTo>
                <a:lnTo>
                  <a:pt x="1466237" y="4483565"/>
                </a:lnTo>
                <a:lnTo>
                  <a:pt x="1359311" y="4385243"/>
                </a:lnTo>
                <a:close/>
                <a:moveTo>
                  <a:pt x="1005350" y="4385243"/>
                </a:moveTo>
                <a:lnTo>
                  <a:pt x="959875" y="4423342"/>
                </a:lnTo>
                <a:lnTo>
                  <a:pt x="1037304" y="4537643"/>
                </a:lnTo>
                <a:lnTo>
                  <a:pt x="1082778" y="4498314"/>
                </a:lnTo>
                <a:lnTo>
                  <a:pt x="1005350" y="4385243"/>
                </a:lnTo>
                <a:close/>
                <a:moveTo>
                  <a:pt x="769375" y="4385243"/>
                </a:moveTo>
                <a:lnTo>
                  <a:pt x="720214" y="4413510"/>
                </a:lnTo>
                <a:lnTo>
                  <a:pt x="777978" y="4537643"/>
                </a:lnTo>
                <a:lnTo>
                  <a:pt x="827139" y="4508146"/>
                </a:lnTo>
                <a:lnTo>
                  <a:pt x="769375" y="4385243"/>
                </a:lnTo>
                <a:close/>
                <a:moveTo>
                  <a:pt x="178209" y="4385243"/>
                </a:moveTo>
                <a:lnTo>
                  <a:pt x="119216" y="4390159"/>
                </a:lnTo>
                <a:lnTo>
                  <a:pt x="129048" y="4538871"/>
                </a:lnTo>
                <a:lnTo>
                  <a:pt x="188042" y="4533955"/>
                </a:lnTo>
                <a:lnTo>
                  <a:pt x="178209" y="4385243"/>
                </a:lnTo>
                <a:close/>
                <a:moveTo>
                  <a:pt x="296197" y="4385243"/>
                </a:moveTo>
                <a:lnTo>
                  <a:pt x="239661" y="4395075"/>
                </a:lnTo>
                <a:lnTo>
                  <a:pt x="259326" y="4538871"/>
                </a:lnTo>
                <a:lnTo>
                  <a:pt x="315861" y="4529039"/>
                </a:lnTo>
                <a:lnTo>
                  <a:pt x="296197" y="4385243"/>
                </a:lnTo>
                <a:close/>
                <a:moveTo>
                  <a:pt x="415413" y="4385243"/>
                </a:moveTo>
                <a:lnTo>
                  <a:pt x="360106" y="4399991"/>
                </a:lnTo>
                <a:lnTo>
                  <a:pt x="389603" y="4538871"/>
                </a:lnTo>
                <a:lnTo>
                  <a:pt x="444910" y="4524123"/>
                </a:lnTo>
                <a:lnTo>
                  <a:pt x="415413" y="4385243"/>
                </a:lnTo>
                <a:close/>
                <a:moveTo>
                  <a:pt x="532171" y="4385243"/>
                </a:moveTo>
                <a:lnTo>
                  <a:pt x="479323" y="4404907"/>
                </a:lnTo>
                <a:lnTo>
                  <a:pt x="518652" y="4538871"/>
                </a:lnTo>
                <a:lnTo>
                  <a:pt x="571500" y="4519207"/>
                </a:lnTo>
                <a:lnTo>
                  <a:pt x="532171" y="4385243"/>
                </a:lnTo>
                <a:close/>
                <a:moveTo>
                  <a:pt x="651388" y="4578200"/>
                </a:moveTo>
                <a:lnTo>
                  <a:pt x="599769" y="4602781"/>
                </a:lnTo>
                <a:lnTo>
                  <a:pt x="648930" y="4731830"/>
                </a:lnTo>
                <a:lnTo>
                  <a:pt x="699320" y="4706020"/>
                </a:lnTo>
                <a:lnTo>
                  <a:pt x="651388" y="4578200"/>
                </a:lnTo>
                <a:close/>
                <a:moveTo>
                  <a:pt x="769375" y="4579430"/>
                </a:moveTo>
                <a:lnTo>
                  <a:pt x="720214" y="4607697"/>
                </a:lnTo>
                <a:lnTo>
                  <a:pt x="777978" y="4731830"/>
                </a:lnTo>
                <a:lnTo>
                  <a:pt x="827139" y="4702333"/>
                </a:lnTo>
                <a:lnTo>
                  <a:pt x="769375" y="4579430"/>
                </a:lnTo>
                <a:close/>
                <a:moveTo>
                  <a:pt x="887362" y="4579430"/>
                </a:moveTo>
                <a:lnTo>
                  <a:pt x="840659" y="4613843"/>
                </a:lnTo>
                <a:lnTo>
                  <a:pt x="908255" y="4733059"/>
                </a:lnTo>
                <a:lnTo>
                  <a:pt x="954959" y="4697417"/>
                </a:lnTo>
                <a:lnTo>
                  <a:pt x="887362" y="4579430"/>
                </a:lnTo>
                <a:close/>
                <a:moveTo>
                  <a:pt x="1005350" y="4579430"/>
                </a:moveTo>
                <a:lnTo>
                  <a:pt x="959875" y="4618759"/>
                </a:lnTo>
                <a:lnTo>
                  <a:pt x="1037304" y="4731830"/>
                </a:lnTo>
                <a:lnTo>
                  <a:pt x="1082778" y="4692501"/>
                </a:lnTo>
                <a:lnTo>
                  <a:pt x="1005350" y="4579430"/>
                </a:lnTo>
                <a:close/>
                <a:moveTo>
                  <a:pt x="1123337" y="4579430"/>
                </a:moveTo>
                <a:lnTo>
                  <a:pt x="1080320" y="4623675"/>
                </a:lnTo>
                <a:lnTo>
                  <a:pt x="1167582" y="4733059"/>
                </a:lnTo>
                <a:lnTo>
                  <a:pt x="1210598" y="4688813"/>
                </a:lnTo>
                <a:lnTo>
                  <a:pt x="1123337" y="4579430"/>
                </a:lnTo>
                <a:close/>
                <a:moveTo>
                  <a:pt x="1240094" y="4579430"/>
                </a:moveTo>
                <a:lnTo>
                  <a:pt x="1199537" y="4628591"/>
                </a:lnTo>
                <a:lnTo>
                  <a:pt x="1296630" y="4733059"/>
                </a:lnTo>
                <a:lnTo>
                  <a:pt x="1338417" y="4683897"/>
                </a:lnTo>
                <a:lnTo>
                  <a:pt x="1240094" y="4579430"/>
                </a:lnTo>
                <a:close/>
                <a:moveTo>
                  <a:pt x="1359311" y="4579430"/>
                </a:moveTo>
                <a:lnTo>
                  <a:pt x="1319982" y="4633507"/>
                </a:lnTo>
                <a:lnTo>
                  <a:pt x="1426908" y="4731830"/>
                </a:lnTo>
                <a:lnTo>
                  <a:pt x="1466237" y="4677753"/>
                </a:lnTo>
                <a:lnTo>
                  <a:pt x="1359311" y="4579430"/>
                </a:lnTo>
                <a:close/>
                <a:moveTo>
                  <a:pt x="178209" y="4579430"/>
                </a:moveTo>
                <a:lnTo>
                  <a:pt x="119216" y="4584346"/>
                </a:lnTo>
                <a:lnTo>
                  <a:pt x="129048" y="4733059"/>
                </a:lnTo>
                <a:lnTo>
                  <a:pt x="188042" y="4728142"/>
                </a:lnTo>
                <a:lnTo>
                  <a:pt x="178209" y="4579430"/>
                </a:lnTo>
                <a:close/>
                <a:moveTo>
                  <a:pt x="296197" y="4579430"/>
                </a:moveTo>
                <a:lnTo>
                  <a:pt x="239661" y="4589262"/>
                </a:lnTo>
                <a:lnTo>
                  <a:pt x="259326" y="4733059"/>
                </a:lnTo>
                <a:lnTo>
                  <a:pt x="315861" y="4723226"/>
                </a:lnTo>
                <a:lnTo>
                  <a:pt x="296197" y="4579430"/>
                </a:lnTo>
                <a:close/>
                <a:moveTo>
                  <a:pt x="415413" y="4579430"/>
                </a:moveTo>
                <a:lnTo>
                  <a:pt x="360106" y="4594178"/>
                </a:lnTo>
                <a:lnTo>
                  <a:pt x="389603" y="4733059"/>
                </a:lnTo>
                <a:lnTo>
                  <a:pt x="444910" y="4718310"/>
                </a:lnTo>
                <a:lnTo>
                  <a:pt x="415413" y="4579430"/>
                </a:lnTo>
                <a:close/>
                <a:moveTo>
                  <a:pt x="532171" y="4580658"/>
                </a:moveTo>
                <a:lnTo>
                  <a:pt x="479323" y="4600323"/>
                </a:lnTo>
                <a:lnTo>
                  <a:pt x="518652" y="4733059"/>
                </a:lnTo>
                <a:lnTo>
                  <a:pt x="571500" y="4714624"/>
                </a:lnTo>
                <a:lnTo>
                  <a:pt x="532171" y="4580658"/>
                </a:lnTo>
                <a:close/>
                <a:moveTo>
                  <a:pt x="415413" y="4772388"/>
                </a:moveTo>
                <a:lnTo>
                  <a:pt x="360106" y="4788366"/>
                </a:lnTo>
                <a:lnTo>
                  <a:pt x="389603" y="4927246"/>
                </a:lnTo>
                <a:lnTo>
                  <a:pt x="444910" y="4911269"/>
                </a:lnTo>
                <a:lnTo>
                  <a:pt x="415413" y="4772388"/>
                </a:lnTo>
                <a:close/>
                <a:moveTo>
                  <a:pt x="532171" y="4773617"/>
                </a:moveTo>
                <a:lnTo>
                  <a:pt x="479323" y="4794510"/>
                </a:lnTo>
                <a:lnTo>
                  <a:pt x="518652" y="4927246"/>
                </a:lnTo>
                <a:lnTo>
                  <a:pt x="571500" y="4907581"/>
                </a:lnTo>
                <a:lnTo>
                  <a:pt x="532171" y="4773617"/>
                </a:lnTo>
                <a:close/>
                <a:moveTo>
                  <a:pt x="651388" y="4773617"/>
                </a:moveTo>
                <a:lnTo>
                  <a:pt x="599769" y="4798198"/>
                </a:lnTo>
                <a:lnTo>
                  <a:pt x="648930" y="4927246"/>
                </a:lnTo>
                <a:lnTo>
                  <a:pt x="699320" y="4902665"/>
                </a:lnTo>
                <a:lnTo>
                  <a:pt x="651388" y="4773617"/>
                </a:lnTo>
                <a:close/>
                <a:moveTo>
                  <a:pt x="769375" y="4773617"/>
                </a:moveTo>
                <a:lnTo>
                  <a:pt x="721442" y="4803114"/>
                </a:lnTo>
                <a:lnTo>
                  <a:pt x="779207" y="4927246"/>
                </a:lnTo>
                <a:lnTo>
                  <a:pt x="828369" y="4897749"/>
                </a:lnTo>
                <a:lnTo>
                  <a:pt x="769375" y="4773617"/>
                </a:lnTo>
                <a:close/>
                <a:moveTo>
                  <a:pt x="887362" y="4773617"/>
                </a:moveTo>
                <a:lnTo>
                  <a:pt x="840659" y="4808030"/>
                </a:lnTo>
                <a:lnTo>
                  <a:pt x="908255" y="4927246"/>
                </a:lnTo>
                <a:lnTo>
                  <a:pt x="954959" y="4892833"/>
                </a:lnTo>
                <a:lnTo>
                  <a:pt x="887362" y="4773617"/>
                </a:lnTo>
                <a:close/>
                <a:moveTo>
                  <a:pt x="1005350" y="4773617"/>
                </a:moveTo>
                <a:lnTo>
                  <a:pt x="959875" y="4812946"/>
                </a:lnTo>
                <a:lnTo>
                  <a:pt x="1037304" y="4926017"/>
                </a:lnTo>
                <a:lnTo>
                  <a:pt x="1082778" y="4886688"/>
                </a:lnTo>
                <a:lnTo>
                  <a:pt x="1005350" y="4773617"/>
                </a:lnTo>
                <a:close/>
                <a:moveTo>
                  <a:pt x="1123337" y="4773617"/>
                </a:moveTo>
                <a:lnTo>
                  <a:pt x="1080320" y="4817863"/>
                </a:lnTo>
                <a:lnTo>
                  <a:pt x="1167582" y="4927246"/>
                </a:lnTo>
                <a:lnTo>
                  <a:pt x="1210598" y="4883001"/>
                </a:lnTo>
                <a:lnTo>
                  <a:pt x="1123337" y="4773617"/>
                </a:lnTo>
                <a:close/>
                <a:moveTo>
                  <a:pt x="1240094" y="4773617"/>
                </a:moveTo>
                <a:lnTo>
                  <a:pt x="1199537" y="4822779"/>
                </a:lnTo>
                <a:lnTo>
                  <a:pt x="1296630" y="4927246"/>
                </a:lnTo>
                <a:lnTo>
                  <a:pt x="1338417" y="4878085"/>
                </a:lnTo>
                <a:lnTo>
                  <a:pt x="1240094" y="4773617"/>
                </a:lnTo>
                <a:close/>
                <a:moveTo>
                  <a:pt x="1359311" y="4773617"/>
                </a:moveTo>
                <a:lnTo>
                  <a:pt x="1319982" y="4827695"/>
                </a:lnTo>
                <a:lnTo>
                  <a:pt x="1426908" y="4926017"/>
                </a:lnTo>
                <a:lnTo>
                  <a:pt x="1466237" y="4873168"/>
                </a:lnTo>
                <a:lnTo>
                  <a:pt x="1359311" y="4773617"/>
                </a:lnTo>
                <a:close/>
                <a:moveTo>
                  <a:pt x="178209" y="4773617"/>
                </a:moveTo>
                <a:lnTo>
                  <a:pt x="119216" y="4778533"/>
                </a:lnTo>
                <a:lnTo>
                  <a:pt x="129048" y="4927246"/>
                </a:lnTo>
                <a:lnTo>
                  <a:pt x="188042" y="4922330"/>
                </a:lnTo>
                <a:lnTo>
                  <a:pt x="178209" y="4773617"/>
                </a:lnTo>
                <a:close/>
                <a:moveTo>
                  <a:pt x="296197" y="4773617"/>
                </a:moveTo>
                <a:lnTo>
                  <a:pt x="239661" y="4783450"/>
                </a:lnTo>
                <a:lnTo>
                  <a:pt x="259326" y="4927246"/>
                </a:lnTo>
                <a:lnTo>
                  <a:pt x="315861" y="4917414"/>
                </a:lnTo>
                <a:lnTo>
                  <a:pt x="296197" y="4773617"/>
                </a:lnTo>
                <a:close/>
                <a:moveTo>
                  <a:pt x="178209" y="4967805"/>
                </a:moveTo>
                <a:lnTo>
                  <a:pt x="119216" y="4972721"/>
                </a:lnTo>
                <a:lnTo>
                  <a:pt x="129048" y="5121433"/>
                </a:lnTo>
                <a:lnTo>
                  <a:pt x="188042" y="5116517"/>
                </a:lnTo>
                <a:lnTo>
                  <a:pt x="178209" y="4967805"/>
                </a:lnTo>
                <a:close/>
                <a:moveTo>
                  <a:pt x="296197" y="4967805"/>
                </a:moveTo>
                <a:lnTo>
                  <a:pt x="239661" y="4977637"/>
                </a:lnTo>
                <a:lnTo>
                  <a:pt x="259326" y="5121433"/>
                </a:lnTo>
                <a:lnTo>
                  <a:pt x="315861" y="5111601"/>
                </a:lnTo>
                <a:lnTo>
                  <a:pt x="296197" y="4967805"/>
                </a:lnTo>
                <a:close/>
                <a:moveTo>
                  <a:pt x="651388" y="4967805"/>
                </a:moveTo>
                <a:lnTo>
                  <a:pt x="599769" y="4992385"/>
                </a:lnTo>
                <a:lnTo>
                  <a:pt x="648930" y="5121433"/>
                </a:lnTo>
                <a:lnTo>
                  <a:pt x="699320" y="5095624"/>
                </a:lnTo>
                <a:lnTo>
                  <a:pt x="651388" y="4967805"/>
                </a:lnTo>
                <a:close/>
                <a:moveTo>
                  <a:pt x="769375" y="4967805"/>
                </a:moveTo>
                <a:lnTo>
                  <a:pt x="720214" y="4998530"/>
                </a:lnTo>
                <a:lnTo>
                  <a:pt x="777978" y="5121433"/>
                </a:lnTo>
                <a:lnTo>
                  <a:pt x="827139" y="5091936"/>
                </a:lnTo>
                <a:lnTo>
                  <a:pt x="769375" y="4967805"/>
                </a:lnTo>
                <a:close/>
                <a:moveTo>
                  <a:pt x="887362" y="4967805"/>
                </a:moveTo>
                <a:lnTo>
                  <a:pt x="840659" y="5002218"/>
                </a:lnTo>
                <a:lnTo>
                  <a:pt x="908255" y="5121433"/>
                </a:lnTo>
                <a:lnTo>
                  <a:pt x="954959" y="5087020"/>
                </a:lnTo>
                <a:lnTo>
                  <a:pt x="887362" y="4967805"/>
                </a:lnTo>
                <a:close/>
                <a:moveTo>
                  <a:pt x="1005350" y="4967805"/>
                </a:moveTo>
                <a:lnTo>
                  <a:pt x="959875" y="5007134"/>
                </a:lnTo>
                <a:lnTo>
                  <a:pt x="1037304" y="5120205"/>
                </a:lnTo>
                <a:lnTo>
                  <a:pt x="1082778" y="5080876"/>
                </a:lnTo>
                <a:lnTo>
                  <a:pt x="1005350" y="4967805"/>
                </a:lnTo>
                <a:close/>
                <a:moveTo>
                  <a:pt x="1123337" y="4969033"/>
                </a:moveTo>
                <a:lnTo>
                  <a:pt x="1080320" y="5013278"/>
                </a:lnTo>
                <a:lnTo>
                  <a:pt x="1167582" y="5121433"/>
                </a:lnTo>
                <a:lnTo>
                  <a:pt x="1210598" y="5077188"/>
                </a:lnTo>
                <a:lnTo>
                  <a:pt x="1123337" y="4969033"/>
                </a:lnTo>
                <a:close/>
                <a:moveTo>
                  <a:pt x="1241324" y="4969033"/>
                </a:moveTo>
                <a:lnTo>
                  <a:pt x="1200765" y="5018194"/>
                </a:lnTo>
                <a:lnTo>
                  <a:pt x="1297860" y="5121433"/>
                </a:lnTo>
                <a:lnTo>
                  <a:pt x="1338417" y="5072272"/>
                </a:lnTo>
                <a:lnTo>
                  <a:pt x="1241324" y="4969033"/>
                </a:lnTo>
                <a:close/>
                <a:moveTo>
                  <a:pt x="1359311" y="4969033"/>
                </a:moveTo>
                <a:lnTo>
                  <a:pt x="1319982" y="5023110"/>
                </a:lnTo>
                <a:lnTo>
                  <a:pt x="1426908" y="5121433"/>
                </a:lnTo>
                <a:lnTo>
                  <a:pt x="1466237" y="5067356"/>
                </a:lnTo>
                <a:lnTo>
                  <a:pt x="1359311" y="4969033"/>
                </a:lnTo>
                <a:close/>
                <a:moveTo>
                  <a:pt x="415413" y="4969033"/>
                </a:moveTo>
                <a:lnTo>
                  <a:pt x="360106" y="4983781"/>
                </a:lnTo>
                <a:lnTo>
                  <a:pt x="389603" y="5122663"/>
                </a:lnTo>
                <a:lnTo>
                  <a:pt x="444910" y="5107914"/>
                </a:lnTo>
                <a:lnTo>
                  <a:pt x="415413" y="4969033"/>
                </a:lnTo>
                <a:close/>
                <a:moveTo>
                  <a:pt x="532171" y="4969033"/>
                </a:moveTo>
                <a:lnTo>
                  <a:pt x="479323" y="4988698"/>
                </a:lnTo>
                <a:lnTo>
                  <a:pt x="518652" y="5122663"/>
                </a:lnTo>
                <a:lnTo>
                  <a:pt x="571500" y="5102998"/>
                </a:lnTo>
                <a:lnTo>
                  <a:pt x="532171" y="4969033"/>
                </a:lnTo>
                <a:close/>
                <a:moveTo>
                  <a:pt x="178209" y="5161992"/>
                </a:moveTo>
                <a:lnTo>
                  <a:pt x="119216" y="5166908"/>
                </a:lnTo>
                <a:lnTo>
                  <a:pt x="129048" y="5315620"/>
                </a:lnTo>
                <a:lnTo>
                  <a:pt x="188042" y="5310704"/>
                </a:lnTo>
                <a:lnTo>
                  <a:pt x="178209" y="5161992"/>
                </a:lnTo>
                <a:close/>
                <a:moveTo>
                  <a:pt x="296197" y="5161992"/>
                </a:moveTo>
                <a:lnTo>
                  <a:pt x="239661" y="5171824"/>
                </a:lnTo>
                <a:lnTo>
                  <a:pt x="259326" y="5315620"/>
                </a:lnTo>
                <a:lnTo>
                  <a:pt x="315861" y="5305788"/>
                </a:lnTo>
                <a:lnTo>
                  <a:pt x="296197" y="5161992"/>
                </a:lnTo>
                <a:close/>
                <a:moveTo>
                  <a:pt x="651388" y="5161992"/>
                </a:moveTo>
                <a:lnTo>
                  <a:pt x="599769" y="5186573"/>
                </a:lnTo>
                <a:lnTo>
                  <a:pt x="648930" y="5315620"/>
                </a:lnTo>
                <a:lnTo>
                  <a:pt x="699320" y="5291040"/>
                </a:lnTo>
                <a:lnTo>
                  <a:pt x="651388" y="5161992"/>
                </a:lnTo>
                <a:close/>
                <a:moveTo>
                  <a:pt x="769375" y="5161992"/>
                </a:moveTo>
                <a:lnTo>
                  <a:pt x="720214" y="5192717"/>
                </a:lnTo>
                <a:lnTo>
                  <a:pt x="777978" y="5315620"/>
                </a:lnTo>
                <a:lnTo>
                  <a:pt x="827139" y="5286124"/>
                </a:lnTo>
                <a:lnTo>
                  <a:pt x="769375" y="5161992"/>
                </a:lnTo>
                <a:close/>
                <a:moveTo>
                  <a:pt x="1359311" y="5161992"/>
                </a:moveTo>
                <a:lnTo>
                  <a:pt x="1319982" y="5217298"/>
                </a:lnTo>
                <a:lnTo>
                  <a:pt x="1426908" y="5314392"/>
                </a:lnTo>
                <a:lnTo>
                  <a:pt x="1466237" y="5260315"/>
                </a:lnTo>
                <a:lnTo>
                  <a:pt x="1359311" y="5161992"/>
                </a:lnTo>
                <a:close/>
                <a:moveTo>
                  <a:pt x="1476069" y="5163220"/>
                </a:moveTo>
                <a:lnTo>
                  <a:pt x="1439198" y="5222214"/>
                </a:lnTo>
                <a:lnTo>
                  <a:pt x="1555957" y="5315620"/>
                </a:lnTo>
                <a:lnTo>
                  <a:pt x="1592828" y="5256627"/>
                </a:lnTo>
                <a:lnTo>
                  <a:pt x="1476069" y="5163220"/>
                </a:lnTo>
                <a:close/>
                <a:moveTo>
                  <a:pt x="887362" y="5163220"/>
                </a:moveTo>
                <a:lnTo>
                  <a:pt x="840659" y="5197633"/>
                </a:lnTo>
                <a:lnTo>
                  <a:pt x="908255" y="5315620"/>
                </a:lnTo>
                <a:lnTo>
                  <a:pt x="954959" y="5282437"/>
                </a:lnTo>
                <a:lnTo>
                  <a:pt x="887362" y="5163220"/>
                </a:lnTo>
                <a:close/>
                <a:moveTo>
                  <a:pt x="1005350" y="5163220"/>
                </a:moveTo>
                <a:lnTo>
                  <a:pt x="959875" y="5202549"/>
                </a:lnTo>
                <a:lnTo>
                  <a:pt x="1037304" y="5315620"/>
                </a:lnTo>
                <a:lnTo>
                  <a:pt x="1082778" y="5276291"/>
                </a:lnTo>
                <a:lnTo>
                  <a:pt x="1005350" y="5163220"/>
                </a:lnTo>
                <a:close/>
                <a:moveTo>
                  <a:pt x="1123337" y="5163220"/>
                </a:moveTo>
                <a:lnTo>
                  <a:pt x="1080320" y="5207466"/>
                </a:lnTo>
                <a:lnTo>
                  <a:pt x="1167582" y="5315620"/>
                </a:lnTo>
                <a:lnTo>
                  <a:pt x="1210598" y="5271375"/>
                </a:lnTo>
                <a:lnTo>
                  <a:pt x="1123337" y="5163220"/>
                </a:lnTo>
                <a:close/>
                <a:moveTo>
                  <a:pt x="1242552" y="5163220"/>
                </a:moveTo>
                <a:lnTo>
                  <a:pt x="1200765" y="5212382"/>
                </a:lnTo>
                <a:lnTo>
                  <a:pt x="1297860" y="5315620"/>
                </a:lnTo>
                <a:lnTo>
                  <a:pt x="1338417" y="5266459"/>
                </a:lnTo>
                <a:lnTo>
                  <a:pt x="1242552" y="5163220"/>
                </a:lnTo>
                <a:close/>
                <a:moveTo>
                  <a:pt x="415413" y="5163220"/>
                </a:moveTo>
                <a:lnTo>
                  <a:pt x="360106" y="5177969"/>
                </a:lnTo>
                <a:lnTo>
                  <a:pt x="389603" y="5316850"/>
                </a:lnTo>
                <a:lnTo>
                  <a:pt x="444910" y="5302102"/>
                </a:lnTo>
                <a:lnTo>
                  <a:pt x="415413" y="5163220"/>
                </a:lnTo>
                <a:close/>
                <a:moveTo>
                  <a:pt x="532171" y="5163220"/>
                </a:moveTo>
                <a:lnTo>
                  <a:pt x="479323" y="5182885"/>
                </a:lnTo>
                <a:lnTo>
                  <a:pt x="518652" y="5315620"/>
                </a:lnTo>
                <a:lnTo>
                  <a:pt x="571500" y="5297186"/>
                </a:lnTo>
                <a:lnTo>
                  <a:pt x="532171" y="5163220"/>
                </a:lnTo>
                <a:close/>
                <a:moveTo>
                  <a:pt x="178209" y="5350033"/>
                </a:moveTo>
                <a:lnTo>
                  <a:pt x="119216" y="5354950"/>
                </a:lnTo>
                <a:lnTo>
                  <a:pt x="129048" y="5503663"/>
                </a:lnTo>
                <a:lnTo>
                  <a:pt x="188042" y="5498747"/>
                </a:lnTo>
                <a:lnTo>
                  <a:pt x="178209" y="5350033"/>
                </a:lnTo>
                <a:close/>
                <a:moveTo>
                  <a:pt x="296197" y="5350033"/>
                </a:moveTo>
                <a:lnTo>
                  <a:pt x="239661" y="5359867"/>
                </a:lnTo>
                <a:lnTo>
                  <a:pt x="259326" y="5503663"/>
                </a:lnTo>
                <a:lnTo>
                  <a:pt x="315861" y="5493831"/>
                </a:lnTo>
                <a:lnTo>
                  <a:pt x="296197" y="5350033"/>
                </a:lnTo>
                <a:close/>
                <a:moveTo>
                  <a:pt x="415413" y="5350033"/>
                </a:moveTo>
                <a:lnTo>
                  <a:pt x="360106" y="5364783"/>
                </a:lnTo>
                <a:lnTo>
                  <a:pt x="389603" y="5503663"/>
                </a:lnTo>
                <a:lnTo>
                  <a:pt x="444910" y="5488915"/>
                </a:lnTo>
                <a:lnTo>
                  <a:pt x="415413" y="5350033"/>
                </a:lnTo>
                <a:close/>
                <a:moveTo>
                  <a:pt x="532171" y="5350033"/>
                </a:moveTo>
                <a:lnTo>
                  <a:pt x="479323" y="5369698"/>
                </a:lnTo>
                <a:lnTo>
                  <a:pt x="518652" y="5503663"/>
                </a:lnTo>
                <a:lnTo>
                  <a:pt x="571500" y="5483999"/>
                </a:lnTo>
                <a:lnTo>
                  <a:pt x="532171" y="5350033"/>
                </a:lnTo>
                <a:close/>
                <a:moveTo>
                  <a:pt x="651388" y="5350033"/>
                </a:moveTo>
                <a:lnTo>
                  <a:pt x="599769" y="5374614"/>
                </a:lnTo>
                <a:lnTo>
                  <a:pt x="648930" y="5503663"/>
                </a:lnTo>
                <a:lnTo>
                  <a:pt x="699320" y="5479083"/>
                </a:lnTo>
                <a:lnTo>
                  <a:pt x="651388" y="5350033"/>
                </a:lnTo>
                <a:close/>
                <a:moveTo>
                  <a:pt x="769375" y="5350033"/>
                </a:moveTo>
                <a:lnTo>
                  <a:pt x="720214" y="5378302"/>
                </a:lnTo>
                <a:lnTo>
                  <a:pt x="777978" y="5502434"/>
                </a:lnTo>
                <a:lnTo>
                  <a:pt x="827139" y="5472937"/>
                </a:lnTo>
                <a:lnTo>
                  <a:pt x="769375" y="5350033"/>
                </a:lnTo>
                <a:close/>
                <a:moveTo>
                  <a:pt x="887362" y="5350033"/>
                </a:moveTo>
                <a:lnTo>
                  <a:pt x="840659" y="5384448"/>
                </a:lnTo>
                <a:lnTo>
                  <a:pt x="908255" y="5503663"/>
                </a:lnTo>
                <a:lnTo>
                  <a:pt x="954959" y="5469250"/>
                </a:lnTo>
                <a:lnTo>
                  <a:pt x="887362" y="5350033"/>
                </a:lnTo>
                <a:close/>
                <a:moveTo>
                  <a:pt x="1005350" y="5350033"/>
                </a:moveTo>
                <a:lnTo>
                  <a:pt x="959875" y="5388134"/>
                </a:lnTo>
                <a:lnTo>
                  <a:pt x="1037304" y="5502434"/>
                </a:lnTo>
                <a:lnTo>
                  <a:pt x="1082778" y="5463106"/>
                </a:lnTo>
                <a:lnTo>
                  <a:pt x="1005350" y="5350033"/>
                </a:lnTo>
                <a:close/>
                <a:moveTo>
                  <a:pt x="1123337" y="5350033"/>
                </a:moveTo>
                <a:lnTo>
                  <a:pt x="1080320" y="5394279"/>
                </a:lnTo>
                <a:lnTo>
                  <a:pt x="1167582" y="5503663"/>
                </a:lnTo>
                <a:lnTo>
                  <a:pt x="1210598" y="5459418"/>
                </a:lnTo>
                <a:lnTo>
                  <a:pt x="1123337" y="5350033"/>
                </a:lnTo>
                <a:close/>
                <a:moveTo>
                  <a:pt x="1242552" y="5350033"/>
                </a:moveTo>
                <a:lnTo>
                  <a:pt x="1200765" y="5399195"/>
                </a:lnTo>
                <a:lnTo>
                  <a:pt x="1297860" y="5503663"/>
                </a:lnTo>
                <a:lnTo>
                  <a:pt x="1338417" y="5454502"/>
                </a:lnTo>
                <a:lnTo>
                  <a:pt x="1242552" y="5350033"/>
                </a:lnTo>
                <a:close/>
                <a:moveTo>
                  <a:pt x="1359311" y="5350033"/>
                </a:moveTo>
                <a:lnTo>
                  <a:pt x="1319982" y="5404111"/>
                </a:lnTo>
                <a:lnTo>
                  <a:pt x="1426908" y="5502434"/>
                </a:lnTo>
                <a:lnTo>
                  <a:pt x="1466237" y="5448356"/>
                </a:lnTo>
                <a:lnTo>
                  <a:pt x="1359311" y="5350033"/>
                </a:lnTo>
                <a:close/>
                <a:moveTo>
                  <a:pt x="1476069" y="5350033"/>
                </a:moveTo>
                <a:lnTo>
                  <a:pt x="1439198" y="5409028"/>
                </a:lnTo>
                <a:lnTo>
                  <a:pt x="1555957" y="5503663"/>
                </a:lnTo>
                <a:lnTo>
                  <a:pt x="1592828" y="5444670"/>
                </a:lnTo>
                <a:lnTo>
                  <a:pt x="1476069" y="5350033"/>
                </a:lnTo>
                <a:close/>
                <a:moveTo>
                  <a:pt x="178209" y="5541763"/>
                </a:moveTo>
                <a:lnTo>
                  <a:pt x="119216" y="5546679"/>
                </a:lnTo>
                <a:lnTo>
                  <a:pt x="129048" y="5695392"/>
                </a:lnTo>
                <a:lnTo>
                  <a:pt x="188042" y="5690476"/>
                </a:lnTo>
                <a:lnTo>
                  <a:pt x="178209" y="5541763"/>
                </a:lnTo>
                <a:close/>
                <a:moveTo>
                  <a:pt x="296197" y="5541763"/>
                </a:moveTo>
                <a:lnTo>
                  <a:pt x="239661" y="5551595"/>
                </a:lnTo>
                <a:lnTo>
                  <a:pt x="259326" y="5695392"/>
                </a:lnTo>
                <a:lnTo>
                  <a:pt x="315861" y="5685560"/>
                </a:lnTo>
                <a:lnTo>
                  <a:pt x="296197" y="5541763"/>
                </a:lnTo>
                <a:close/>
                <a:moveTo>
                  <a:pt x="651388" y="5541763"/>
                </a:moveTo>
                <a:lnTo>
                  <a:pt x="599769" y="5567573"/>
                </a:lnTo>
                <a:lnTo>
                  <a:pt x="648930" y="5695392"/>
                </a:lnTo>
                <a:lnTo>
                  <a:pt x="699320" y="5670812"/>
                </a:lnTo>
                <a:lnTo>
                  <a:pt x="651388" y="5541763"/>
                </a:lnTo>
                <a:close/>
                <a:moveTo>
                  <a:pt x="769375" y="5541763"/>
                </a:moveTo>
                <a:lnTo>
                  <a:pt x="720214" y="5572489"/>
                </a:lnTo>
                <a:lnTo>
                  <a:pt x="777978" y="5695392"/>
                </a:lnTo>
                <a:lnTo>
                  <a:pt x="827139" y="5665896"/>
                </a:lnTo>
                <a:lnTo>
                  <a:pt x="769375" y="5541763"/>
                </a:lnTo>
                <a:close/>
                <a:moveTo>
                  <a:pt x="887362" y="5541763"/>
                </a:moveTo>
                <a:lnTo>
                  <a:pt x="840659" y="5576176"/>
                </a:lnTo>
                <a:lnTo>
                  <a:pt x="908255" y="5695392"/>
                </a:lnTo>
                <a:lnTo>
                  <a:pt x="954959" y="5660980"/>
                </a:lnTo>
                <a:lnTo>
                  <a:pt x="887362" y="5541763"/>
                </a:lnTo>
                <a:close/>
                <a:moveTo>
                  <a:pt x="1005350" y="5541763"/>
                </a:moveTo>
                <a:lnTo>
                  <a:pt x="959875" y="5581093"/>
                </a:lnTo>
                <a:lnTo>
                  <a:pt x="1037304" y="5694163"/>
                </a:lnTo>
                <a:lnTo>
                  <a:pt x="1082778" y="5654835"/>
                </a:lnTo>
                <a:lnTo>
                  <a:pt x="1005350" y="5541763"/>
                </a:lnTo>
                <a:close/>
                <a:moveTo>
                  <a:pt x="1123337" y="5541763"/>
                </a:moveTo>
                <a:lnTo>
                  <a:pt x="1080320" y="5587238"/>
                </a:lnTo>
                <a:lnTo>
                  <a:pt x="1167582" y="5695392"/>
                </a:lnTo>
                <a:lnTo>
                  <a:pt x="1210598" y="5651147"/>
                </a:lnTo>
                <a:lnTo>
                  <a:pt x="1123337" y="5541763"/>
                </a:lnTo>
                <a:close/>
                <a:moveTo>
                  <a:pt x="1242552" y="5541763"/>
                </a:moveTo>
                <a:lnTo>
                  <a:pt x="1200765" y="5592154"/>
                </a:lnTo>
                <a:lnTo>
                  <a:pt x="1297860" y="5695392"/>
                </a:lnTo>
                <a:lnTo>
                  <a:pt x="1338417" y="5646231"/>
                </a:lnTo>
                <a:lnTo>
                  <a:pt x="1242552" y="5541763"/>
                </a:lnTo>
                <a:close/>
                <a:moveTo>
                  <a:pt x="1359311" y="5541763"/>
                </a:moveTo>
                <a:lnTo>
                  <a:pt x="1319982" y="5597070"/>
                </a:lnTo>
                <a:lnTo>
                  <a:pt x="1426908" y="5694163"/>
                </a:lnTo>
                <a:lnTo>
                  <a:pt x="1466237" y="5640085"/>
                </a:lnTo>
                <a:lnTo>
                  <a:pt x="1359311" y="5541763"/>
                </a:lnTo>
                <a:close/>
                <a:moveTo>
                  <a:pt x="1476069" y="5542992"/>
                </a:moveTo>
                <a:lnTo>
                  <a:pt x="1439198" y="5601986"/>
                </a:lnTo>
                <a:lnTo>
                  <a:pt x="1555957" y="5695392"/>
                </a:lnTo>
                <a:lnTo>
                  <a:pt x="1592828" y="5636399"/>
                </a:lnTo>
                <a:lnTo>
                  <a:pt x="1476069" y="5542992"/>
                </a:lnTo>
                <a:close/>
                <a:moveTo>
                  <a:pt x="415413" y="5542992"/>
                </a:moveTo>
                <a:lnTo>
                  <a:pt x="360106" y="5557741"/>
                </a:lnTo>
                <a:lnTo>
                  <a:pt x="389603" y="5695392"/>
                </a:lnTo>
                <a:lnTo>
                  <a:pt x="444910" y="5681872"/>
                </a:lnTo>
                <a:lnTo>
                  <a:pt x="415413" y="5542992"/>
                </a:lnTo>
                <a:close/>
                <a:moveTo>
                  <a:pt x="532171" y="5542992"/>
                </a:moveTo>
                <a:lnTo>
                  <a:pt x="479323" y="5562657"/>
                </a:lnTo>
                <a:lnTo>
                  <a:pt x="518652" y="5695392"/>
                </a:lnTo>
                <a:lnTo>
                  <a:pt x="571500" y="5676956"/>
                </a:lnTo>
                <a:lnTo>
                  <a:pt x="532171" y="5542992"/>
                </a:lnTo>
                <a:close/>
                <a:moveTo>
                  <a:pt x="415413" y="5733493"/>
                </a:moveTo>
                <a:lnTo>
                  <a:pt x="360106" y="5748240"/>
                </a:lnTo>
                <a:lnTo>
                  <a:pt x="389603" y="5887122"/>
                </a:lnTo>
                <a:lnTo>
                  <a:pt x="444910" y="5872373"/>
                </a:lnTo>
                <a:lnTo>
                  <a:pt x="415413" y="5733493"/>
                </a:lnTo>
                <a:close/>
                <a:moveTo>
                  <a:pt x="651388" y="5733493"/>
                </a:moveTo>
                <a:lnTo>
                  <a:pt x="599769" y="5758074"/>
                </a:lnTo>
                <a:lnTo>
                  <a:pt x="648930" y="5887122"/>
                </a:lnTo>
                <a:lnTo>
                  <a:pt x="699320" y="5862541"/>
                </a:lnTo>
                <a:lnTo>
                  <a:pt x="651388" y="5733493"/>
                </a:lnTo>
                <a:close/>
                <a:moveTo>
                  <a:pt x="1123337" y="5733493"/>
                </a:moveTo>
                <a:lnTo>
                  <a:pt x="1080320" y="5778967"/>
                </a:lnTo>
                <a:lnTo>
                  <a:pt x="1167582" y="5887122"/>
                </a:lnTo>
                <a:lnTo>
                  <a:pt x="1210598" y="5842877"/>
                </a:lnTo>
                <a:lnTo>
                  <a:pt x="1123337" y="5733493"/>
                </a:lnTo>
                <a:close/>
                <a:moveTo>
                  <a:pt x="1242552" y="5733493"/>
                </a:moveTo>
                <a:lnTo>
                  <a:pt x="1200765" y="5782655"/>
                </a:lnTo>
                <a:lnTo>
                  <a:pt x="1297860" y="5887122"/>
                </a:lnTo>
                <a:lnTo>
                  <a:pt x="1338417" y="5837960"/>
                </a:lnTo>
                <a:lnTo>
                  <a:pt x="1242552" y="5733493"/>
                </a:lnTo>
                <a:close/>
                <a:moveTo>
                  <a:pt x="1359311" y="5734722"/>
                </a:moveTo>
                <a:lnTo>
                  <a:pt x="1319982" y="5788799"/>
                </a:lnTo>
                <a:lnTo>
                  <a:pt x="1426908" y="5887122"/>
                </a:lnTo>
                <a:lnTo>
                  <a:pt x="1466237" y="5833044"/>
                </a:lnTo>
                <a:lnTo>
                  <a:pt x="1359311" y="5734722"/>
                </a:lnTo>
                <a:close/>
                <a:moveTo>
                  <a:pt x="769375" y="5734722"/>
                </a:moveTo>
                <a:lnTo>
                  <a:pt x="720214" y="5764218"/>
                </a:lnTo>
                <a:lnTo>
                  <a:pt x="777978" y="5888351"/>
                </a:lnTo>
                <a:lnTo>
                  <a:pt x="827139" y="5858853"/>
                </a:lnTo>
                <a:lnTo>
                  <a:pt x="769375" y="5734722"/>
                </a:lnTo>
                <a:close/>
                <a:moveTo>
                  <a:pt x="1005350" y="5734722"/>
                </a:moveTo>
                <a:lnTo>
                  <a:pt x="959875" y="5774051"/>
                </a:lnTo>
                <a:lnTo>
                  <a:pt x="1037304" y="5887122"/>
                </a:lnTo>
                <a:lnTo>
                  <a:pt x="1082778" y="5847793"/>
                </a:lnTo>
                <a:lnTo>
                  <a:pt x="1005350" y="5734722"/>
                </a:lnTo>
                <a:close/>
                <a:moveTo>
                  <a:pt x="887362" y="5735950"/>
                </a:moveTo>
                <a:lnTo>
                  <a:pt x="840659" y="5770364"/>
                </a:lnTo>
                <a:lnTo>
                  <a:pt x="908255" y="5888351"/>
                </a:lnTo>
                <a:lnTo>
                  <a:pt x="954959" y="5853937"/>
                </a:lnTo>
                <a:lnTo>
                  <a:pt x="887362" y="5735950"/>
                </a:lnTo>
                <a:close/>
                <a:moveTo>
                  <a:pt x="532171" y="5734722"/>
                </a:moveTo>
                <a:lnTo>
                  <a:pt x="479323" y="5754386"/>
                </a:lnTo>
                <a:lnTo>
                  <a:pt x="518652" y="5887122"/>
                </a:lnTo>
                <a:lnTo>
                  <a:pt x="571500" y="5868687"/>
                </a:lnTo>
                <a:lnTo>
                  <a:pt x="532171" y="5734722"/>
                </a:lnTo>
                <a:close/>
                <a:moveTo>
                  <a:pt x="178209" y="5734722"/>
                </a:moveTo>
                <a:lnTo>
                  <a:pt x="119216" y="5739638"/>
                </a:lnTo>
                <a:lnTo>
                  <a:pt x="129048" y="5888351"/>
                </a:lnTo>
                <a:lnTo>
                  <a:pt x="188042" y="5883434"/>
                </a:lnTo>
                <a:lnTo>
                  <a:pt x="178209" y="5734722"/>
                </a:lnTo>
                <a:close/>
                <a:moveTo>
                  <a:pt x="296197" y="5734722"/>
                </a:moveTo>
                <a:lnTo>
                  <a:pt x="239661" y="5744554"/>
                </a:lnTo>
                <a:lnTo>
                  <a:pt x="259326" y="5888351"/>
                </a:lnTo>
                <a:lnTo>
                  <a:pt x="315861" y="5878518"/>
                </a:lnTo>
                <a:lnTo>
                  <a:pt x="296197" y="5734722"/>
                </a:lnTo>
                <a:close/>
                <a:moveTo>
                  <a:pt x="887362" y="5925222"/>
                </a:moveTo>
                <a:lnTo>
                  <a:pt x="840659" y="5959634"/>
                </a:lnTo>
                <a:lnTo>
                  <a:pt x="908255" y="6078851"/>
                </a:lnTo>
                <a:lnTo>
                  <a:pt x="954959" y="6044438"/>
                </a:lnTo>
                <a:lnTo>
                  <a:pt x="887362" y="5925222"/>
                </a:lnTo>
                <a:close/>
                <a:moveTo>
                  <a:pt x="1359311" y="5925222"/>
                </a:moveTo>
                <a:lnTo>
                  <a:pt x="1319982" y="5980528"/>
                </a:lnTo>
                <a:lnTo>
                  <a:pt x="1426908" y="6077623"/>
                </a:lnTo>
                <a:lnTo>
                  <a:pt x="1466237" y="6023545"/>
                </a:lnTo>
                <a:lnTo>
                  <a:pt x="1359311" y="5925222"/>
                </a:lnTo>
                <a:close/>
                <a:moveTo>
                  <a:pt x="1005350" y="5926451"/>
                </a:moveTo>
                <a:lnTo>
                  <a:pt x="959875" y="5965780"/>
                </a:lnTo>
                <a:lnTo>
                  <a:pt x="1037304" y="6078851"/>
                </a:lnTo>
                <a:lnTo>
                  <a:pt x="1082778" y="6039522"/>
                </a:lnTo>
                <a:lnTo>
                  <a:pt x="1005350" y="5926451"/>
                </a:lnTo>
                <a:close/>
                <a:moveTo>
                  <a:pt x="1123337" y="5926451"/>
                </a:moveTo>
                <a:lnTo>
                  <a:pt x="1080320" y="5970696"/>
                </a:lnTo>
                <a:lnTo>
                  <a:pt x="1167582" y="6080079"/>
                </a:lnTo>
                <a:lnTo>
                  <a:pt x="1210598" y="6035835"/>
                </a:lnTo>
                <a:lnTo>
                  <a:pt x="1123337" y="5926451"/>
                </a:lnTo>
                <a:close/>
                <a:moveTo>
                  <a:pt x="1242552" y="5927679"/>
                </a:moveTo>
                <a:lnTo>
                  <a:pt x="1200765" y="5976841"/>
                </a:lnTo>
                <a:lnTo>
                  <a:pt x="1297860" y="6080079"/>
                </a:lnTo>
                <a:lnTo>
                  <a:pt x="1338417" y="6030918"/>
                </a:lnTo>
                <a:lnTo>
                  <a:pt x="1242552" y="5927679"/>
                </a:lnTo>
                <a:close/>
                <a:moveTo>
                  <a:pt x="178209" y="5926451"/>
                </a:moveTo>
                <a:lnTo>
                  <a:pt x="119216" y="5931367"/>
                </a:lnTo>
                <a:lnTo>
                  <a:pt x="129048" y="6080079"/>
                </a:lnTo>
                <a:lnTo>
                  <a:pt x="188042" y="6075163"/>
                </a:lnTo>
                <a:lnTo>
                  <a:pt x="178209" y="5926451"/>
                </a:lnTo>
                <a:close/>
                <a:moveTo>
                  <a:pt x="296197" y="5926451"/>
                </a:moveTo>
                <a:lnTo>
                  <a:pt x="239661" y="5936283"/>
                </a:lnTo>
                <a:lnTo>
                  <a:pt x="259326" y="6080079"/>
                </a:lnTo>
                <a:lnTo>
                  <a:pt x="315861" y="6070247"/>
                </a:lnTo>
                <a:lnTo>
                  <a:pt x="296197" y="5926451"/>
                </a:lnTo>
                <a:close/>
                <a:moveTo>
                  <a:pt x="415413" y="5926451"/>
                </a:moveTo>
                <a:lnTo>
                  <a:pt x="360106" y="5941199"/>
                </a:lnTo>
                <a:lnTo>
                  <a:pt x="389603" y="6080079"/>
                </a:lnTo>
                <a:lnTo>
                  <a:pt x="444910" y="6065332"/>
                </a:lnTo>
                <a:lnTo>
                  <a:pt x="415413" y="5926451"/>
                </a:lnTo>
                <a:close/>
                <a:moveTo>
                  <a:pt x="532171" y="5926451"/>
                </a:moveTo>
                <a:lnTo>
                  <a:pt x="479323" y="5946115"/>
                </a:lnTo>
                <a:lnTo>
                  <a:pt x="518652" y="6080079"/>
                </a:lnTo>
                <a:lnTo>
                  <a:pt x="571500" y="6060416"/>
                </a:lnTo>
                <a:lnTo>
                  <a:pt x="532171" y="5926451"/>
                </a:lnTo>
                <a:close/>
                <a:moveTo>
                  <a:pt x="651388" y="5926451"/>
                </a:moveTo>
                <a:lnTo>
                  <a:pt x="599769" y="5951031"/>
                </a:lnTo>
                <a:lnTo>
                  <a:pt x="648930" y="6080079"/>
                </a:lnTo>
                <a:lnTo>
                  <a:pt x="699320" y="6055499"/>
                </a:lnTo>
                <a:lnTo>
                  <a:pt x="651388" y="5926451"/>
                </a:lnTo>
                <a:close/>
                <a:moveTo>
                  <a:pt x="769375" y="5926451"/>
                </a:moveTo>
                <a:lnTo>
                  <a:pt x="720214" y="5957176"/>
                </a:lnTo>
                <a:lnTo>
                  <a:pt x="777978" y="6080079"/>
                </a:lnTo>
                <a:lnTo>
                  <a:pt x="827139" y="6050583"/>
                </a:lnTo>
                <a:lnTo>
                  <a:pt x="769375" y="5926451"/>
                </a:lnTo>
                <a:close/>
                <a:moveTo>
                  <a:pt x="178209" y="6115722"/>
                </a:moveTo>
                <a:lnTo>
                  <a:pt x="119216" y="6120638"/>
                </a:lnTo>
                <a:lnTo>
                  <a:pt x="129048" y="6269352"/>
                </a:lnTo>
                <a:lnTo>
                  <a:pt x="188042" y="6264434"/>
                </a:lnTo>
                <a:lnTo>
                  <a:pt x="178209" y="6115722"/>
                </a:lnTo>
                <a:close/>
                <a:moveTo>
                  <a:pt x="296197" y="6115722"/>
                </a:moveTo>
                <a:lnTo>
                  <a:pt x="239661" y="6125554"/>
                </a:lnTo>
                <a:lnTo>
                  <a:pt x="259326" y="6269352"/>
                </a:lnTo>
                <a:lnTo>
                  <a:pt x="315861" y="6259520"/>
                </a:lnTo>
                <a:lnTo>
                  <a:pt x="296197" y="6115722"/>
                </a:lnTo>
                <a:close/>
                <a:moveTo>
                  <a:pt x="415413" y="6115722"/>
                </a:moveTo>
                <a:lnTo>
                  <a:pt x="360106" y="6130470"/>
                </a:lnTo>
                <a:lnTo>
                  <a:pt x="389603" y="6269352"/>
                </a:lnTo>
                <a:lnTo>
                  <a:pt x="444910" y="6254602"/>
                </a:lnTo>
                <a:lnTo>
                  <a:pt x="415413" y="6115722"/>
                </a:lnTo>
                <a:close/>
                <a:moveTo>
                  <a:pt x="651388" y="6115722"/>
                </a:moveTo>
                <a:lnTo>
                  <a:pt x="599769" y="6140303"/>
                </a:lnTo>
                <a:lnTo>
                  <a:pt x="648930" y="6269352"/>
                </a:lnTo>
                <a:lnTo>
                  <a:pt x="699320" y="6244771"/>
                </a:lnTo>
                <a:lnTo>
                  <a:pt x="651388" y="6115722"/>
                </a:lnTo>
                <a:close/>
                <a:moveTo>
                  <a:pt x="887362" y="6115722"/>
                </a:moveTo>
                <a:lnTo>
                  <a:pt x="840659" y="6150135"/>
                </a:lnTo>
                <a:lnTo>
                  <a:pt x="908255" y="6269352"/>
                </a:lnTo>
                <a:lnTo>
                  <a:pt x="954959" y="6234938"/>
                </a:lnTo>
                <a:lnTo>
                  <a:pt x="887362" y="6115722"/>
                </a:lnTo>
                <a:close/>
                <a:moveTo>
                  <a:pt x="1123337" y="6115722"/>
                </a:moveTo>
                <a:lnTo>
                  <a:pt x="1080320" y="6159967"/>
                </a:lnTo>
                <a:lnTo>
                  <a:pt x="1167582" y="6269352"/>
                </a:lnTo>
                <a:lnTo>
                  <a:pt x="1210598" y="6225107"/>
                </a:lnTo>
                <a:lnTo>
                  <a:pt x="1123337" y="6115722"/>
                </a:lnTo>
                <a:close/>
                <a:moveTo>
                  <a:pt x="1242552" y="6115722"/>
                </a:moveTo>
                <a:lnTo>
                  <a:pt x="1200765" y="6164883"/>
                </a:lnTo>
                <a:lnTo>
                  <a:pt x="1297860" y="6269352"/>
                </a:lnTo>
                <a:lnTo>
                  <a:pt x="1338417" y="6220190"/>
                </a:lnTo>
                <a:lnTo>
                  <a:pt x="1242552" y="6115722"/>
                </a:lnTo>
                <a:close/>
                <a:moveTo>
                  <a:pt x="1476069" y="6115722"/>
                </a:moveTo>
                <a:lnTo>
                  <a:pt x="1439198" y="6174716"/>
                </a:lnTo>
                <a:lnTo>
                  <a:pt x="1555957" y="6269352"/>
                </a:lnTo>
                <a:lnTo>
                  <a:pt x="1592828" y="6210357"/>
                </a:lnTo>
                <a:lnTo>
                  <a:pt x="1476069" y="6115722"/>
                </a:lnTo>
                <a:close/>
                <a:moveTo>
                  <a:pt x="1359311" y="6116950"/>
                </a:moveTo>
                <a:lnTo>
                  <a:pt x="1319982" y="6171029"/>
                </a:lnTo>
                <a:lnTo>
                  <a:pt x="1426908" y="6269352"/>
                </a:lnTo>
                <a:lnTo>
                  <a:pt x="1466237" y="6215273"/>
                </a:lnTo>
                <a:lnTo>
                  <a:pt x="1359311" y="6116950"/>
                </a:lnTo>
                <a:close/>
                <a:moveTo>
                  <a:pt x="1005350" y="6116950"/>
                </a:moveTo>
                <a:lnTo>
                  <a:pt x="959875" y="6156279"/>
                </a:lnTo>
                <a:lnTo>
                  <a:pt x="1037304" y="6269352"/>
                </a:lnTo>
                <a:lnTo>
                  <a:pt x="1082778" y="6230021"/>
                </a:lnTo>
                <a:lnTo>
                  <a:pt x="1005350" y="6116950"/>
                </a:lnTo>
                <a:close/>
                <a:moveTo>
                  <a:pt x="769375" y="6116950"/>
                </a:moveTo>
                <a:lnTo>
                  <a:pt x="720214" y="6145219"/>
                </a:lnTo>
                <a:lnTo>
                  <a:pt x="777978" y="6269352"/>
                </a:lnTo>
                <a:lnTo>
                  <a:pt x="827139" y="6239854"/>
                </a:lnTo>
                <a:lnTo>
                  <a:pt x="769375" y="6116950"/>
                </a:lnTo>
                <a:close/>
                <a:moveTo>
                  <a:pt x="532171" y="6116950"/>
                </a:moveTo>
                <a:lnTo>
                  <a:pt x="479323" y="6136615"/>
                </a:lnTo>
                <a:lnTo>
                  <a:pt x="518652" y="6269352"/>
                </a:lnTo>
                <a:lnTo>
                  <a:pt x="571500" y="6250916"/>
                </a:lnTo>
                <a:lnTo>
                  <a:pt x="532171" y="6116950"/>
                </a:lnTo>
                <a:close/>
                <a:moveTo>
                  <a:pt x="1241324" y="6304993"/>
                </a:moveTo>
                <a:lnTo>
                  <a:pt x="1200765" y="6354154"/>
                </a:lnTo>
                <a:lnTo>
                  <a:pt x="1297860" y="6458622"/>
                </a:lnTo>
                <a:lnTo>
                  <a:pt x="1338417" y="6409460"/>
                </a:lnTo>
                <a:lnTo>
                  <a:pt x="1241324" y="6304993"/>
                </a:lnTo>
                <a:close/>
                <a:moveTo>
                  <a:pt x="1477299" y="6306223"/>
                </a:moveTo>
                <a:lnTo>
                  <a:pt x="1440428" y="6365215"/>
                </a:lnTo>
                <a:lnTo>
                  <a:pt x="1557185" y="6458622"/>
                </a:lnTo>
                <a:lnTo>
                  <a:pt x="1594056" y="6399628"/>
                </a:lnTo>
                <a:lnTo>
                  <a:pt x="1477299" y="6306223"/>
                </a:lnTo>
                <a:close/>
                <a:moveTo>
                  <a:pt x="1359311" y="6307451"/>
                </a:moveTo>
                <a:lnTo>
                  <a:pt x="1319982" y="6361529"/>
                </a:lnTo>
                <a:lnTo>
                  <a:pt x="1426908" y="6459851"/>
                </a:lnTo>
                <a:lnTo>
                  <a:pt x="1466237" y="6405774"/>
                </a:lnTo>
                <a:lnTo>
                  <a:pt x="1359311" y="6307451"/>
                </a:lnTo>
                <a:close/>
                <a:moveTo>
                  <a:pt x="178209" y="6306223"/>
                </a:moveTo>
                <a:lnTo>
                  <a:pt x="119216" y="6311138"/>
                </a:lnTo>
                <a:lnTo>
                  <a:pt x="129048" y="6459851"/>
                </a:lnTo>
                <a:lnTo>
                  <a:pt x="188042" y="6454935"/>
                </a:lnTo>
                <a:lnTo>
                  <a:pt x="178209" y="6306223"/>
                </a:lnTo>
                <a:close/>
                <a:moveTo>
                  <a:pt x="296197" y="6306223"/>
                </a:moveTo>
                <a:lnTo>
                  <a:pt x="239661" y="6316054"/>
                </a:lnTo>
                <a:lnTo>
                  <a:pt x="259326" y="6459851"/>
                </a:lnTo>
                <a:lnTo>
                  <a:pt x="315861" y="6450019"/>
                </a:lnTo>
                <a:lnTo>
                  <a:pt x="296197" y="6306223"/>
                </a:lnTo>
                <a:close/>
                <a:moveTo>
                  <a:pt x="415413" y="6306223"/>
                </a:moveTo>
                <a:lnTo>
                  <a:pt x="360106" y="6320971"/>
                </a:lnTo>
                <a:lnTo>
                  <a:pt x="389603" y="6459851"/>
                </a:lnTo>
                <a:lnTo>
                  <a:pt x="444910" y="6445103"/>
                </a:lnTo>
                <a:lnTo>
                  <a:pt x="415413" y="6306223"/>
                </a:lnTo>
                <a:close/>
                <a:moveTo>
                  <a:pt x="532171" y="6306223"/>
                </a:moveTo>
                <a:lnTo>
                  <a:pt x="479323" y="6325886"/>
                </a:lnTo>
                <a:lnTo>
                  <a:pt x="518652" y="6459851"/>
                </a:lnTo>
                <a:lnTo>
                  <a:pt x="571500" y="6440187"/>
                </a:lnTo>
                <a:lnTo>
                  <a:pt x="532171" y="6306223"/>
                </a:lnTo>
                <a:close/>
                <a:moveTo>
                  <a:pt x="651388" y="6306223"/>
                </a:moveTo>
                <a:lnTo>
                  <a:pt x="599769" y="6330803"/>
                </a:lnTo>
                <a:lnTo>
                  <a:pt x="648930" y="6459851"/>
                </a:lnTo>
                <a:lnTo>
                  <a:pt x="699320" y="6435271"/>
                </a:lnTo>
                <a:lnTo>
                  <a:pt x="651388" y="6306223"/>
                </a:lnTo>
                <a:close/>
                <a:moveTo>
                  <a:pt x="769375" y="6306223"/>
                </a:moveTo>
                <a:lnTo>
                  <a:pt x="720214" y="6335718"/>
                </a:lnTo>
                <a:lnTo>
                  <a:pt x="777978" y="6459851"/>
                </a:lnTo>
                <a:lnTo>
                  <a:pt x="827139" y="6430355"/>
                </a:lnTo>
                <a:lnTo>
                  <a:pt x="769375" y="6306223"/>
                </a:lnTo>
                <a:close/>
                <a:moveTo>
                  <a:pt x="887362" y="6306223"/>
                </a:moveTo>
                <a:lnTo>
                  <a:pt x="840659" y="6340634"/>
                </a:lnTo>
                <a:lnTo>
                  <a:pt x="908255" y="6459851"/>
                </a:lnTo>
                <a:lnTo>
                  <a:pt x="954959" y="6425438"/>
                </a:lnTo>
                <a:lnTo>
                  <a:pt x="887362" y="6306223"/>
                </a:lnTo>
                <a:close/>
                <a:moveTo>
                  <a:pt x="1005350" y="6307451"/>
                </a:moveTo>
                <a:lnTo>
                  <a:pt x="959875" y="6346780"/>
                </a:lnTo>
                <a:lnTo>
                  <a:pt x="1037304" y="6459851"/>
                </a:lnTo>
                <a:lnTo>
                  <a:pt x="1082778" y="6420522"/>
                </a:lnTo>
                <a:lnTo>
                  <a:pt x="1005350" y="6307451"/>
                </a:lnTo>
                <a:close/>
                <a:moveTo>
                  <a:pt x="1123337" y="6307451"/>
                </a:moveTo>
                <a:lnTo>
                  <a:pt x="1080320" y="6351696"/>
                </a:lnTo>
                <a:lnTo>
                  <a:pt x="1167582" y="6459851"/>
                </a:lnTo>
                <a:lnTo>
                  <a:pt x="1210598" y="6415606"/>
                </a:lnTo>
                <a:lnTo>
                  <a:pt x="1123337" y="6307451"/>
                </a:lnTo>
                <a:close/>
                <a:moveTo>
                  <a:pt x="178209" y="6500409"/>
                </a:moveTo>
                <a:lnTo>
                  <a:pt x="119216" y="6505326"/>
                </a:lnTo>
                <a:lnTo>
                  <a:pt x="129048" y="6654039"/>
                </a:lnTo>
                <a:lnTo>
                  <a:pt x="188042" y="6649123"/>
                </a:lnTo>
                <a:lnTo>
                  <a:pt x="178209" y="6500409"/>
                </a:lnTo>
                <a:close/>
                <a:moveTo>
                  <a:pt x="296197" y="6500409"/>
                </a:moveTo>
                <a:lnTo>
                  <a:pt x="240891" y="6510241"/>
                </a:lnTo>
                <a:lnTo>
                  <a:pt x="259326" y="6654039"/>
                </a:lnTo>
                <a:lnTo>
                  <a:pt x="315861" y="6644206"/>
                </a:lnTo>
                <a:lnTo>
                  <a:pt x="296197" y="6500409"/>
                </a:lnTo>
                <a:close/>
                <a:moveTo>
                  <a:pt x="415413" y="6500409"/>
                </a:moveTo>
                <a:lnTo>
                  <a:pt x="360106" y="6515159"/>
                </a:lnTo>
                <a:lnTo>
                  <a:pt x="389603" y="6654039"/>
                </a:lnTo>
                <a:lnTo>
                  <a:pt x="444910" y="6639290"/>
                </a:lnTo>
                <a:lnTo>
                  <a:pt x="415413" y="6500409"/>
                </a:lnTo>
                <a:close/>
                <a:moveTo>
                  <a:pt x="532171" y="6500409"/>
                </a:moveTo>
                <a:lnTo>
                  <a:pt x="479323" y="6520073"/>
                </a:lnTo>
                <a:lnTo>
                  <a:pt x="518652" y="6654039"/>
                </a:lnTo>
                <a:lnTo>
                  <a:pt x="571500" y="6634374"/>
                </a:lnTo>
                <a:lnTo>
                  <a:pt x="532171" y="6500409"/>
                </a:lnTo>
                <a:close/>
                <a:moveTo>
                  <a:pt x="651388" y="6500409"/>
                </a:moveTo>
                <a:lnTo>
                  <a:pt x="599769" y="6524990"/>
                </a:lnTo>
                <a:lnTo>
                  <a:pt x="648930" y="6654039"/>
                </a:lnTo>
                <a:lnTo>
                  <a:pt x="699320" y="6629458"/>
                </a:lnTo>
                <a:lnTo>
                  <a:pt x="651388" y="6500409"/>
                </a:lnTo>
                <a:close/>
                <a:moveTo>
                  <a:pt x="769375" y="6500409"/>
                </a:moveTo>
                <a:lnTo>
                  <a:pt x="720214" y="6531135"/>
                </a:lnTo>
                <a:lnTo>
                  <a:pt x="777978" y="6654039"/>
                </a:lnTo>
                <a:lnTo>
                  <a:pt x="827139" y="6624542"/>
                </a:lnTo>
                <a:lnTo>
                  <a:pt x="769375" y="6500409"/>
                </a:lnTo>
                <a:close/>
                <a:moveTo>
                  <a:pt x="1005350" y="6500409"/>
                </a:moveTo>
                <a:lnTo>
                  <a:pt x="959875" y="6539739"/>
                </a:lnTo>
                <a:lnTo>
                  <a:pt x="1037304" y="6652810"/>
                </a:lnTo>
                <a:lnTo>
                  <a:pt x="1082778" y="6613481"/>
                </a:lnTo>
                <a:lnTo>
                  <a:pt x="1005350" y="6500409"/>
                </a:lnTo>
                <a:close/>
                <a:moveTo>
                  <a:pt x="1242552" y="6500409"/>
                </a:moveTo>
                <a:lnTo>
                  <a:pt x="1200765" y="6549570"/>
                </a:lnTo>
                <a:lnTo>
                  <a:pt x="1297860" y="6654039"/>
                </a:lnTo>
                <a:lnTo>
                  <a:pt x="1338417" y="6604877"/>
                </a:lnTo>
                <a:lnTo>
                  <a:pt x="1242552" y="6500409"/>
                </a:lnTo>
                <a:close/>
                <a:moveTo>
                  <a:pt x="1359311" y="6500409"/>
                </a:moveTo>
                <a:lnTo>
                  <a:pt x="1319982" y="6555716"/>
                </a:lnTo>
                <a:lnTo>
                  <a:pt x="1426908" y="6652810"/>
                </a:lnTo>
                <a:lnTo>
                  <a:pt x="1466237" y="6598732"/>
                </a:lnTo>
                <a:lnTo>
                  <a:pt x="1359311" y="6500409"/>
                </a:lnTo>
                <a:close/>
                <a:moveTo>
                  <a:pt x="1477299" y="6500409"/>
                </a:moveTo>
                <a:lnTo>
                  <a:pt x="1440428" y="6559402"/>
                </a:lnTo>
                <a:lnTo>
                  <a:pt x="1557185" y="6652810"/>
                </a:lnTo>
                <a:lnTo>
                  <a:pt x="1594056" y="6593815"/>
                </a:lnTo>
                <a:lnTo>
                  <a:pt x="1477299" y="6500409"/>
                </a:lnTo>
                <a:close/>
                <a:moveTo>
                  <a:pt x="1123337" y="6501639"/>
                </a:moveTo>
                <a:lnTo>
                  <a:pt x="1080320" y="6545884"/>
                </a:lnTo>
                <a:lnTo>
                  <a:pt x="1167582" y="6654039"/>
                </a:lnTo>
                <a:lnTo>
                  <a:pt x="1210598" y="6609793"/>
                </a:lnTo>
                <a:lnTo>
                  <a:pt x="1123337" y="6501639"/>
                </a:lnTo>
                <a:close/>
                <a:moveTo>
                  <a:pt x="887362" y="6501639"/>
                </a:moveTo>
                <a:lnTo>
                  <a:pt x="840659" y="6536051"/>
                </a:lnTo>
                <a:lnTo>
                  <a:pt x="908255" y="6654039"/>
                </a:lnTo>
                <a:lnTo>
                  <a:pt x="954959" y="6620854"/>
                </a:lnTo>
                <a:lnTo>
                  <a:pt x="887362" y="6501639"/>
                </a:lnTo>
                <a:close/>
                <a:moveTo>
                  <a:pt x="178209" y="6694596"/>
                </a:moveTo>
                <a:lnTo>
                  <a:pt x="119216" y="6699514"/>
                </a:lnTo>
                <a:lnTo>
                  <a:pt x="129048" y="6848226"/>
                </a:lnTo>
                <a:lnTo>
                  <a:pt x="188042" y="6843310"/>
                </a:lnTo>
                <a:lnTo>
                  <a:pt x="178209" y="6694596"/>
                </a:lnTo>
                <a:close/>
                <a:moveTo>
                  <a:pt x="296197" y="6694596"/>
                </a:moveTo>
                <a:lnTo>
                  <a:pt x="239661" y="6704428"/>
                </a:lnTo>
                <a:lnTo>
                  <a:pt x="259326" y="6848226"/>
                </a:lnTo>
                <a:lnTo>
                  <a:pt x="315861" y="6838394"/>
                </a:lnTo>
                <a:lnTo>
                  <a:pt x="296197" y="6694596"/>
                </a:lnTo>
                <a:close/>
                <a:moveTo>
                  <a:pt x="415413" y="6694596"/>
                </a:moveTo>
                <a:lnTo>
                  <a:pt x="360106" y="6709345"/>
                </a:lnTo>
                <a:lnTo>
                  <a:pt x="389603" y="6848226"/>
                </a:lnTo>
                <a:lnTo>
                  <a:pt x="444910" y="6833478"/>
                </a:lnTo>
                <a:lnTo>
                  <a:pt x="415413" y="6694596"/>
                </a:lnTo>
                <a:close/>
                <a:moveTo>
                  <a:pt x="651388" y="6694596"/>
                </a:moveTo>
                <a:lnTo>
                  <a:pt x="599769" y="6719177"/>
                </a:lnTo>
                <a:lnTo>
                  <a:pt x="648930" y="6848226"/>
                </a:lnTo>
                <a:lnTo>
                  <a:pt x="699320" y="6823645"/>
                </a:lnTo>
                <a:lnTo>
                  <a:pt x="651388" y="6694596"/>
                </a:lnTo>
                <a:close/>
                <a:moveTo>
                  <a:pt x="887362" y="6694596"/>
                </a:moveTo>
                <a:lnTo>
                  <a:pt x="840659" y="6729009"/>
                </a:lnTo>
                <a:lnTo>
                  <a:pt x="908255" y="6848226"/>
                </a:lnTo>
                <a:lnTo>
                  <a:pt x="954959" y="6813813"/>
                </a:lnTo>
                <a:lnTo>
                  <a:pt x="887362" y="6694596"/>
                </a:lnTo>
                <a:close/>
                <a:moveTo>
                  <a:pt x="1005350" y="6694596"/>
                </a:moveTo>
                <a:lnTo>
                  <a:pt x="959875" y="6735155"/>
                </a:lnTo>
                <a:lnTo>
                  <a:pt x="1037304" y="6848226"/>
                </a:lnTo>
                <a:lnTo>
                  <a:pt x="1082778" y="6808897"/>
                </a:lnTo>
                <a:lnTo>
                  <a:pt x="1005350" y="6694596"/>
                </a:lnTo>
                <a:close/>
                <a:moveTo>
                  <a:pt x="1123337" y="6695826"/>
                </a:moveTo>
                <a:lnTo>
                  <a:pt x="1080320" y="6740071"/>
                </a:lnTo>
                <a:lnTo>
                  <a:pt x="1167582" y="6848226"/>
                </a:lnTo>
                <a:lnTo>
                  <a:pt x="1210598" y="6803981"/>
                </a:lnTo>
                <a:lnTo>
                  <a:pt x="1123337" y="6695826"/>
                </a:lnTo>
                <a:close/>
                <a:moveTo>
                  <a:pt x="1240094" y="6695826"/>
                </a:moveTo>
                <a:lnTo>
                  <a:pt x="1199537" y="6744987"/>
                </a:lnTo>
                <a:lnTo>
                  <a:pt x="1296630" y="6848226"/>
                </a:lnTo>
                <a:lnTo>
                  <a:pt x="1338417" y="6799065"/>
                </a:lnTo>
                <a:lnTo>
                  <a:pt x="1240094" y="6695826"/>
                </a:lnTo>
                <a:close/>
                <a:moveTo>
                  <a:pt x="1359311" y="6695826"/>
                </a:moveTo>
                <a:lnTo>
                  <a:pt x="1319982" y="6749903"/>
                </a:lnTo>
                <a:lnTo>
                  <a:pt x="1426908" y="6848226"/>
                </a:lnTo>
                <a:lnTo>
                  <a:pt x="1466237" y="6794149"/>
                </a:lnTo>
                <a:lnTo>
                  <a:pt x="1359311" y="6695826"/>
                </a:lnTo>
                <a:close/>
                <a:moveTo>
                  <a:pt x="769375" y="6695826"/>
                </a:moveTo>
                <a:lnTo>
                  <a:pt x="720214" y="6726552"/>
                </a:lnTo>
                <a:lnTo>
                  <a:pt x="777978" y="6849456"/>
                </a:lnTo>
                <a:lnTo>
                  <a:pt x="827139" y="6819958"/>
                </a:lnTo>
                <a:lnTo>
                  <a:pt x="769375" y="6695826"/>
                </a:lnTo>
                <a:close/>
                <a:moveTo>
                  <a:pt x="532171" y="6695826"/>
                </a:moveTo>
                <a:lnTo>
                  <a:pt x="479323" y="6715490"/>
                </a:lnTo>
                <a:lnTo>
                  <a:pt x="518652" y="6848226"/>
                </a:lnTo>
                <a:lnTo>
                  <a:pt x="571500" y="6829790"/>
                </a:lnTo>
                <a:lnTo>
                  <a:pt x="532171" y="6695826"/>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8" name="Group 27">
            <a:extLst>
              <a:ext uri="{FF2B5EF4-FFF2-40B4-BE49-F238E27FC236}">
                <a16:creationId xmlns:a16="http://schemas.microsoft.com/office/drawing/2014/main" id="{8D4C6E52-831B-FE4B-A7E2-901A69639A9B}"/>
              </a:ext>
            </a:extLst>
          </p:cNvPr>
          <p:cNvGrpSpPr/>
          <p:nvPr/>
        </p:nvGrpSpPr>
        <p:grpSpPr>
          <a:xfrm>
            <a:off x="7150135" y="5095453"/>
            <a:ext cx="1878930" cy="691431"/>
            <a:chOff x="7150135" y="5095453"/>
            <a:chExt cx="1878930" cy="691431"/>
          </a:xfrm>
        </p:grpSpPr>
        <p:grpSp>
          <p:nvGrpSpPr>
            <p:cNvPr id="30" name="Group 29">
              <a:extLst>
                <a:ext uri="{FF2B5EF4-FFF2-40B4-BE49-F238E27FC236}">
                  <a16:creationId xmlns:a16="http://schemas.microsoft.com/office/drawing/2014/main" id="{5BA5F563-875B-564E-A91B-9F6368439773}"/>
                </a:ext>
              </a:extLst>
            </p:cNvPr>
            <p:cNvGrpSpPr/>
            <p:nvPr/>
          </p:nvGrpSpPr>
          <p:grpSpPr>
            <a:xfrm>
              <a:off x="7150135" y="5095453"/>
              <a:ext cx="698487" cy="691431"/>
              <a:chOff x="7150135" y="5095453"/>
              <a:chExt cx="698487" cy="691431"/>
            </a:xfrm>
          </p:grpSpPr>
          <p:sp>
            <p:nvSpPr>
              <p:cNvPr id="35" name="Rectangle 34">
                <a:extLst>
                  <a:ext uri="{FF2B5EF4-FFF2-40B4-BE49-F238E27FC236}">
                    <a16:creationId xmlns:a16="http://schemas.microsoft.com/office/drawing/2014/main" id="{CC3DE8B6-7323-E541-B847-684186A06D32}"/>
                  </a:ext>
                </a:extLst>
              </p:cNvPr>
              <p:cNvSpPr/>
              <p:nvPr/>
            </p:nvSpPr>
            <p:spPr>
              <a:xfrm>
                <a:off x="7150135" y="5095453"/>
                <a:ext cx="698487" cy="691431"/>
              </a:xfrm>
              <a:prstGeom prst="rect">
                <a:avLst/>
              </a:prstGeom>
              <a:solidFill>
                <a:srgbClr val="5369E4"/>
              </a:solidFill>
              <a:ln w="9525"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DD7F7654-3667-7E4B-8057-56F959C10A86}"/>
                  </a:ext>
                </a:extLst>
              </p:cNvPr>
              <p:cNvSpPr/>
              <p:nvPr/>
            </p:nvSpPr>
            <p:spPr>
              <a:xfrm>
                <a:off x="7373270" y="5335821"/>
                <a:ext cx="343911" cy="216985"/>
              </a:xfrm>
              <a:custGeom>
                <a:avLst/>
                <a:gdLst>
                  <a:gd name="connsiteX0" fmla="*/ 126744 w 343911"/>
                  <a:gd name="connsiteY0" fmla="*/ 73417 h 216985"/>
                  <a:gd name="connsiteX1" fmla="*/ 162938 w 343911"/>
                  <a:gd name="connsiteY1" fmla="*/ 109246 h 216985"/>
                  <a:gd name="connsiteX2" fmla="*/ 126744 w 343911"/>
                  <a:gd name="connsiteY2" fmla="*/ 145074 h 216985"/>
                  <a:gd name="connsiteX3" fmla="*/ 90549 w 343911"/>
                  <a:gd name="connsiteY3" fmla="*/ 109246 h 216985"/>
                  <a:gd name="connsiteX4" fmla="*/ 126744 w 343911"/>
                  <a:gd name="connsiteY4" fmla="*/ 73417 h 216985"/>
                  <a:gd name="connsiteX5" fmla="*/ 180972 w 343911"/>
                  <a:gd name="connsiteY5" fmla="*/ 2137 h 216985"/>
                  <a:gd name="connsiteX6" fmla="*/ 253361 w 343911"/>
                  <a:gd name="connsiteY6" fmla="*/ 2137 h 216985"/>
                  <a:gd name="connsiteX7" fmla="*/ 253361 w 343911"/>
                  <a:gd name="connsiteY7" fmla="*/ 73669 h 216985"/>
                  <a:gd name="connsiteX8" fmla="*/ 253361 w 343911"/>
                  <a:gd name="connsiteY8" fmla="*/ 145326 h 216985"/>
                  <a:gd name="connsiteX9" fmla="*/ 253361 w 343911"/>
                  <a:gd name="connsiteY9" fmla="*/ 216985 h 216985"/>
                  <a:gd name="connsiteX10" fmla="*/ 180972 w 343911"/>
                  <a:gd name="connsiteY10" fmla="*/ 216985 h 216985"/>
                  <a:gd name="connsiteX11" fmla="*/ 180972 w 343911"/>
                  <a:gd name="connsiteY11" fmla="*/ 145326 h 216985"/>
                  <a:gd name="connsiteX12" fmla="*/ 180972 w 343911"/>
                  <a:gd name="connsiteY12" fmla="*/ 73669 h 216985"/>
                  <a:gd name="connsiteX13" fmla="*/ 0 w 343911"/>
                  <a:gd name="connsiteY13" fmla="*/ 2137 h 216985"/>
                  <a:gd name="connsiteX14" fmla="*/ 72389 w 343911"/>
                  <a:gd name="connsiteY14" fmla="*/ 2137 h 216985"/>
                  <a:gd name="connsiteX15" fmla="*/ 72389 w 343911"/>
                  <a:gd name="connsiteY15" fmla="*/ 73669 h 216985"/>
                  <a:gd name="connsiteX16" fmla="*/ 72389 w 343911"/>
                  <a:gd name="connsiteY16" fmla="*/ 145326 h 216985"/>
                  <a:gd name="connsiteX17" fmla="*/ 72389 w 343911"/>
                  <a:gd name="connsiteY17" fmla="*/ 216985 h 216985"/>
                  <a:gd name="connsiteX18" fmla="*/ 0 w 343911"/>
                  <a:gd name="connsiteY18" fmla="*/ 216985 h 216985"/>
                  <a:gd name="connsiteX19" fmla="*/ 0 w 343911"/>
                  <a:gd name="connsiteY19" fmla="*/ 145326 h 216985"/>
                  <a:gd name="connsiteX20" fmla="*/ 0 w 343911"/>
                  <a:gd name="connsiteY20" fmla="*/ 73669 h 216985"/>
                  <a:gd name="connsiteX21" fmla="*/ 307716 w 343911"/>
                  <a:gd name="connsiteY21" fmla="*/ 0 h 216985"/>
                  <a:gd name="connsiteX22" fmla="*/ 343911 w 343911"/>
                  <a:gd name="connsiteY22" fmla="*/ 35829 h 216985"/>
                  <a:gd name="connsiteX23" fmla="*/ 307716 w 343911"/>
                  <a:gd name="connsiteY23" fmla="*/ 71657 h 216985"/>
                  <a:gd name="connsiteX24" fmla="*/ 271521 w 343911"/>
                  <a:gd name="connsiteY24" fmla="*/ 35829 h 216985"/>
                  <a:gd name="connsiteX25" fmla="*/ 307716 w 343911"/>
                  <a:gd name="connsiteY25" fmla="*/ 0 h 216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43911" h="216985">
                    <a:moveTo>
                      <a:pt x="126744" y="73417"/>
                    </a:moveTo>
                    <a:cubicBezTo>
                      <a:pt x="146734" y="73417"/>
                      <a:pt x="162938" y="89458"/>
                      <a:pt x="162938" y="109246"/>
                    </a:cubicBezTo>
                    <a:cubicBezTo>
                      <a:pt x="162938" y="129034"/>
                      <a:pt x="146734" y="145074"/>
                      <a:pt x="126744" y="145074"/>
                    </a:cubicBezTo>
                    <a:cubicBezTo>
                      <a:pt x="106754" y="145074"/>
                      <a:pt x="90549" y="129034"/>
                      <a:pt x="90549" y="109246"/>
                    </a:cubicBezTo>
                    <a:cubicBezTo>
                      <a:pt x="90549" y="89458"/>
                      <a:pt x="106754" y="73417"/>
                      <a:pt x="126744" y="73417"/>
                    </a:cubicBezTo>
                    <a:close/>
                    <a:moveTo>
                      <a:pt x="180972" y="2137"/>
                    </a:moveTo>
                    <a:lnTo>
                      <a:pt x="253361" y="2137"/>
                    </a:lnTo>
                    <a:lnTo>
                      <a:pt x="253361" y="73669"/>
                    </a:lnTo>
                    <a:lnTo>
                      <a:pt x="253361" y="145326"/>
                    </a:lnTo>
                    <a:lnTo>
                      <a:pt x="253361" y="216985"/>
                    </a:lnTo>
                    <a:lnTo>
                      <a:pt x="180972" y="216985"/>
                    </a:lnTo>
                    <a:lnTo>
                      <a:pt x="180972" y="145326"/>
                    </a:lnTo>
                    <a:lnTo>
                      <a:pt x="180972" y="73669"/>
                    </a:lnTo>
                    <a:close/>
                    <a:moveTo>
                      <a:pt x="0" y="2137"/>
                    </a:moveTo>
                    <a:lnTo>
                      <a:pt x="72389" y="2137"/>
                    </a:lnTo>
                    <a:lnTo>
                      <a:pt x="72389" y="73669"/>
                    </a:lnTo>
                    <a:lnTo>
                      <a:pt x="72389" y="145326"/>
                    </a:lnTo>
                    <a:lnTo>
                      <a:pt x="72389" y="216985"/>
                    </a:lnTo>
                    <a:lnTo>
                      <a:pt x="0" y="216985"/>
                    </a:lnTo>
                    <a:lnTo>
                      <a:pt x="0" y="145326"/>
                    </a:lnTo>
                    <a:lnTo>
                      <a:pt x="0" y="73669"/>
                    </a:lnTo>
                    <a:close/>
                    <a:moveTo>
                      <a:pt x="307716" y="0"/>
                    </a:moveTo>
                    <a:cubicBezTo>
                      <a:pt x="327706" y="0"/>
                      <a:pt x="343911" y="16041"/>
                      <a:pt x="343911" y="35829"/>
                    </a:cubicBezTo>
                    <a:cubicBezTo>
                      <a:pt x="343911" y="55617"/>
                      <a:pt x="327706" y="71657"/>
                      <a:pt x="307716" y="71657"/>
                    </a:cubicBezTo>
                    <a:cubicBezTo>
                      <a:pt x="287726" y="71657"/>
                      <a:pt x="271521" y="55617"/>
                      <a:pt x="271521" y="35829"/>
                    </a:cubicBezTo>
                    <a:cubicBezTo>
                      <a:pt x="271521" y="16041"/>
                      <a:pt x="287726" y="0"/>
                      <a:pt x="307716" y="0"/>
                    </a:cubicBezTo>
                    <a:close/>
                  </a:path>
                </a:pathLst>
              </a:custGeom>
              <a:solidFill>
                <a:srgbClr val="FFFFFF"/>
              </a:solidFill>
              <a:ln w="9525" cap="flat">
                <a:noFill/>
                <a:prstDash val="solid"/>
                <a:miter/>
              </a:ln>
            </p:spPr>
            <p:txBody>
              <a:bodyPr wrap="square" rtlCol="0" anchor="ctr">
                <a:noAutofit/>
              </a:bodyPr>
              <a:lstStyle/>
              <a:p>
                <a:endParaRPr lang="en-US"/>
              </a:p>
            </p:txBody>
          </p:sp>
        </p:grpSp>
        <p:sp>
          <p:nvSpPr>
            <p:cNvPr id="34" name="Freeform 33">
              <a:extLst>
                <a:ext uri="{FF2B5EF4-FFF2-40B4-BE49-F238E27FC236}">
                  <a16:creationId xmlns:a16="http://schemas.microsoft.com/office/drawing/2014/main" id="{13D68287-3136-0B44-8665-D11563A0962A}"/>
                </a:ext>
              </a:extLst>
            </p:cNvPr>
            <p:cNvSpPr/>
            <p:nvPr/>
          </p:nvSpPr>
          <p:spPr>
            <a:xfrm>
              <a:off x="8030102" y="5323621"/>
              <a:ext cx="998963" cy="232831"/>
            </a:xfrm>
            <a:custGeom>
              <a:avLst/>
              <a:gdLst>
                <a:gd name="connsiteX0" fmla="*/ 654292 w 998963"/>
                <a:gd name="connsiteY0" fmla="*/ 111515 h 232831"/>
                <a:gd name="connsiteX1" fmla="*/ 613018 w 998963"/>
                <a:gd name="connsiteY1" fmla="*/ 152373 h 232831"/>
                <a:gd name="connsiteX2" fmla="*/ 654292 w 998963"/>
                <a:gd name="connsiteY2" fmla="*/ 193230 h 232831"/>
                <a:gd name="connsiteX3" fmla="*/ 695566 w 998963"/>
                <a:gd name="connsiteY3" fmla="*/ 152373 h 232831"/>
                <a:gd name="connsiteX4" fmla="*/ 654292 w 998963"/>
                <a:gd name="connsiteY4" fmla="*/ 111515 h 232831"/>
                <a:gd name="connsiteX5" fmla="*/ 458842 w 998963"/>
                <a:gd name="connsiteY5" fmla="*/ 74429 h 232831"/>
                <a:gd name="connsiteX6" fmla="*/ 504435 w 998963"/>
                <a:gd name="connsiteY6" fmla="*/ 74429 h 232831"/>
                <a:gd name="connsiteX7" fmla="*/ 504435 w 998963"/>
                <a:gd name="connsiteY7" fmla="*/ 229310 h 232831"/>
                <a:gd name="connsiteX8" fmla="*/ 458842 w 998963"/>
                <a:gd name="connsiteY8" fmla="*/ 229310 h 232831"/>
                <a:gd name="connsiteX9" fmla="*/ 218944 w 998963"/>
                <a:gd name="connsiteY9" fmla="*/ 74428 h 232831"/>
                <a:gd name="connsiteX10" fmla="*/ 264536 w 998963"/>
                <a:gd name="connsiteY10" fmla="*/ 74428 h 232831"/>
                <a:gd name="connsiteX11" fmla="*/ 264536 w 998963"/>
                <a:gd name="connsiteY11" fmla="*/ 229308 h 232831"/>
                <a:gd name="connsiteX12" fmla="*/ 218944 w 998963"/>
                <a:gd name="connsiteY12" fmla="*/ 229308 h 232831"/>
                <a:gd name="connsiteX13" fmla="*/ 542535 w 998963"/>
                <a:gd name="connsiteY13" fmla="*/ 73170 h 232831"/>
                <a:gd name="connsiteX14" fmla="*/ 569713 w 998963"/>
                <a:gd name="connsiteY14" fmla="*/ 100074 h 232831"/>
                <a:gd name="connsiteX15" fmla="*/ 542535 w 998963"/>
                <a:gd name="connsiteY15" fmla="*/ 126976 h 232831"/>
                <a:gd name="connsiteX16" fmla="*/ 515604 w 998963"/>
                <a:gd name="connsiteY16" fmla="*/ 100836 h 232831"/>
                <a:gd name="connsiteX17" fmla="*/ 515610 w 998963"/>
                <a:gd name="connsiteY17" fmla="*/ 99948 h 232831"/>
                <a:gd name="connsiteX18" fmla="*/ 541637 w 998963"/>
                <a:gd name="connsiteY18" fmla="*/ 73172 h 232831"/>
                <a:gd name="connsiteX19" fmla="*/ 542535 w 998963"/>
                <a:gd name="connsiteY19" fmla="*/ 73170 h 232831"/>
                <a:gd name="connsiteX20" fmla="*/ 842756 w 998963"/>
                <a:gd name="connsiteY20" fmla="*/ 72166 h 232831"/>
                <a:gd name="connsiteX21" fmla="*/ 889999 w 998963"/>
                <a:gd name="connsiteY21" fmla="*/ 99824 h 232831"/>
                <a:gd name="connsiteX22" fmla="*/ 942830 w 998963"/>
                <a:gd name="connsiteY22" fmla="*/ 72166 h 232831"/>
                <a:gd name="connsiteX23" fmla="*/ 998816 w 998963"/>
                <a:gd name="connsiteY23" fmla="*/ 119789 h 232831"/>
                <a:gd name="connsiteX24" fmla="*/ 998962 w 998963"/>
                <a:gd name="connsiteY24" fmla="*/ 124087 h 232831"/>
                <a:gd name="connsiteX25" fmla="*/ 998962 w 998963"/>
                <a:gd name="connsiteY25" fmla="*/ 229562 h 232831"/>
                <a:gd name="connsiteX26" fmla="*/ 953625 w 998963"/>
                <a:gd name="connsiteY26" fmla="*/ 229562 h 232831"/>
                <a:gd name="connsiteX27" fmla="*/ 953625 w 998963"/>
                <a:gd name="connsiteY27" fmla="*/ 137036 h 232831"/>
                <a:gd name="connsiteX28" fmla="*/ 932658 w 998963"/>
                <a:gd name="connsiteY28" fmla="*/ 109934 h 232831"/>
                <a:gd name="connsiteX29" fmla="*/ 928225 w 998963"/>
                <a:gd name="connsiteY29" fmla="*/ 109755 h 232831"/>
                <a:gd name="connsiteX30" fmla="*/ 898380 w 998963"/>
                <a:gd name="connsiteY30" fmla="*/ 149984 h 232831"/>
                <a:gd name="connsiteX31" fmla="*/ 898380 w 998963"/>
                <a:gd name="connsiteY31" fmla="*/ 229311 h 232831"/>
                <a:gd name="connsiteX32" fmla="*/ 853296 w 998963"/>
                <a:gd name="connsiteY32" fmla="*/ 229311 h 232831"/>
                <a:gd name="connsiteX33" fmla="*/ 853296 w 998963"/>
                <a:gd name="connsiteY33" fmla="*/ 137036 h 232831"/>
                <a:gd name="connsiteX34" fmla="*/ 832330 w 998963"/>
                <a:gd name="connsiteY34" fmla="*/ 109934 h 232831"/>
                <a:gd name="connsiteX35" fmla="*/ 827896 w 998963"/>
                <a:gd name="connsiteY35" fmla="*/ 109755 h 232831"/>
                <a:gd name="connsiteX36" fmla="*/ 798434 w 998963"/>
                <a:gd name="connsiteY36" fmla="*/ 149984 h 232831"/>
                <a:gd name="connsiteX37" fmla="*/ 798434 w 998963"/>
                <a:gd name="connsiteY37" fmla="*/ 229311 h 232831"/>
                <a:gd name="connsiteX38" fmla="*/ 752841 w 998963"/>
                <a:gd name="connsiteY38" fmla="*/ 229311 h 232831"/>
                <a:gd name="connsiteX39" fmla="*/ 753095 w 998963"/>
                <a:gd name="connsiteY39" fmla="*/ 74430 h 232831"/>
                <a:gd name="connsiteX40" fmla="*/ 798687 w 998963"/>
                <a:gd name="connsiteY40" fmla="*/ 74430 h 232831"/>
                <a:gd name="connsiteX41" fmla="*/ 798687 w 998963"/>
                <a:gd name="connsiteY41" fmla="*/ 95549 h 232831"/>
                <a:gd name="connsiteX42" fmla="*/ 842756 w 998963"/>
                <a:gd name="connsiteY42" fmla="*/ 72166 h 232831"/>
                <a:gd name="connsiteX43" fmla="*/ 655053 w 998963"/>
                <a:gd name="connsiteY43" fmla="*/ 71915 h 232831"/>
                <a:gd name="connsiteX44" fmla="*/ 736332 w 998963"/>
                <a:gd name="connsiteY44" fmla="*/ 152373 h 232831"/>
                <a:gd name="connsiteX45" fmla="*/ 655053 w 998963"/>
                <a:gd name="connsiteY45" fmla="*/ 232831 h 232831"/>
                <a:gd name="connsiteX46" fmla="*/ 573775 w 998963"/>
                <a:gd name="connsiteY46" fmla="*/ 152373 h 232831"/>
                <a:gd name="connsiteX47" fmla="*/ 655053 w 998963"/>
                <a:gd name="connsiteY47" fmla="*/ 71915 h 232831"/>
                <a:gd name="connsiteX48" fmla="*/ 0 w 998963"/>
                <a:gd name="connsiteY48" fmla="*/ 14211 h 232831"/>
                <a:gd name="connsiteX49" fmla="*/ 49022 w 998963"/>
                <a:gd name="connsiteY49" fmla="*/ 14211 h 232831"/>
                <a:gd name="connsiteX50" fmla="*/ 49022 w 998963"/>
                <a:gd name="connsiteY50" fmla="*/ 97812 h 232831"/>
                <a:gd name="connsiteX51" fmla="*/ 135253 w 998963"/>
                <a:gd name="connsiteY51" fmla="*/ 97812 h 232831"/>
                <a:gd name="connsiteX52" fmla="*/ 135253 w 998963"/>
                <a:gd name="connsiteY52" fmla="*/ 14211 h 232831"/>
                <a:gd name="connsiteX53" fmla="*/ 184655 w 998963"/>
                <a:gd name="connsiteY53" fmla="*/ 14211 h 232831"/>
                <a:gd name="connsiteX54" fmla="*/ 184655 w 998963"/>
                <a:gd name="connsiteY54" fmla="*/ 229310 h 232831"/>
                <a:gd name="connsiteX55" fmla="*/ 135253 w 998963"/>
                <a:gd name="connsiteY55" fmla="*/ 229310 h 232831"/>
                <a:gd name="connsiteX56" fmla="*/ 135253 w 998963"/>
                <a:gd name="connsiteY56" fmla="*/ 139298 h 232831"/>
                <a:gd name="connsiteX57" fmla="*/ 49022 w 998963"/>
                <a:gd name="connsiteY57" fmla="*/ 139298 h 232831"/>
                <a:gd name="connsiteX58" fmla="*/ 49022 w 998963"/>
                <a:gd name="connsiteY58" fmla="*/ 229310 h 232831"/>
                <a:gd name="connsiteX59" fmla="*/ 0 w 998963"/>
                <a:gd name="connsiteY59" fmla="*/ 229310 h 232831"/>
                <a:gd name="connsiteX60" fmla="*/ 378834 w 998963"/>
                <a:gd name="connsiteY60" fmla="*/ 11697 h 232831"/>
                <a:gd name="connsiteX61" fmla="*/ 424935 w 998963"/>
                <a:gd name="connsiteY61" fmla="*/ 11697 h 232831"/>
                <a:gd name="connsiteX62" fmla="*/ 424935 w 998963"/>
                <a:gd name="connsiteY62" fmla="*/ 229310 h 232831"/>
                <a:gd name="connsiteX63" fmla="*/ 378834 w 998963"/>
                <a:gd name="connsiteY63" fmla="*/ 229310 h 232831"/>
                <a:gd name="connsiteX64" fmla="*/ 299587 w 998963"/>
                <a:gd name="connsiteY64" fmla="*/ 11697 h 232831"/>
                <a:gd name="connsiteX65" fmla="*/ 345181 w 998963"/>
                <a:gd name="connsiteY65" fmla="*/ 11697 h 232831"/>
                <a:gd name="connsiteX66" fmla="*/ 345181 w 998963"/>
                <a:gd name="connsiteY66" fmla="*/ 229310 h 232831"/>
                <a:gd name="connsiteX67" fmla="*/ 299587 w 998963"/>
                <a:gd name="connsiteY67" fmla="*/ 229310 h 232831"/>
                <a:gd name="connsiteX68" fmla="*/ 240651 w 998963"/>
                <a:gd name="connsiteY68" fmla="*/ 5 h 232831"/>
                <a:gd name="connsiteX69" fmla="*/ 241677 w 998963"/>
                <a:gd name="connsiteY69" fmla="*/ 5 h 232831"/>
                <a:gd name="connsiteX70" fmla="*/ 268855 w 998963"/>
                <a:gd name="connsiteY70" fmla="*/ 26908 h 232831"/>
                <a:gd name="connsiteX71" fmla="*/ 241677 w 998963"/>
                <a:gd name="connsiteY71" fmla="*/ 53811 h 232831"/>
                <a:gd name="connsiteX72" fmla="*/ 214621 w 998963"/>
                <a:gd name="connsiteY72" fmla="*/ 27798 h 232831"/>
                <a:gd name="connsiteX73" fmla="*/ 214626 w 998963"/>
                <a:gd name="connsiteY73" fmla="*/ 26782 h 232831"/>
                <a:gd name="connsiteX74" fmla="*/ 240651 w 998963"/>
                <a:gd name="connsiteY74" fmla="*/ 5 h 232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998963" h="232831">
                  <a:moveTo>
                    <a:pt x="654292" y="111515"/>
                  </a:moveTo>
                  <a:cubicBezTo>
                    <a:pt x="631497" y="111515"/>
                    <a:pt x="613018" y="129808"/>
                    <a:pt x="613018" y="152373"/>
                  </a:cubicBezTo>
                  <a:cubicBezTo>
                    <a:pt x="613018" y="174938"/>
                    <a:pt x="631497" y="193230"/>
                    <a:pt x="654292" y="193230"/>
                  </a:cubicBezTo>
                  <a:cubicBezTo>
                    <a:pt x="677086" y="193230"/>
                    <a:pt x="695566" y="174938"/>
                    <a:pt x="695566" y="152373"/>
                  </a:cubicBezTo>
                  <a:cubicBezTo>
                    <a:pt x="695566" y="129808"/>
                    <a:pt x="677086" y="111515"/>
                    <a:pt x="654292" y="111515"/>
                  </a:cubicBezTo>
                  <a:close/>
                  <a:moveTo>
                    <a:pt x="458842" y="74429"/>
                  </a:moveTo>
                  <a:lnTo>
                    <a:pt x="504435" y="74429"/>
                  </a:lnTo>
                  <a:lnTo>
                    <a:pt x="504435" y="229310"/>
                  </a:lnTo>
                  <a:lnTo>
                    <a:pt x="458842" y="229310"/>
                  </a:lnTo>
                  <a:close/>
                  <a:moveTo>
                    <a:pt x="218944" y="74428"/>
                  </a:moveTo>
                  <a:lnTo>
                    <a:pt x="264536" y="74428"/>
                  </a:lnTo>
                  <a:lnTo>
                    <a:pt x="264536" y="229308"/>
                  </a:lnTo>
                  <a:lnTo>
                    <a:pt x="218944" y="229308"/>
                  </a:lnTo>
                  <a:close/>
                  <a:moveTo>
                    <a:pt x="542535" y="73170"/>
                  </a:moveTo>
                  <a:cubicBezTo>
                    <a:pt x="557545" y="73170"/>
                    <a:pt x="569713" y="85215"/>
                    <a:pt x="569713" y="100074"/>
                  </a:cubicBezTo>
                  <a:cubicBezTo>
                    <a:pt x="569713" y="114932"/>
                    <a:pt x="557545" y="126976"/>
                    <a:pt x="542535" y="126976"/>
                  </a:cubicBezTo>
                  <a:cubicBezTo>
                    <a:pt x="527805" y="127119"/>
                    <a:pt x="515749" y="115417"/>
                    <a:pt x="515604" y="100836"/>
                  </a:cubicBezTo>
                  <a:cubicBezTo>
                    <a:pt x="515601" y="100541"/>
                    <a:pt x="515603" y="100244"/>
                    <a:pt x="515610" y="99948"/>
                  </a:cubicBezTo>
                  <a:cubicBezTo>
                    <a:pt x="515328" y="85439"/>
                    <a:pt x="526982" y="73452"/>
                    <a:pt x="541637" y="73172"/>
                  </a:cubicBezTo>
                  <a:cubicBezTo>
                    <a:pt x="541936" y="73167"/>
                    <a:pt x="542236" y="73166"/>
                    <a:pt x="542535" y="73170"/>
                  </a:cubicBezTo>
                  <a:close/>
                  <a:moveTo>
                    <a:pt x="842756" y="72166"/>
                  </a:moveTo>
                  <a:cubicBezTo>
                    <a:pt x="862917" y="70174"/>
                    <a:pt x="882049" y="81374"/>
                    <a:pt x="889999" y="99824"/>
                  </a:cubicBezTo>
                  <a:cubicBezTo>
                    <a:pt x="901342" y="81913"/>
                    <a:pt x="921489" y="71365"/>
                    <a:pt x="942830" y="72166"/>
                  </a:cubicBezTo>
                  <a:cubicBezTo>
                    <a:pt x="971575" y="70013"/>
                    <a:pt x="996640" y="91334"/>
                    <a:pt x="998816" y="119789"/>
                  </a:cubicBezTo>
                  <a:cubicBezTo>
                    <a:pt x="998924" y="121219"/>
                    <a:pt x="998974" y="122652"/>
                    <a:pt x="998962" y="124087"/>
                  </a:cubicBezTo>
                  <a:lnTo>
                    <a:pt x="998962" y="229562"/>
                  </a:lnTo>
                  <a:lnTo>
                    <a:pt x="953625" y="229562"/>
                  </a:lnTo>
                  <a:lnTo>
                    <a:pt x="953625" y="137036"/>
                  </a:lnTo>
                  <a:cubicBezTo>
                    <a:pt x="955395" y="123820"/>
                    <a:pt x="946008" y="111687"/>
                    <a:pt x="932658" y="109934"/>
                  </a:cubicBezTo>
                  <a:cubicBezTo>
                    <a:pt x="931190" y="109741"/>
                    <a:pt x="929705" y="109682"/>
                    <a:pt x="928225" y="109755"/>
                  </a:cubicBezTo>
                  <a:cubicBezTo>
                    <a:pt x="909303" y="109755"/>
                    <a:pt x="898380" y="125093"/>
                    <a:pt x="898380" y="149984"/>
                  </a:cubicBezTo>
                  <a:lnTo>
                    <a:pt x="898380" y="229311"/>
                  </a:lnTo>
                  <a:lnTo>
                    <a:pt x="853296" y="229311"/>
                  </a:lnTo>
                  <a:lnTo>
                    <a:pt x="853296" y="137036"/>
                  </a:lnTo>
                  <a:cubicBezTo>
                    <a:pt x="855067" y="123820"/>
                    <a:pt x="845680" y="111687"/>
                    <a:pt x="832330" y="109934"/>
                  </a:cubicBezTo>
                  <a:cubicBezTo>
                    <a:pt x="830860" y="109741"/>
                    <a:pt x="829377" y="109682"/>
                    <a:pt x="827896" y="109755"/>
                  </a:cubicBezTo>
                  <a:cubicBezTo>
                    <a:pt x="809355" y="109755"/>
                    <a:pt x="798434" y="125344"/>
                    <a:pt x="798434" y="149984"/>
                  </a:cubicBezTo>
                  <a:lnTo>
                    <a:pt x="798434" y="229311"/>
                  </a:lnTo>
                  <a:lnTo>
                    <a:pt x="752841" y="229311"/>
                  </a:lnTo>
                  <a:lnTo>
                    <a:pt x="753095" y="74430"/>
                  </a:lnTo>
                  <a:lnTo>
                    <a:pt x="798687" y="74430"/>
                  </a:lnTo>
                  <a:lnTo>
                    <a:pt x="798687" y="95549"/>
                  </a:lnTo>
                  <a:cubicBezTo>
                    <a:pt x="808089" y="80509"/>
                    <a:pt x="824896" y="71590"/>
                    <a:pt x="842756" y="72166"/>
                  </a:cubicBezTo>
                  <a:close/>
                  <a:moveTo>
                    <a:pt x="655053" y="71915"/>
                  </a:moveTo>
                  <a:cubicBezTo>
                    <a:pt x="699942" y="71915"/>
                    <a:pt x="736332" y="107937"/>
                    <a:pt x="736332" y="152373"/>
                  </a:cubicBezTo>
                  <a:cubicBezTo>
                    <a:pt x="736332" y="196808"/>
                    <a:pt x="699942" y="232831"/>
                    <a:pt x="655053" y="232831"/>
                  </a:cubicBezTo>
                  <a:cubicBezTo>
                    <a:pt x="610165" y="232831"/>
                    <a:pt x="573775" y="196808"/>
                    <a:pt x="573775" y="152373"/>
                  </a:cubicBezTo>
                  <a:cubicBezTo>
                    <a:pt x="573775" y="107937"/>
                    <a:pt x="610165" y="71915"/>
                    <a:pt x="655053" y="71915"/>
                  </a:cubicBezTo>
                  <a:close/>
                  <a:moveTo>
                    <a:pt x="0" y="14211"/>
                  </a:moveTo>
                  <a:lnTo>
                    <a:pt x="49022" y="14211"/>
                  </a:lnTo>
                  <a:lnTo>
                    <a:pt x="49022" y="97812"/>
                  </a:lnTo>
                  <a:lnTo>
                    <a:pt x="135253" y="97812"/>
                  </a:lnTo>
                  <a:lnTo>
                    <a:pt x="135253" y="14211"/>
                  </a:lnTo>
                  <a:lnTo>
                    <a:pt x="184655" y="14211"/>
                  </a:lnTo>
                  <a:lnTo>
                    <a:pt x="184655" y="229310"/>
                  </a:lnTo>
                  <a:lnTo>
                    <a:pt x="135253" y="229310"/>
                  </a:lnTo>
                  <a:lnTo>
                    <a:pt x="135253" y="139298"/>
                  </a:lnTo>
                  <a:lnTo>
                    <a:pt x="49022" y="139298"/>
                  </a:lnTo>
                  <a:lnTo>
                    <a:pt x="49022" y="229310"/>
                  </a:lnTo>
                  <a:lnTo>
                    <a:pt x="0" y="229310"/>
                  </a:lnTo>
                  <a:close/>
                  <a:moveTo>
                    <a:pt x="378834" y="11697"/>
                  </a:moveTo>
                  <a:lnTo>
                    <a:pt x="424935" y="11697"/>
                  </a:lnTo>
                  <a:lnTo>
                    <a:pt x="424935" y="229310"/>
                  </a:lnTo>
                  <a:lnTo>
                    <a:pt x="378834" y="229310"/>
                  </a:lnTo>
                  <a:close/>
                  <a:moveTo>
                    <a:pt x="299587" y="11697"/>
                  </a:moveTo>
                  <a:lnTo>
                    <a:pt x="345181" y="11697"/>
                  </a:lnTo>
                  <a:lnTo>
                    <a:pt x="345181" y="229310"/>
                  </a:lnTo>
                  <a:lnTo>
                    <a:pt x="299587" y="229310"/>
                  </a:lnTo>
                  <a:close/>
                  <a:moveTo>
                    <a:pt x="240651" y="5"/>
                  </a:moveTo>
                  <a:cubicBezTo>
                    <a:pt x="240993" y="-2"/>
                    <a:pt x="241335" y="-2"/>
                    <a:pt x="241677" y="5"/>
                  </a:cubicBezTo>
                  <a:cubicBezTo>
                    <a:pt x="256687" y="5"/>
                    <a:pt x="268855" y="12049"/>
                    <a:pt x="268855" y="26908"/>
                  </a:cubicBezTo>
                  <a:cubicBezTo>
                    <a:pt x="268855" y="41766"/>
                    <a:pt x="256687" y="53811"/>
                    <a:pt x="241677" y="53811"/>
                  </a:cubicBezTo>
                  <a:cubicBezTo>
                    <a:pt x="226949" y="54023"/>
                    <a:pt x="214835" y="42377"/>
                    <a:pt x="214621" y="27798"/>
                  </a:cubicBezTo>
                  <a:cubicBezTo>
                    <a:pt x="214616" y="27460"/>
                    <a:pt x="214617" y="27121"/>
                    <a:pt x="214626" y="26782"/>
                  </a:cubicBezTo>
                  <a:cubicBezTo>
                    <a:pt x="214342" y="12273"/>
                    <a:pt x="225994" y="285"/>
                    <a:pt x="240651" y="5"/>
                  </a:cubicBezTo>
                  <a:close/>
                </a:path>
              </a:pathLst>
            </a:custGeom>
            <a:solidFill>
              <a:srgbClr val="000839"/>
            </a:solidFill>
            <a:ln w="9525" cap="flat">
              <a:noFill/>
              <a:prstDash val="solid"/>
              <a:miter/>
            </a:ln>
          </p:spPr>
          <p:txBody>
            <a:bodyPr wrap="square" rtlCol="0" anchor="ctr">
              <a:noAutofit/>
            </a:bodyPr>
            <a:lstStyle/>
            <a:p>
              <a:endParaRPr lang="en-US"/>
            </a:p>
          </p:txBody>
        </p:sp>
      </p:grpSp>
    </p:spTree>
    <p:extLst>
      <p:ext uri="{BB962C8B-B14F-4D97-AF65-F5344CB8AC3E}">
        <p14:creationId xmlns:p14="http://schemas.microsoft.com/office/powerpoint/2010/main" val="11811554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Cover - Pattern Light">
    <p:bg>
      <p:bgPr>
        <a:solidFill>
          <a:srgbClr val="FFFFFF"/>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EADD11D2-7FF1-E64F-8A39-78FC48528BE4}"/>
              </a:ext>
            </a:extLst>
          </p:cNvPr>
          <p:cNvSpPr/>
          <p:nvPr/>
        </p:nvSpPr>
        <p:spPr>
          <a:xfrm>
            <a:off x="0" y="0"/>
            <a:ext cx="12188952"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7C5E9B9C-054B-254F-B340-2F9C8E95EBD8}"/>
              </a:ext>
            </a:extLst>
          </p:cNvPr>
          <p:cNvSpPr/>
          <p:nvPr/>
        </p:nvSpPr>
        <p:spPr>
          <a:xfrm>
            <a:off x="0" y="0"/>
            <a:ext cx="12188952" cy="6858000"/>
          </a:xfrm>
          <a:prstGeom prst="rect">
            <a:avLst/>
          </a:prstGeom>
          <a:gradFill>
            <a:gsLst>
              <a:gs pos="0">
                <a:schemeClr val="accent3"/>
              </a:gs>
              <a:gs pos="85000">
                <a:schemeClr val="bg1">
                  <a:alpha val="68000"/>
                </a:schemeClr>
              </a:gs>
              <a:gs pos="52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eform 24">
            <a:extLst>
              <a:ext uri="{FF2B5EF4-FFF2-40B4-BE49-F238E27FC236}">
                <a16:creationId xmlns:a16="http://schemas.microsoft.com/office/drawing/2014/main" id="{B179B80F-DCE6-A44B-9604-DADDE1BEBE56}"/>
              </a:ext>
            </a:extLst>
          </p:cNvPr>
          <p:cNvSpPr/>
          <p:nvPr/>
        </p:nvSpPr>
        <p:spPr>
          <a:xfrm>
            <a:off x="3095" y="0"/>
            <a:ext cx="5794893" cy="6858000"/>
          </a:xfrm>
          <a:custGeom>
            <a:avLst/>
            <a:gdLst>
              <a:gd name="connsiteX0" fmla="*/ 60222 w 5794893"/>
              <a:gd name="connsiteY0" fmla="*/ 0 h 6858000"/>
              <a:gd name="connsiteX1" fmla="*/ 123428 w 5794893"/>
              <a:gd name="connsiteY1" fmla="*/ 0 h 6858000"/>
              <a:gd name="connsiteX2" fmla="*/ 129048 w 5794893"/>
              <a:gd name="connsiteY2" fmla="*/ 97144 h 6858000"/>
              <a:gd name="connsiteX3" fmla="*/ 188042 w 5794893"/>
              <a:gd name="connsiteY3" fmla="*/ 92228 h 6858000"/>
              <a:gd name="connsiteX4" fmla="*/ 181944 w 5794893"/>
              <a:gd name="connsiteY4" fmla="*/ 0 h 6858000"/>
              <a:gd name="connsiteX5" fmla="*/ 246440 w 5794893"/>
              <a:gd name="connsiteY5" fmla="*/ 0 h 6858000"/>
              <a:gd name="connsiteX6" fmla="*/ 260555 w 5794893"/>
              <a:gd name="connsiteY6" fmla="*/ 97144 h 6858000"/>
              <a:gd name="connsiteX7" fmla="*/ 317091 w 5794893"/>
              <a:gd name="connsiteY7" fmla="*/ 87311 h 6858000"/>
              <a:gd name="connsiteX8" fmla="*/ 305151 w 5794893"/>
              <a:gd name="connsiteY8" fmla="*/ 0 h 6858000"/>
              <a:gd name="connsiteX9" fmla="*/ 368602 w 5794893"/>
              <a:gd name="connsiteY9" fmla="*/ 0 h 6858000"/>
              <a:gd name="connsiteX10" fmla="*/ 388375 w 5794893"/>
              <a:gd name="connsiteY10" fmla="*/ 97144 h 6858000"/>
              <a:gd name="connsiteX11" fmla="*/ 443681 w 5794893"/>
              <a:gd name="connsiteY11" fmla="*/ 82395 h 6858000"/>
              <a:gd name="connsiteX12" fmla="*/ 426181 w 5794893"/>
              <a:gd name="connsiteY12" fmla="*/ 0 h 6858000"/>
              <a:gd name="connsiteX13" fmla="*/ 490133 w 5794893"/>
              <a:gd name="connsiteY13" fmla="*/ 0 h 6858000"/>
              <a:gd name="connsiteX14" fmla="*/ 518652 w 5794893"/>
              <a:gd name="connsiteY14" fmla="*/ 97144 h 6858000"/>
              <a:gd name="connsiteX15" fmla="*/ 571500 w 5794893"/>
              <a:gd name="connsiteY15" fmla="*/ 77479 h 6858000"/>
              <a:gd name="connsiteX16" fmla="*/ 548754 w 5794893"/>
              <a:gd name="connsiteY16" fmla="*/ 0 h 6858000"/>
              <a:gd name="connsiteX17" fmla="*/ 611923 w 5794893"/>
              <a:gd name="connsiteY17" fmla="*/ 0 h 6858000"/>
              <a:gd name="connsiteX18" fmla="*/ 648930 w 5794893"/>
              <a:gd name="connsiteY18" fmla="*/ 97144 h 6858000"/>
              <a:gd name="connsiteX19" fmla="*/ 699320 w 5794893"/>
              <a:gd name="connsiteY19" fmla="*/ 72563 h 6858000"/>
              <a:gd name="connsiteX20" fmla="*/ 672368 w 5794893"/>
              <a:gd name="connsiteY20" fmla="*/ 0 h 6858000"/>
              <a:gd name="connsiteX21" fmla="*/ 733040 w 5794893"/>
              <a:gd name="connsiteY21" fmla="*/ 0 h 6858000"/>
              <a:gd name="connsiteX22" fmla="*/ 779207 w 5794893"/>
              <a:gd name="connsiteY22" fmla="*/ 97144 h 6858000"/>
              <a:gd name="connsiteX23" fmla="*/ 828369 w 5794893"/>
              <a:gd name="connsiteY23" fmla="*/ 67647 h 6858000"/>
              <a:gd name="connsiteX24" fmla="*/ 796220 w 5794893"/>
              <a:gd name="connsiteY24" fmla="*/ 0 h 6858000"/>
              <a:gd name="connsiteX25" fmla="*/ 852601 w 5794893"/>
              <a:gd name="connsiteY25" fmla="*/ 0 h 6858000"/>
              <a:gd name="connsiteX26" fmla="*/ 908255 w 5794893"/>
              <a:gd name="connsiteY26" fmla="*/ 97144 h 6858000"/>
              <a:gd name="connsiteX27" fmla="*/ 954959 w 5794893"/>
              <a:gd name="connsiteY27" fmla="*/ 62731 h 6858000"/>
              <a:gd name="connsiteX28" fmla="*/ 919390 w 5794893"/>
              <a:gd name="connsiteY28" fmla="*/ 0 h 6858000"/>
              <a:gd name="connsiteX29" fmla="*/ 971623 w 5794893"/>
              <a:gd name="connsiteY29" fmla="*/ 0 h 6858000"/>
              <a:gd name="connsiteX30" fmla="*/ 1037304 w 5794893"/>
              <a:gd name="connsiteY30" fmla="*/ 95915 h 6858000"/>
              <a:gd name="connsiteX31" fmla="*/ 1082778 w 5794893"/>
              <a:gd name="connsiteY31" fmla="*/ 56586 h 6858000"/>
              <a:gd name="connsiteX32" fmla="*/ 1044029 w 5794893"/>
              <a:gd name="connsiteY32" fmla="*/ 0 h 6858000"/>
              <a:gd name="connsiteX33" fmla="*/ 1089204 w 5794893"/>
              <a:gd name="connsiteY33" fmla="*/ 0 h 6858000"/>
              <a:gd name="connsiteX34" fmla="*/ 1167582 w 5794893"/>
              <a:gd name="connsiteY34" fmla="*/ 97144 h 6858000"/>
              <a:gd name="connsiteX35" fmla="*/ 1210598 w 5794893"/>
              <a:gd name="connsiteY35" fmla="*/ 51670 h 6858000"/>
              <a:gd name="connsiteX36" fmla="*/ 1168910 w 5794893"/>
              <a:gd name="connsiteY36" fmla="*/ 0 h 6858000"/>
              <a:gd name="connsiteX37" fmla="*/ 1206350 w 5794893"/>
              <a:gd name="connsiteY37" fmla="*/ 0 h 6858000"/>
              <a:gd name="connsiteX38" fmla="*/ 1297860 w 5794893"/>
              <a:gd name="connsiteY38" fmla="*/ 98373 h 6858000"/>
              <a:gd name="connsiteX39" fmla="*/ 1338417 w 5794893"/>
              <a:gd name="connsiteY39" fmla="*/ 49212 h 6858000"/>
              <a:gd name="connsiteX40" fmla="*/ 1292680 w 5794893"/>
              <a:gd name="connsiteY40" fmla="*/ 0 h 6858000"/>
              <a:gd name="connsiteX41" fmla="*/ 1321248 w 5794893"/>
              <a:gd name="connsiteY41" fmla="*/ 0 h 6858000"/>
              <a:gd name="connsiteX42" fmla="*/ 1426908 w 5794893"/>
              <a:gd name="connsiteY42" fmla="*/ 98373 h 6858000"/>
              <a:gd name="connsiteX43" fmla="*/ 1466237 w 5794893"/>
              <a:gd name="connsiteY43" fmla="*/ 43066 h 6858000"/>
              <a:gd name="connsiteX44" fmla="*/ 1419403 w 5794893"/>
              <a:gd name="connsiteY44" fmla="*/ 0 h 6858000"/>
              <a:gd name="connsiteX45" fmla="*/ 1441534 w 5794893"/>
              <a:gd name="connsiteY45" fmla="*/ 0 h 6858000"/>
              <a:gd name="connsiteX46" fmla="*/ 1439198 w 5794893"/>
              <a:gd name="connsiteY46" fmla="*/ 3737 h 6858000"/>
              <a:gd name="connsiteX47" fmla="*/ 1555957 w 5794893"/>
              <a:gd name="connsiteY47" fmla="*/ 97144 h 6858000"/>
              <a:gd name="connsiteX48" fmla="*/ 1592828 w 5794893"/>
              <a:gd name="connsiteY48" fmla="*/ 38150 h 6858000"/>
              <a:gd name="connsiteX49" fmla="*/ 1545140 w 5794893"/>
              <a:gd name="connsiteY49" fmla="*/ 0 h 6858000"/>
              <a:gd name="connsiteX50" fmla="*/ 1563241 w 5794893"/>
              <a:gd name="connsiteY50" fmla="*/ 0 h 6858000"/>
              <a:gd name="connsiteX51" fmla="*/ 1558415 w 5794893"/>
              <a:gd name="connsiteY51" fmla="*/ 8653 h 6858000"/>
              <a:gd name="connsiteX52" fmla="*/ 1685005 w 5794893"/>
              <a:gd name="connsiteY52" fmla="*/ 97144 h 6858000"/>
              <a:gd name="connsiteX53" fmla="*/ 1718189 w 5794893"/>
              <a:gd name="connsiteY53" fmla="*/ 36922 h 6858000"/>
              <a:gd name="connsiteX54" fmla="*/ 1815282 w 5794893"/>
              <a:gd name="connsiteY54" fmla="*/ 97144 h 6858000"/>
              <a:gd name="connsiteX55" fmla="*/ 1842321 w 5794893"/>
              <a:gd name="connsiteY55" fmla="*/ 41838 h 6858000"/>
              <a:gd name="connsiteX56" fmla="*/ 1945560 w 5794893"/>
              <a:gd name="connsiteY56" fmla="*/ 97144 h 6858000"/>
              <a:gd name="connsiteX57" fmla="*/ 1967682 w 5794893"/>
              <a:gd name="connsiteY57" fmla="*/ 45524 h 6858000"/>
              <a:gd name="connsiteX58" fmla="*/ 2075837 w 5794893"/>
              <a:gd name="connsiteY58" fmla="*/ 97144 h 6858000"/>
              <a:gd name="connsiteX59" fmla="*/ 2093044 w 5794893"/>
              <a:gd name="connsiteY59" fmla="*/ 50440 h 6858000"/>
              <a:gd name="connsiteX60" fmla="*/ 2204887 w 5794893"/>
              <a:gd name="connsiteY60" fmla="*/ 97144 h 6858000"/>
              <a:gd name="connsiteX61" fmla="*/ 2218405 w 5794893"/>
              <a:gd name="connsiteY61" fmla="*/ 54128 h 6858000"/>
              <a:gd name="connsiteX62" fmla="*/ 2336392 w 5794893"/>
              <a:gd name="connsiteY62" fmla="*/ 98373 h 6858000"/>
              <a:gd name="connsiteX63" fmla="*/ 2347454 w 5794893"/>
              <a:gd name="connsiteY63" fmla="*/ 60273 h 6858000"/>
              <a:gd name="connsiteX64" fmla="*/ 2466670 w 5794893"/>
              <a:gd name="connsiteY64" fmla="*/ 98373 h 6858000"/>
              <a:gd name="connsiteX65" fmla="*/ 2475274 w 5794893"/>
              <a:gd name="connsiteY65" fmla="*/ 63960 h 6858000"/>
              <a:gd name="connsiteX66" fmla="*/ 2595719 w 5794893"/>
              <a:gd name="connsiteY66" fmla="*/ 98373 h 6858000"/>
              <a:gd name="connsiteX67" fmla="*/ 2601864 w 5794893"/>
              <a:gd name="connsiteY67" fmla="*/ 68877 h 6858000"/>
              <a:gd name="connsiteX68" fmla="*/ 2724767 w 5794893"/>
              <a:gd name="connsiteY68" fmla="*/ 98373 h 6858000"/>
              <a:gd name="connsiteX69" fmla="*/ 2729683 w 5794893"/>
              <a:gd name="connsiteY69" fmla="*/ 72563 h 6858000"/>
              <a:gd name="connsiteX70" fmla="*/ 2855045 w 5794893"/>
              <a:gd name="connsiteY70" fmla="*/ 98373 h 6858000"/>
              <a:gd name="connsiteX71" fmla="*/ 2858732 w 5794893"/>
              <a:gd name="connsiteY71" fmla="*/ 76251 h 6858000"/>
              <a:gd name="connsiteX72" fmla="*/ 2985322 w 5794893"/>
              <a:gd name="connsiteY72" fmla="*/ 98373 h 6858000"/>
              <a:gd name="connsiteX73" fmla="*/ 2987780 w 5794893"/>
              <a:gd name="connsiteY73" fmla="*/ 79937 h 6858000"/>
              <a:gd name="connsiteX74" fmla="*/ 3114371 w 5794893"/>
              <a:gd name="connsiteY74" fmla="*/ 98373 h 6858000"/>
              <a:gd name="connsiteX75" fmla="*/ 3115600 w 5794893"/>
              <a:gd name="connsiteY75" fmla="*/ 82395 h 6858000"/>
              <a:gd name="connsiteX76" fmla="*/ 3243419 w 5794893"/>
              <a:gd name="connsiteY76" fmla="*/ 98373 h 6858000"/>
              <a:gd name="connsiteX77" fmla="*/ 3244649 w 5794893"/>
              <a:gd name="connsiteY77" fmla="*/ 86083 h 6858000"/>
              <a:gd name="connsiteX78" fmla="*/ 3373697 w 5794893"/>
              <a:gd name="connsiteY78" fmla="*/ 98373 h 6858000"/>
              <a:gd name="connsiteX79" fmla="*/ 3374927 w 5794893"/>
              <a:gd name="connsiteY79" fmla="*/ 88541 h 6858000"/>
              <a:gd name="connsiteX80" fmla="*/ 3503974 w 5794893"/>
              <a:gd name="connsiteY80" fmla="*/ 98373 h 6858000"/>
              <a:gd name="connsiteX81" fmla="*/ 3503974 w 5794893"/>
              <a:gd name="connsiteY81" fmla="*/ 90999 h 6858000"/>
              <a:gd name="connsiteX82" fmla="*/ 3633024 w 5794893"/>
              <a:gd name="connsiteY82" fmla="*/ 98373 h 6858000"/>
              <a:gd name="connsiteX83" fmla="*/ 3633024 w 5794893"/>
              <a:gd name="connsiteY83" fmla="*/ 93457 h 6858000"/>
              <a:gd name="connsiteX84" fmla="*/ 3641626 w 5794893"/>
              <a:gd name="connsiteY84" fmla="*/ 93457 h 6858000"/>
              <a:gd name="connsiteX85" fmla="*/ 3721514 w 5794893"/>
              <a:gd name="connsiteY85" fmla="*/ 95915 h 6858000"/>
              <a:gd name="connsiteX86" fmla="*/ 3721514 w 5794893"/>
              <a:gd name="connsiteY86" fmla="*/ 97144 h 6858000"/>
              <a:gd name="connsiteX87" fmla="*/ 5715007 w 5794893"/>
              <a:gd name="connsiteY87" fmla="*/ 142619 h 6858000"/>
              <a:gd name="connsiteX88" fmla="*/ 3721514 w 5794893"/>
              <a:gd name="connsiteY88" fmla="*/ 137702 h 6858000"/>
              <a:gd name="connsiteX89" fmla="*/ 3721514 w 5794893"/>
              <a:gd name="connsiteY89" fmla="*/ 140160 h 6858000"/>
              <a:gd name="connsiteX90" fmla="*/ 3603527 w 5794893"/>
              <a:gd name="connsiteY90" fmla="*/ 137702 h 6858000"/>
              <a:gd name="connsiteX91" fmla="*/ 3603527 w 5794893"/>
              <a:gd name="connsiteY91" fmla="*/ 141389 h 6858000"/>
              <a:gd name="connsiteX92" fmla="*/ 3485540 w 5794893"/>
              <a:gd name="connsiteY92" fmla="*/ 137702 h 6858000"/>
              <a:gd name="connsiteX93" fmla="*/ 3485540 w 5794893"/>
              <a:gd name="connsiteY93" fmla="*/ 143847 h 6858000"/>
              <a:gd name="connsiteX94" fmla="*/ 3367552 w 5794893"/>
              <a:gd name="connsiteY94" fmla="*/ 137702 h 6858000"/>
              <a:gd name="connsiteX95" fmla="*/ 3367552 w 5794893"/>
              <a:gd name="connsiteY95" fmla="*/ 146305 h 6858000"/>
              <a:gd name="connsiteX96" fmla="*/ 3249565 w 5794893"/>
              <a:gd name="connsiteY96" fmla="*/ 137702 h 6858000"/>
              <a:gd name="connsiteX97" fmla="*/ 3249565 w 5794893"/>
              <a:gd name="connsiteY97" fmla="*/ 148763 h 6858000"/>
              <a:gd name="connsiteX98" fmla="*/ 3131578 w 5794893"/>
              <a:gd name="connsiteY98" fmla="*/ 137702 h 6858000"/>
              <a:gd name="connsiteX99" fmla="*/ 3129120 w 5794893"/>
              <a:gd name="connsiteY99" fmla="*/ 152451 h 6858000"/>
              <a:gd name="connsiteX100" fmla="*/ 3012361 w 5794893"/>
              <a:gd name="connsiteY100" fmla="*/ 137702 h 6858000"/>
              <a:gd name="connsiteX101" fmla="*/ 3011133 w 5794893"/>
              <a:gd name="connsiteY101" fmla="*/ 154909 h 6858000"/>
              <a:gd name="connsiteX102" fmla="*/ 2894374 w 5794893"/>
              <a:gd name="connsiteY102" fmla="*/ 137702 h 6858000"/>
              <a:gd name="connsiteX103" fmla="*/ 2891916 w 5794893"/>
              <a:gd name="connsiteY103" fmla="*/ 158595 h 6858000"/>
              <a:gd name="connsiteX104" fmla="*/ 2776386 w 5794893"/>
              <a:gd name="connsiteY104" fmla="*/ 137702 h 6858000"/>
              <a:gd name="connsiteX105" fmla="*/ 2772700 w 5794893"/>
              <a:gd name="connsiteY105" fmla="*/ 162283 h 6858000"/>
              <a:gd name="connsiteX106" fmla="*/ 2658399 w 5794893"/>
              <a:gd name="connsiteY106" fmla="*/ 137702 h 6858000"/>
              <a:gd name="connsiteX107" fmla="*/ 2653483 w 5794893"/>
              <a:gd name="connsiteY107" fmla="*/ 164741 h 6858000"/>
              <a:gd name="connsiteX108" fmla="*/ 2540412 w 5794893"/>
              <a:gd name="connsiteY108" fmla="*/ 137702 h 6858000"/>
              <a:gd name="connsiteX109" fmla="*/ 2534268 w 5794893"/>
              <a:gd name="connsiteY109" fmla="*/ 169657 h 6858000"/>
              <a:gd name="connsiteX110" fmla="*/ 2422425 w 5794893"/>
              <a:gd name="connsiteY110" fmla="*/ 137702 h 6858000"/>
              <a:gd name="connsiteX111" fmla="*/ 2415051 w 5794893"/>
              <a:gd name="connsiteY111" fmla="*/ 173344 h 6858000"/>
              <a:gd name="connsiteX112" fmla="*/ 2304438 w 5794893"/>
              <a:gd name="connsiteY112" fmla="*/ 137702 h 6858000"/>
              <a:gd name="connsiteX113" fmla="*/ 2294605 w 5794893"/>
              <a:gd name="connsiteY113" fmla="*/ 177031 h 6858000"/>
              <a:gd name="connsiteX114" fmla="*/ 2186450 w 5794893"/>
              <a:gd name="connsiteY114" fmla="*/ 137702 h 6858000"/>
              <a:gd name="connsiteX115" fmla="*/ 2174160 w 5794893"/>
              <a:gd name="connsiteY115" fmla="*/ 181948 h 6858000"/>
              <a:gd name="connsiteX116" fmla="*/ 2068463 w 5794893"/>
              <a:gd name="connsiteY116" fmla="*/ 137702 h 6858000"/>
              <a:gd name="connsiteX117" fmla="*/ 2052486 w 5794893"/>
              <a:gd name="connsiteY117" fmla="*/ 186864 h 6858000"/>
              <a:gd name="connsiteX118" fmla="*/ 1950476 w 5794893"/>
              <a:gd name="connsiteY118" fmla="*/ 137702 h 6858000"/>
              <a:gd name="connsiteX119" fmla="*/ 1930811 w 5794893"/>
              <a:gd name="connsiteY119" fmla="*/ 190550 h 6858000"/>
              <a:gd name="connsiteX120" fmla="*/ 1832489 w 5794893"/>
              <a:gd name="connsiteY120" fmla="*/ 137702 h 6858000"/>
              <a:gd name="connsiteX121" fmla="*/ 1807908 w 5794893"/>
              <a:gd name="connsiteY121" fmla="*/ 195466 h 6858000"/>
              <a:gd name="connsiteX122" fmla="*/ 1714501 w 5794893"/>
              <a:gd name="connsiteY122" fmla="*/ 137702 h 6858000"/>
              <a:gd name="connsiteX123" fmla="*/ 1685005 w 5794893"/>
              <a:gd name="connsiteY123" fmla="*/ 200382 h 6858000"/>
              <a:gd name="connsiteX124" fmla="*/ 1596514 w 5794893"/>
              <a:gd name="connsiteY124" fmla="*/ 137702 h 6858000"/>
              <a:gd name="connsiteX125" fmla="*/ 1560873 w 5794893"/>
              <a:gd name="connsiteY125" fmla="*/ 201612 h 6858000"/>
              <a:gd name="connsiteX126" fmla="*/ 1685005 w 5794893"/>
              <a:gd name="connsiteY126" fmla="*/ 291331 h 6858000"/>
              <a:gd name="connsiteX127" fmla="*/ 1718189 w 5794893"/>
              <a:gd name="connsiteY127" fmla="*/ 231109 h 6858000"/>
              <a:gd name="connsiteX128" fmla="*/ 1815282 w 5794893"/>
              <a:gd name="connsiteY128" fmla="*/ 291331 h 6858000"/>
              <a:gd name="connsiteX129" fmla="*/ 1842321 w 5794893"/>
              <a:gd name="connsiteY129" fmla="*/ 236025 h 6858000"/>
              <a:gd name="connsiteX130" fmla="*/ 1945560 w 5794893"/>
              <a:gd name="connsiteY130" fmla="*/ 291331 h 6858000"/>
              <a:gd name="connsiteX131" fmla="*/ 1967682 w 5794893"/>
              <a:gd name="connsiteY131" fmla="*/ 239712 h 6858000"/>
              <a:gd name="connsiteX132" fmla="*/ 2075837 w 5794893"/>
              <a:gd name="connsiteY132" fmla="*/ 291331 h 6858000"/>
              <a:gd name="connsiteX133" fmla="*/ 2093044 w 5794893"/>
              <a:gd name="connsiteY133" fmla="*/ 244628 h 6858000"/>
              <a:gd name="connsiteX134" fmla="*/ 2204887 w 5794893"/>
              <a:gd name="connsiteY134" fmla="*/ 291331 h 6858000"/>
              <a:gd name="connsiteX135" fmla="*/ 2218405 w 5794893"/>
              <a:gd name="connsiteY135" fmla="*/ 248315 h 6858000"/>
              <a:gd name="connsiteX136" fmla="*/ 2333934 w 5794893"/>
              <a:gd name="connsiteY136" fmla="*/ 291331 h 6858000"/>
              <a:gd name="connsiteX137" fmla="*/ 2344996 w 5794893"/>
              <a:gd name="connsiteY137" fmla="*/ 253232 h 6858000"/>
              <a:gd name="connsiteX138" fmla="*/ 2464212 w 5794893"/>
              <a:gd name="connsiteY138" fmla="*/ 291331 h 6858000"/>
              <a:gd name="connsiteX139" fmla="*/ 2472816 w 5794893"/>
              <a:gd name="connsiteY139" fmla="*/ 256918 h 6858000"/>
              <a:gd name="connsiteX140" fmla="*/ 2593261 w 5794893"/>
              <a:gd name="connsiteY140" fmla="*/ 291331 h 6858000"/>
              <a:gd name="connsiteX141" fmla="*/ 2599406 w 5794893"/>
              <a:gd name="connsiteY141" fmla="*/ 261834 h 6858000"/>
              <a:gd name="connsiteX142" fmla="*/ 2722309 w 5794893"/>
              <a:gd name="connsiteY142" fmla="*/ 291331 h 6858000"/>
              <a:gd name="connsiteX143" fmla="*/ 2727225 w 5794893"/>
              <a:gd name="connsiteY143" fmla="*/ 265522 h 6858000"/>
              <a:gd name="connsiteX144" fmla="*/ 2852587 w 5794893"/>
              <a:gd name="connsiteY144" fmla="*/ 291331 h 6858000"/>
              <a:gd name="connsiteX145" fmla="*/ 2856274 w 5794893"/>
              <a:gd name="connsiteY145" fmla="*/ 269208 h 6858000"/>
              <a:gd name="connsiteX146" fmla="*/ 2982864 w 5794893"/>
              <a:gd name="connsiteY146" fmla="*/ 291331 h 6858000"/>
              <a:gd name="connsiteX147" fmla="*/ 2985322 w 5794893"/>
              <a:gd name="connsiteY147" fmla="*/ 272896 h 6858000"/>
              <a:gd name="connsiteX148" fmla="*/ 3111913 w 5794893"/>
              <a:gd name="connsiteY148" fmla="*/ 291331 h 6858000"/>
              <a:gd name="connsiteX149" fmla="*/ 3114371 w 5794893"/>
              <a:gd name="connsiteY149" fmla="*/ 275354 h 6858000"/>
              <a:gd name="connsiteX150" fmla="*/ 3240961 w 5794893"/>
              <a:gd name="connsiteY150" fmla="*/ 291331 h 6858000"/>
              <a:gd name="connsiteX151" fmla="*/ 3242191 w 5794893"/>
              <a:gd name="connsiteY151" fmla="*/ 279041 h 6858000"/>
              <a:gd name="connsiteX152" fmla="*/ 3371239 w 5794893"/>
              <a:gd name="connsiteY152" fmla="*/ 291331 h 6858000"/>
              <a:gd name="connsiteX153" fmla="*/ 3372468 w 5794893"/>
              <a:gd name="connsiteY153" fmla="*/ 281499 h 6858000"/>
              <a:gd name="connsiteX154" fmla="*/ 3501516 w 5794893"/>
              <a:gd name="connsiteY154" fmla="*/ 291331 h 6858000"/>
              <a:gd name="connsiteX155" fmla="*/ 3501516 w 5794893"/>
              <a:gd name="connsiteY155" fmla="*/ 283957 h 6858000"/>
              <a:gd name="connsiteX156" fmla="*/ 3630565 w 5794893"/>
              <a:gd name="connsiteY156" fmla="*/ 291331 h 6858000"/>
              <a:gd name="connsiteX157" fmla="*/ 3630565 w 5794893"/>
              <a:gd name="connsiteY157" fmla="*/ 286415 h 6858000"/>
              <a:gd name="connsiteX158" fmla="*/ 3639168 w 5794893"/>
              <a:gd name="connsiteY158" fmla="*/ 286415 h 6858000"/>
              <a:gd name="connsiteX159" fmla="*/ 3719056 w 5794893"/>
              <a:gd name="connsiteY159" fmla="*/ 288873 h 6858000"/>
              <a:gd name="connsiteX160" fmla="*/ 3719056 w 5794893"/>
              <a:gd name="connsiteY160" fmla="*/ 290103 h 6858000"/>
              <a:gd name="connsiteX161" fmla="*/ 5727297 w 5794893"/>
              <a:gd name="connsiteY161" fmla="*/ 331890 h 6858000"/>
              <a:gd name="connsiteX162" fmla="*/ 3719056 w 5794893"/>
              <a:gd name="connsiteY162" fmla="*/ 331890 h 6858000"/>
              <a:gd name="connsiteX163" fmla="*/ 3719056 w 5794893"/>
              <a:gd name="connsiteY163" fmla="*/ 334348 h 6858000"/>
              <a:gd name="connsiteX164" fmla="*/ 3601069 w 5794893"/>
              <a:gd name="connsiteY164" fmla="*/ 331890 h 6858000"/>
              <a:gd name="connsiteX165" fmla="*/ 3601069 w 5794893"/>
              <a:gd name="connsiteY165" fmla="*/ 336806 h 6858000"/>
              <a:gd name="connsiteX166" fmla="*/ 3485540 w 5794893"/>
              <a:gd name="connsiteY166" fmla="*/ 333118 h 6858000"/>
              <a:gd name="connsiteX167" fmla="*/ 3485540 w 5794893"/>
              <a:gd name="connsiteY167" fmla="*/ 339264 h 6858000"/>
              <a:gd name="connsiteX168" fmla="*/ 3367552 w 5794893"/>
              <a:gd name="connsiteY168" fmla="*/ 333118 h 6858000"/>
              <a:gd name="connsiteX169" fmla="*/ 3367552 w 5794893"/>
              <a:gd name="connsiteY169" fmla="*/ 341722 h 6858000"/>
              <a:gd name="connsiteX170" fmla="*/ 3249565 w 5794893"/>
              <a:gd name="connsiteY170" fmla="*/ 333118 h 6858000"/>
              <a:gd name="connsiteX171" fmla="*/ 3249565 w 5794893"/>
              <a:gd name="connsiteY171" fmla="*/ 344180 h 6858000"/>
              <a:gd name="connsiteX172" fmla="*/ 3131578 w 5794893"/>
              <a:gd name="connsiteY172" fmla="*/ 333118 h 6858000"/>
              <a:gd name="connsiteX173" fmla="*/ 3130348 w 5794893"/>
              <a:gd name="connsiteY173" fmla="*/ 347866 h 6858000"/>
              <a:gd name="connsiteX174" fmla="*/ 3012361 w 5794893"/>
              <a:gd name="connsiteY174" fmla="*/ 333118 h 6858000"/>
              <a:gd name="connsiteX175" fmla="*/ 3011133 w 5794893"/>
              <a:gd name="connsiteY175" fmla="*/ 350325 h 6858000"/>
              <a:gd name="connsiteX176" fmla="*/ 2894374 w 5794893"/>
              <a:gd name="connsiteY176" fmla="*/ 333118 h 6858000"/>
              <a:gd name="connsiteX177" fmla="*/ 2891916 w 5794893"/>
              <a:gd name="connsiteY177" fmla="*/ 354012 h 6858000"/>
              <a:gd name="connsiteX178" fmla="*/ 2776386 w 5794893"/>
              <a:gd name="connsiteY178" fmla="*/ 333118 h 6858000"/>
              <a:gd name="connsiteX179" fmla="*/ 2772700 w 5794893"/>
              <a:gd name="connsiteY179" fmla="*/ 357699 h 6858000"/>
              <a:gd name="connsiteX180" fmla="*/ 2658399 w 5794893"/>
              <a:gd name="connsiteY180" fmla="*/ 333118 h 6858000"/>
              <a:gd name="connsiteX181" fmla="*/ 2653483 w 5794893"/>
              <a:gd name="connsiteY181" fmla="*/ 360157 h 6858000"/>
              <a:gd name="connsiteX182" fmla="*/ 2540412 w 5794893"/>
              <a:gd name="connsiteY182" fmla="*/ 333118 h 6858000"/>
              <a:gd name="connsiteX183" fmla="*/ 2534268 w 5794893"/>
              <a:gd name="connsiteY183" fmla="*/ 365073 h 6858000"/>
              <a:gd name="connsiteX184" fmla="*/ 2422425 w 5794893"/>
              <a:gd name="connsiteY184" fmla="*/ 333118 h 6858000"/>
              <a:gd name="connsiteX185" fmla="*/ 2415051 w 5794893"/>
              <a:gd name="connsiteY185" fmla="*/ 368761 h 6858000"/>
              <a:gd name="connsiteX186" fmla="*/ 2304438 w 5794893"/>
              <a:gd name="connsiteY186" fmla="*/ 333118 h 6858000"/>
              <a:gd name="connsiteX187" fmla="*/ 2294605 w 5794893"/>
              <a:gd name="connsiteY187" fmla="*/ 372447 h 6858000"/>
              <a:gd name="connsiteX188" fmla="*/ 2186450 w 5794893"/>
              <a:gd name="connsiteY188" fmla="*/ 333118 h 6858000"/>
              <a:gd name="connsiteX189" fmla="*/ 2174160 w 5794893"/>
              <a:gd name="connsiteY189" fmla="*/ 377363 h 6858000"/>
              <a:gd name="connsiteX190" fmla="*/ 2068463 w 5794893"/>
              <a:gd name="connsiteY190" fmla="*/ 333118 h 6858000"/>
              <a:gd name="connsiteX191" fmla="*/ 2052486 w 5794893"/>
              <a:gd name="connsiteY191" fmla="*/ 382279 h 6858000"/>
              <a:gd name="connsiteX192" fmla="*/ 1950476 w 5794893"/>
              <a:gd name="connsiteY192" fmla="*/ 333118 h 6858000"/>
              <a:gd name="connsiteX193" fmla="*/ 1930811 w 5794893"/>
              <a:gd name="connsiteY193" fmla="*/ 387196 h 6858000"/>
              <a:gd name="connsiteX194" fmla="*/ 1832489 w 5794893"/>
              <a:gd name="connsiteY194" fmla="*/ 334348 h 6858000"/>
              <a:gd name="connsiteX195" fmla="*/ 1807908 w 5794893"/>
              <a:gd name="connsiteY195" fmla="*/ 392112 h 6858000"/>
              <a:gd name="connsiteX196" fmla="*/ 1714501 w 5794893"/>
              <a:gd name="connsiteY196" fmla="*/ 334348 h 6858000"/>
              <a:gd name="connsiteX197" fmla="*/ 1685005 w 5794893"/>
              <a:gd name="connsiteY197" fmla="*/ 395799 h 6858000"/>
              <a:gd name="connsiteX198" fmla="*/ 1596514 w 5794893"/>
              <a:gd name="connsiteY198" fmla="*/ 333118 h 6858000"/>
              <a:gd name="connsiteX199" fmla="*/ 1560873 w 5794893"/>
              <a:gd name="connsiteY199" fmla="*/ 397028 h 6858000"/>
              <a:gd name="connsiteX200" fmla="*/ 1685005 w 5794893"/>
              <a:gd name="connsiteY200" fmla="*/ 485518 h 6858000"/>
              <a:gd name="connsiteX201" fmla="*/ 1718189 w 5794893"/>
              <a:gd name="connsiteY201" fmla="*/ 425296 h 6858000"/>
              <a:gd name="connsiteX202" fmla="*/ 1815282 w 5794893"/>
              <a:gd name="connsiteY202" fmla="*/ 485518 h 6858000"/>
              <a:gd name="connsiteX203" fmla="*/ 1842321 w 5794893"/>
              <a:gd name="connsiteY203" fmla="*/ 430212 h 6858000"/>
              <a:gd name="connsiteX204" fmla="*/ 1945560 w 5794893"/>
              <a:gd name="connsiteY204" fmla="*/ 485518 h 6858000"/>
              <a:gd name="connsiteX205" fmla="*/ 1967682 w 5794893"/>
              <a:gd name="connsiteY205" fmla="*/ 433899 h 6858000"/>
              <a:gd name="connsiteX206" fmla="*/ 2075837 w 5794893"/>
              <a:gd name="connsiteY206" fmla="*/ 485518 h 6858000"/>
              <a:gd name="connsiteX207" fmla="*/ 2093044 w 5794893"/>
              <a:gd name="connsiteY207" fmla="*/ 438815 h 6858000"/>
              <a:gd name="connsiteX208" fmla="*/ 2204887 w 5794893"/>
              <a:gd name="connsiteY208" fmla="*/ 485518 h 6858000"/>
              <a:gd name="connsiteX209" fmla="*/ 2218405 w 5794893"/>
              <a:gd name="connsiteY209" fmla="*/ 442503 h 6858000"/>
              <a:gd name="connsiteX210" fmla="*/ 2333934 w 5794893"/>
              <a:gd name="connsiteY210" fmla="*/ 485518 h 6858000"/>
              <a:gd name="connsiteX211" fmla="*/ 2344996 w 5794893"/>
              <a:gd name="connsiteY211" fmla="*/ 447419 h 6858000"/>
              <a:gd name="connsiteX212" fmla="*/ 2464212 w 5794893"/>
              <a:gd name="connsiteY212" fmla="*/ 485518 h 6858000"/>
              <a:gd name="connsiteX213" fmla="*/ 2472816 w 5794893"/>
              <a:gd name="connsiteY213" fmla="*/ 451105 h 6858000"/>
              <a:gd name="connsiteX214" fmla="*/ 2593261 w 5794893"/>
              <a:gd name="connsiteY214" fmla="*/ 485518 h 6858000"/>
              <a:gd name="connsiteX215" fmla="*/ 2599406 w 5794893"/>
              <a:gd name="connsiteY215" fmla="*/ 456021 h 6858000"/>
              <a:gd name="connsiteX216" fmla="*/ 2722309 w 5794893"/>
              <a:gd name="connsiteY216" fmla="*/ 485518 h 6858000"/>
              <a:gd name="connsiteX217" fmla="*/ 2728455 w 5794893"/>
              <a:gd name="connsiteY217" fmla="*/ 459709 h 6858000"/>
              <a:gd name="connsiteX218" fmla="*/ 2855045 w 5794893"/>
              <a:gd name="connsiteY218" fmla="*/ 485518 h 6858000"/>
              <a:gd name="connsiteX219" fmla="*/ 2858732 w 5794893"/>
              <a:gd name="connsiteY219" fmla="*/ 463396 h 6858000"/>
              <a:gd name="connsiteX220" fmla="*/ 2985322 w 5794893"/>
              <a:gd name="connsiteY220" fmla="*/ 485518 h 6858000"/>
              <a:gd name="connsiteX221" fmla="*/ 2987780 w 5794893"/>
              <a:gd name="connsiteY221" fmla="*/ 467083 h 6858000"/>
              <a:gd name="connsiteX222" fmla="*/ 3114371 w 5794893"/>
              <a:gd name="connsiteY222" fmla="*/ 485518 h 6858000"/>
              <a:gd name="connsiteX223" fmla="*/ 3115600 w 5794893"/>
              <a:gd name="connsiteY223" fmla="*/ 469541 h 6858000"/>
              <a:gd name="connsiteX224" fmla="*/ 3243419 w 5794893"/>
              <a:gd name="connsiteY224" fmla="*/ 485518 h 6858000"/>
              <a:gd name="connsiteX225" fmla="*/ 3244649 w 5794893"/>
              <a:gd name="connsiteY225" fmla="*/ 473228 h 6858000"/>
              <a:gd name="connsiteX226" fmla="*/ 3373697 w 5794893"/>
              <a:gd name="connsiteY226" fmla="*/ 485518 h 6858000"/>
              <a:gd name="connsiteX227" fmla="*/ 3374927 w 5794893"/>
              <a:gd name="connsiteY227" fmla="*/ 475686 h 6858000"/>
              <a:gd name="connsiteX228" fmla="*/ 3503974 w 5794893"/>
              <a:gd name="connsiteY228" fmla="*/ 485518 h 6858000"/>
              <a:gd name="connsiteX229" fmla="*/ 3503974 w 5794893"/>
              <a:gd name="connsiteY229" fmla="*/ 478144 h 6858000"/>
              <a:gd name="connsiteX230" fmla="*/ 3633024 w 5794893"/>
              <a:gd name="connsiteY230" fmla="*/ 485518 h 6858000"/>
              <a:gd name="connsiteX231" fmla="*/ 3633024 w 5794893"/>
              <a:gd name="connsiteY231" fmla="*/ 481832 h 6858000"/>
              <a:gd name="connsiteX232" fmla="*/ 3641626 w 5794893"/>
              <a:gd name="connsiteY232" fmla="*/ 481832 h 6858000"/>
              <a:gd name="connsiteX233" fmla="*/ 3721514 w 5794893"/>
              <a:gd name="connsiteY233" fmla="*/ 484290 h 6858000"/>
              <a:gd name="connsiteX234" fmla="*/ 3721514 w 5794893"/>
              <a:gd name="connsiteY234" fmla="*/ 486748 h 6858000"/>
              <a:gd name="connsiteX235" fmla="*/ 5726067 w 5794893"/>
              <a:gd name="connsiteY235" fmla="*/ 528535 h 6858000"/>
              <a:gd name="connsiteX236" fmla="*/ 3720284 w 5794893"/>
              <a:gd name="connsiteY236" fmla="*/ 528535 h 6858000"/>
              <a:gd name="connsiteX237" fmla="*/ 3721514 w 5794893"/>
              <a:gd name="connsiteY237" fmla="*/ 529763 h 6858000"/>
              <a:gd name="connsiteX238" fmla="*/ 3603527 w 5794893"/>
              <a:gd name="connsiteY238" fmla="*/ 527305 h 6858000"/>
              <a:gd name="connsiteX239" fmla="*/ 3603527 w 5794893"/>
              <a:gd name="connsiteY239" fmla="*/ 530993 h 6858000"/>
              <a:gd name="connsiteX240" fmla="*/ 3485540 w 5794893"/>
              <a:gd name="connsiteY240" fmla="*/ 527305 h 6858000"/>
              <a:gd name="connsiteX241" fmla="*/ 3485540 w 5794893"/>
              <a:gd name="connsiteY241" fmla="*/ 533451 h 6858000"/>
              <a:gd name="connsiteX242" fmla="*/ 3367552 w 5794893"/>
              <a:gd name="connsiteY242" fmla="*/ 527305 h 6858000"/>
              <a:gd name="connsiteX243" fmla="*/ 3367552 w 5794893"/>
              <a:gd name="connsiteY243" fmla="*/ 535909 h 6858000"/>
              <a:gd name="connsiteX244" fmla="*/ 3249565 w 5794893"/>
              <a:gd name="connsiteY244" fmla="*/ 527305 h 6858000"/>
              <a:gd name="connsiteX245" fmla="*/ 3249565 w 5794893"/>
              <a:gd name="connsiteY245" fmla="*/ 538367 h 6858000"/>
              <a:gd name="connsiteX246" fmla="*/ 3131578 w 5794893"/>
              <a:gd name="connsiteY246" fmla="*/ 527305 h 6858000"/>
              <a:gd name="connsiteX247" fmla="*/ 3130348 w 5794893"/>
              <a:gd name="connsiteY247" fmla="*/ 542054 h 6858000"/>
              <a:gd name="connsiteX248" fmla="*/ 3012361 w 5794893"/>
              <a:gd name="connsiteY248" fmla="*/ 527305 h 6858000"/>
              <a:gd name="connsiteX249" fmla="*/ 3011133 w 5794893"/>
              <a:gd name="connsiteY249" fmla="*/ 544512 h 6858000"/>
              <a:gd name="connsiteX250" fmla="*/ 2894374 w 5794893"/>
              <a:gd name="connsiteY250" fmla="*/ 527305 h 6858000"/>
              <a:gd name="connsiteX251" fmla="*/ 2891916 w 5794893"/>
              <a:gd name="connsiteY251" fmla="*/ 548200 h 6858000"/>
              <a:gd name="connsiteX252" fmla="*/ 2776386 w 5794893"/>
              <a:gd name="connsiteY252" fmla="*/ 527305 h 6858000"/>
              <a:gd name="connsiteX253" fmla="*/ 2772700 w 5794893"/>
              <a:gd name="connsiteY253" fmla="*/ 550658 h 6858000"/>
              <a:gd name="connsiteX254" fmla="*/ 2658399 w 5794893"/>
              <a:gd name="connsiteY254" fmla="*/ 527305 h 6858000"/>
              <a:gd name="connsiteX255" fmla="*/ 2653483 w 5794893"/>
              <a:gd name="connsiteY255" fmla="*/ 554344 h 6858000"/>
              <a:gd name="connsiteX256" fmla="*/ 2540412 w 5794893"/>
              <a:gd name="connsiteY256" fmla="*/ 527305 h 6858000"/>
              <a:gd name="connsiteX257" fmla="*/ 2534268 w 5794893"/>
              <a:gd name="connsiteY257" fmla="*/ 558032 h 6858000"/>
              <a:gd name="connsiteX258" fmla="*/ 2422425 w 5794893"/>
              <a:gd name="connsiteY258" fmla="*/ 527305 h 6858000"/>
              <a:gd name="connsiteX259" fmla="*/ 2415051 w 5794893"/>
              <a:gd name="connsiteY259" fmla="*/ 562948 h 6858000"/>
              <a:gd name="connsiteX260" fmla="*/ 2304438 w 5794893"/>
              <a:gd name="connsiteY260" fmla="*/ 527305 h 6858000"/>
              <a:gd name="connsiteX261" fmla="*/ 2294605 w 5794893"/>
              <a:gd name="connsiteY261" fmla="*/ 566634 h 6858000"/>
              <a:gd name="connsiteX262" fmla="*/ 2186450 w 5794893"/>
              <a:gd name="connsiteY262" fmla="*/ 527305 h 6858000"/>
              <a:gd name="connsiteX263" fmla="*/ 2174160 w 5794893"/>
              <a:gd name="connsiteY263" fmla="*/ 571551 h 6858000"/>
              <a:gd name="connsiteX264" fmla="*/ 2068463 w 5794893"/>
              <a:gd name="connsiteY264" fmla="*/ 527305 h 6858000"/>
              <a:gd name="connsiteX265" fmla="*/ 2052486 w 5794893"/>
              <a:gd name="connsiteY265" fmla="*/ 576467 h 6858000"/>
              <a:gd name="connsiteX266" fmla="*/ 1950476 w 5794893"/>
              <a:gd name="connsiteY266" fmla="*/ 527305 h 6858000"/>
              <a:gd name="connsiteX267" fmla="*/ 1930811 w 5794893"/>
              <a:gd name="connsiteY267" fmla="*/ 580155 h 6858000"/>
              <a:gd name="connsiteX268" fmla="*/ 1832489 w 5794893"/>
              <a:gd name="connsiteY268" fmla="*/ 527305 h 6858000"/>
              <a:gd name="connsiteX269" fmla="*/ 1807908 w 5794893"/>
              <a:gd name="connsiteY269" fmla="*/ 585071 h 6858000"/>
              <a:gd name="connsiteX270" fmla="*/ 1714501 w 5794893"/>
              <a:gd name="connsiteY270" fmla="*/ 527305 h 6858000"/>
              <a:gd name="connsiteX271" fmla="*/ 1685005 w 5794893"/>
              <a:gd name="connsiteY271" fmla="*/ 589987 h 6858000"/>
              <a:gd name="connsiteX272" fmla="*/ 1596514 w 5794893"/>
              <a:gd name="connsiteY272" fmla="*/ 527305 h 6858000"/>
              <a:gd name="connsiteX273" fmla="*/ 1560873 w 5794893"/>
              <a:gd name="connsiteY273" fmla="*/ 591215 h 6858000"/>
              <a:gd name="connsiteX274" fmla="*/ 1685005 w 5794893"/>
              <a:gd name="connsiteY274" fmla="*/ 682164 h 6858000"/>
              <a:gd name="connsiteX275" fmla="*/ 1718189 w 5794893"/>
              <a:gd name="connsiteY275" fmla="*/ 621942 h 6858000"/>
              <a:gd name="connsiteX276" fmla="*/ 1815282 w 5794893"/>
              <a:gd name="connsiteY276" fmla="*/ 682164 h 6858000"/>
              <a:gd name="connsiteX277" fmla="*/ 1842321 w 5794893"/>
              <a:gd name="connsiteY277" fmla="*/ 626858 h 6858000"/>
              <a:gd name="connsiteX278" fmla="*/ 1945560 w 5794893"/>
              <a:gd name="connsiteY278" fmla="*/ 682164 h 6858000"/>
              <a:gd name="connsiteX279" fmla="*/ 1967682 w 5794893"/>
              <a:gd name="connsiteY279" fmla="*/ 630544 h 6858000"/>
              <a:gd name="connsiteX280" fmla="*/ 2075837 w 5794893"/>
              <a:gd name="connsiteY280" fmla="*/ 682164 h 6858000"/>
              <a:gd name="connsiteX281" fmla="*/ 2093044 w 5794893"/>
              <a:gd name="connsiteY281" fmla="*/ 635460 h 6858000"/>
              <a:gd name="connsiteX282" fmla="*/ 2204887 w 5794893"/>
              <a:gd name="connsiteY282" fmla="*/ 682164 h 6858000"/>
              <a:gd name="connsiteX283" fmla="*/ 2218405 w 5794893"/>
              <a:gd name="connsiteY283" fmla="*/ 639148 h 6858000"/>
              <a:gd name="connsiteX284" fmla="*/ 2333934 w 5794893"/>
              <a:gd name="connsiteY284" fmla="*/ 682164 h 6858000"/>
              <a:gd name="connsiteX285" fmla="*/ 2344996 w 5794893"/>
              <a:gd name="connsiteY285" fmla="*/ 644064 h 6858000"/>
              <a:gd name="connsiteX286" fmla="*/ 2464212 w 5794893"/>
              <a:gd name="connsiteY286" fmla="*/ 682164 h 6858000"/>
              <a:gd name="connsiteX287" fmla="*/ 2472816 w 5794893"/>
              <a:gd name="connsiteY287" fmla="*/ 647751 h 6858000"/>
              <a:gd name="connsiteX288" fmla="*/ 2593261 w 5794893"/>
              <a:gd name="connsiteY288" fmla="*/ 682164 h 6858000"/>
              <a:gd name="connsiteX289" fmla="*/ 2599406 w 5794893"/>
              <a:gd name="connsiteY289" fmla="*/ 652667 h 6858000"/>
              <a:gd name="connsiteX290" fmla="*/ 2722309 w 5794893"/>
              <a:gd name="connsiteY290" fmla="*/ 682164 h 6858000"/>
              <a:gd name="connsiteX291" fmla="*/ 2727225 w 5794893"/>
              <a:gd name="connsiteY291" fmla="*/ 656355 h 6858000"/>
              <a:gd name="connsiteX292" fmla="*/ 2852587 w 5794893"/>
              <a:gd name="connsiteY292" fmla="*/ 682164 h 6858000"/>
              <a:gd name="connsiteX293" fmla="*/ 2856274 w 5794893"/>
              <a:gd name="connsiteY293" fmla="*/ 660041 h 6858000"/>
              <a:gd name="connsiteX294" fmla="*/ 2982864 w 5794893"/>
              <a:gd name="connsiteY294" fmla="*/ 682164 h 6858000"/>
              <a:gd name="connsiteX295" fmla="*/ 2985322 w 5794893"/>
              <a:gd name="connsiteY295" fmla="*/ 663729 h 6858000"/>
              <a:gd name="connsiteX296" fmla="*/ 3111913 w 5794893"/>
              <a:gd name="connsiteY296" fmla="*/ 682164 h 6858000"/>
              <a:gd name="connsiteX297" fmla="*/ 3113142 w 5794893"/>
              <a:gd name="connsiteY297" fmla="*/ 666187 h 6858000"/>
              <a:gd name="connsiteX298" fmla="*/ 3240961 w 5794893"/>
              <a:gd name="connsiteY298" fmla="*/ 682164 h 6858000"/>
              <a:gd name="connsiteX299" fmla="*/ 3242191 w 5794893"/>
              <a:gd name="connsiteY299" fmla="*/ 669873 h 6858000"/>
              <a:gd name="connsiteX300" fmla="*/ 3371239 w 5794893"/>
              <a:gd name="connsiteY300" fmla="*/ 682164 h 6858000"/>
              <a:gd name="connsiteX301" fmla="*/ 3372468 w 5794893"/>
              <a:gd name="connsiteY301" fmla="*/ 672331 h 6858000"/>
              <a:gd name="connsiteX302" fmla="*/ 3501516 w 5794893"/>
              <a:gd name="connsiteY302" fmla="*/ 682164 h 6858000"/>
              <a:gd name="connsiteX303" fmla="*/ 3501516 w 5794893"/>
              <a:gd name="connsiteY303" fmla="*/ 674789 h 6858000"/>
              <a:gd name="connsiteX304" fmla="*/ 3630565 w 5794893"/>
              <a:gd name="connsiteY304" fmla="*/ 682164 h 6858000"/>
              <a:gd name="connsiteX305" fmla="*/ 3630565 w 5794893"/>
              <a:gd name="connsiteY305" fmla="*/ 677248 h 6858000"/>
              <a:gd name="connsiteX306" fmla="*/ 3639168 w 5794893"/>
              <a:gd name="connsiteY306" fmla="*/ 677248 h 6858000"/>
              <a:gd name="connsiteX307" fmla="*/ 3719056 w 5794893"/>
              <a:gd name="connsiteY307" fmla="*/ 679706 h 6858000"/>
              <a:gd name="connsiteX308" fmla="*/ 3719056 w 5794893"/>
              <a:gd name="connsiteY308" fmla="*/ 680935 h 6858000"/>
              <a:gd name="connsiteX309" fmla="*/ 5710091 w 5794893"/>
              <a:gd name="connsiteY309" fmla="*/ 722722 h 6858000"/>
              <a:gd name="connsiteX310" fmla="*/ 3719056 w 5794893"/>
              <a:gd name="connsiteY310" fmla="*/ 722722 h 6858000"/>
              <a:gd name="connsiteX311" fmla="*/ 3720284 w 5794893"/>
              <a:gd name="connsiteY311" fmla="*/ 725180 h 6858000"/>
              <a:gd name="connsiteX312" fmla="*/ 3602297 w 5794893"/>
              <a:gd name="connsiteY312" fmla="*/ 722722 h 6858000"/>
              <a:gd name="connsiteX313" fmla="*/ 3602297 w 5794893"/>
              <a:gd name="connsiteY313" fmla="*/ 726409 h 6858000"/>
              <a:gd name="connsiteX314" fmla="*/ 3484310 w 5794893"/>
              <a:gd name="connsiteY314" fmla="*/ 722722 h 6858000"/>
              <a:gd name="connsiteX315" fmla="*/ 3484310 w 5794893"/>
              <a:gd name="connsiteY315" fmla="*/ 728867 h 6858000"/>
              <a:gd name="connsiteX316" fmla="*/ 3366323 w 5794893"/>
              <a:gd name="connsiteY316" fmla="*/ 722722 h 6858000"/>
              <a:gd name="connsiteX317" fmla="*/ 3366323 w 5794893"/>
              <a:gd name="connsiteY317" fmla="*/ 731325 h 6858000"/>
              <a:gd name="connsiteX318" fmla="*/ 3248335 w 5794893"/>
              <a:gd name="connsiteY318" fmla="*/ 722722 h 6858000"/>
              <a:gd name="connsiteX319" fmla="*/ 3248335 w 5794893"/>
              <a:gd name="connsiteY319" fmla="*/ 733783 h 6858000"/>
              <a:gd name="connsiteX320" fmla="*/ 3130348 w 5794893"/>
              <a:gd name="connsiteY320" fmla="*/ 722722 h 6858000"/>
              <a:gd name="connsiteX321" fmla="*/ 3129120 w 5794893"/>
              <a:gd name="connsiteY321" fmla="*/ 737471 h 6858000"/>
              <a:gd name="connsiteX322" fmla="*/ 3011133 w 5794893"/>
              <a:gd name="connsiteY322" fmla="*/ 722722 h 6858000"/>
              <a:gd name="connsiteX323" fmla="*/ 3009903 w 5794893"/>
              <a:gd name="connsiteY323" fmla="*/ 739929 h 6858000"/>
              <a:gd name="connsiteX324" fmla="*/ 2893145 w 5794893"/>
              <a:gd name="connsiteY324" fmla="*/ 722722 h 6858000"/>
              <a:gd name="connsiteX325" fmla="*/ 2890687 w 5794893"/>
              <a:gd name="connsiteY325" fmla="*/ 743615 h 6858000"/>
              <a:gd name="connsiteX326" fmla="*/ 2775158 w 5794893"/>
              <a:gd name="connsiteY326" fmla="*/ 722722 h 6858000"/>
              <a:gd name="connsiteX327" fmla="*/ 2771470 w 5794893"/>
              <a:gd name="connsiteY327" fmla="*/ 746073 h 6858000"/>
              <a:gd name="connsiteX328" fmla="*/ 2657171 w 5794893"/>
              <a:gd name="connsiteY328" fmla="*/ 722722 h 6858000"/>
              <a:gd name="connsiteX329" fmla="*/ 2652255 w 5794893"/>
              <a:gd name="connsiteY329" fmla="*/ 749761 h 6858000"/>
              <a:gd name="connsiteX330" fmla="*/ 2539184 w 5794893"/>
              <a:gd name="connsiteY330" fmla="*/ 722722 h 6858000"/>
              <a:gd name="connsiteX331" fmla="*/ 2533038 w 5794893"/>
              <a:gd name="connsiteY331" fmla="*/ 753448 h 6858000"/>
              <a:gd name="connsiteX332" fmla="*/ 2421196 w 5794893"/>
              <a:gd name="connsiteY332" fmla="*/ 721493 h 6858000"/>
              <a:gd name="connsiteX333" fmla="*/ 2413822 w 5794893"/>
              <a:gd name="connsiteY333" fmla="*/ 757135 h 6858000"/>
              <a:gd name="connsiteX334" fmla="*/ 2303209 w 5794893"/>
              <a:gd name="connsiteY334" fmla="*/ 721493 h 6858000"/>
              <a:gd name="connsiteX335" fmla="*/ 2293377 w 5794893"/>
              <a:gd name="connsiteY335" fmla="*/ 760822 h 6858000"/>
              <a:gd name="connsiteX336" fmla="*/ 2185222 w 5794893"/>
              <a:gd name="connsiteY336" fmla="*/ 721493 h 6858000"/>
              <a:gd name="connsiteX337" fmla="*/ 2172932 w 5794893"/>
              <a:gd name="connsiteY337" fmla="*/ 765738 h 6858000"/>
              <a:gd name="connsiteX338" fmla="*/ 2067235 w 5794893"/>
              <a:gd name="connsiteY338" fmla="*/ 721493 h 6858000"/>
              <a:gd name="connsiteX339" fmla="*/ 2051257 w 5794893"/>
              <a:gd name="connsiteY339" fmla="*/ 770654 h 6858000"/>
              <a:gd name="connsiteX340" fmla="*/ 1949247 w 5794893"/>
              <a:gd name="connsiteY340" fmla="*/ 721493 h 6858000"/>
              <a:gd name="connsiteX341" fmla="*/ 1929583 w 5794893"/>
              <a:gd name="connsiteY341" fmla="*/ 774342 h 6858000"/>
              <a:gd name="connsiteX342" fmla="*/ 1831260 w 5794893"/>
              <a:gd name="connsiteY342" fmla="*/ 721493 h 6858000"/>
              <a:gd name="connsiteX343" fmla="*/ 1806680 w 5794893"/>
              <a:gd name="connsiteY343" fmla="*/ 779258 h 6858000"/>
              <a:gd name="connsiteX344" fmla="*/ 1714501 w 5794893"/>
              <a:gd name="connsiteY344" fmla="*/ 721493 h 6858000"/>
              <a:gd name="connsiteX345" fmla="*/ 1685005 w 5794893"/>
              <a:gd name="connsiteY345" fmla="*/ 782944 h 6858000"/>
              <a:gd name="connsiteX346" fmla="*/ 1596514 w 5794893"/>
              <a:gd name="connsiteY346" fmla="*/ 721493 h 6858000"/>
              <a:gd name="connsiteX347" fmla="*/ 1560873 w 5794893"/>
              <a:gd name="connsiteY347" fmla="*/ 785402 h 6858000"/>
              <a:gd name="connsiteX348" fmla="*/ 1683776 w 5794893"/>
              <a:gd name="connsiteY348" fmla="*/ 875123 h 6858000"/>
              <a:gd name="connsiteX349" fmla="*/ 1716959 w 5794893"/>
              <a:gd name="connsiteY349" fmla="*/ 814899 h 6858000"/>
              <a:gd name="connsiteX350" fmla="*/ 1814054 w 5794893"/>
              <a:gd name="connsiteY350" fmla="*/ 875123 h 6858000"/>
              <a:gd name="connsiteX351" fmla="*/ 1841092 w 5794893"/>
              <a:gd name="connsiteY351" fmla="*/ 819815 h 6858000"/>
              <a:gd name="connsiteX352" fmla="*/ 1944331 w 5794893"/>
              <a:gd name="connsiteY352" fmla="*/ 875123 h 6858000"/>
              <a:gd name="connsiteX353" fmla="*/ 1966454 w 5794893"/>
              <a:gd name="connsiteY353" fmla="*/ 823503 h 6858000"/>
              <a:gd name="connsiteX354" fmla="*/ 2074609 w 5794893"/>
              <a:gd name="connsiteY354" fmla="*/ 875123 h 6858000"/>
              <a:gd name="connsiteX355" fmla="*/ 2091815 w 5794893"/>
              <a:gd name="connsiteY355" fmla="*/ 828419 h 6858000"/>
              <a:gd name="connsiteX356" fmla="*/ 2203657 w 5794893"/>
              <a:gd name="connsiteY356" fmla="*/ 875123 h 6858000"/>
              <a:gd name="connsiteX357" fmla="*/ 2217177 w 5794893"/>
              <a:gd name="connsiteY357" fmla="*/ 832106 h 6858000"/>
              <a:gd name="connsiteX358" fmla="*/ 2332706 w 5794893"/>
              <a:gd name="connsiteY358" fmla="*/ 875123 h 6858000"/>
              <a:gd name="connsiteX359" fmla="*/ 2343767 w 5794893"/>
              <a:gd name="connsiteY359" fmla="*/ 837022 h 6858000"/>
              <a:gd name="connsiteX360" fmla="*/ 2462984 w 5794893"/>
              <a:gd name="connsiteY360" fmla="*/ 875123 h 6858000"/>
              <a:gd name="connsiteX361" fmla="*/ 2471586 w 5794893"/>
              <a:gd name="connsiteY361" fmla="*/ 840710 h 6858000"/>
              <a:gd name="connsiteX362" fmla="*/ 2592031 w 5794893"/>
              <a:gd name="connsiteY362" fmla="*/ 875123 h 6858000"/>
              <a:gd name="connsiteX363" fmla="*/ 2598177 w 5794893"/>
              <a:gd name="connsiteY363" fmla="*/ 845626 h 6858000"/>
              <a:gd name="connsiteX364" fmla="*/ 2721081 w 5794893"/>
              <a:gd name="connsiteY364" fmla="*/ 875123 h 6858000"/>
              <a:gd name="connsiteX365" fmla="*/ 2725997 w 5794893"/>
              <a:gd name="connsiteY365" fmla="*/ 849312 h 6858000"/>
              <a:gd name="connsiteX366" fmla="*/ 2851358 w 5794893"/>
              <a:gd name="connsiteY366" fmla="*/ 875123 h 6858000"/>
              <a:gd name="connsiteX367" fmla="*/ 2855045 w 5794893"/>
              <a:gd name="connsiteY367" fmla="*/ 853000 h 6858000"/>
              <a:gd name="connsiteX368" fmla="*/ 2981636 w 5794893"/>
              <a:gd name="connsiteY368" fmla="*/ 875123 h 6858000"/>
              <a:gd name="connsiteX369" fmla="*/ 2984094 w 5794893"/>
              <a:gd name="connsiteY369" fmla="*/ 856686 h 6858000"/>
              <a:gd name="connsiteX370" fmla="*/ 3110684 w 5794893"/>
              <a:gd name="connsiteY370" fmla="*/ 875123 h 6858000"/>
              <a:gd name="connsiteX371" fmla="*/ 3111913 w 5794893"/>
              <a:gd name="connsiteY371" fmla="*/ 859144 h 6858000"/>
              <a:gd name="connsiteX372" fmla="*/ 3239733 w 5794893"/>
              <a:gd name="connsiteY372" fmla="*/ 875123 h 6858000"/>
              <a:gd name="connsiteX373" fmla="*/ 3240961 w 5794893"/>
              <a:gd name="connsiteY373" fmla="*/ 862832 h 6858000"/>
              <a:gd name="connsiteX374" fmla="*/ 3370010 w 5794893"/>
              <a:gd name="connsiteY374" fmla="*/ 875123 h 6858000"/>
              <a:gd name="connsiteX375" fmla="*/ 3371239 w 5794893"/>
              <a:gd name="connsiteY375" fmla="*/ 865290 h 6858000"/>
              <a:gd name="connsiteX376" fmla="*/ 3501516 w 5794893"/>
              <a:gd name="connsiteY376" fmla="*/ 876351 h 6858000"/>
              <a:gd name="connsiteX377" fmla="*/ 3501516 w 5794893"/>
              <a:gd name="connsiteY377" fmla="*/ 868977 h 6858000"/>
              <a:gd name="connsiteX378" fmla="*/ 3630565 w 5794893"/>
              <a:gd name="connsiteY378" fmla="*/ 876351 h 6858000"/>
              <a:gd name="connsiteX379" fmla="*/ 3630565 w 5794893"/>
              <a:gd name="connsiteY379" fmla="*/ 871435 h 6858000"/>
              <a:gd name="connsiteX380" fmla="*/ 3639168 w 5794893"/>
              <a:gd name="connsiteY380" fmla="*/ 871435 h 6858000"/>
              <a:gd name="connsiteX381" fmla="*/ 3719056 w 5794893"/>
              <a:gd name="connsiteY381" fmla="*/ 873893 h 6858000"/>
              <a:gd name="connsiteX382" fmla="*/ 3719056 w 5794893"/>
              <a:gd name="connsiteY382" fmla="*/ 875123 h 6858000"/>
              <a:gd name="connsiteX383" fmla="*/ 5723611 w 5794893"/>
              <a:gd name="connsiteY383" fmla="*/ 916910 h 6858000"/>
              <a:gd name="connsiteX384" fmla="*/ 3720284 w 5794893"/>
              <a:gd name="connsiteY384" fmla="*/ 916910 h 6858000"/>
              <a:gd name="connsiteX385" fmla="*/ 3721514 w 5794893"/>
              <a:gd name="connsiteY385" fmla="*/ 918138 h 6858000"/>
              <a:gd name="connsiteX386" fmla="*/ 3603527 w 5794893"/>
              <a:gd name="connsiteY386" fmla="*/ 915680 h 6858000"/>
              <a:gd name="connsiteX387" fmla="*/ 3603527 w 5794893"/>
              <a:gd name="connsiteY387" fmla="*/ 919368 h 6858000"/>
              <a:gd name="connsiteX388" fmla="*/ 3485540 w 5794893"/>
              <a:gd name="connsiteY388" fmla="*/ 915680 h 6858000"/>
              <a:gd name="connsiteX389" fmla="*/ 3485540 w 5794893"/>
              <a:gd name="connsiteY389" fmla="*/ 921826 h 6858000"/>
              <a:gd name="connsiteX390" fmla="*/ 3367552 w 5794893"/>
              <a:gd name="connsiteY390" fmla="*/ 915680 h 6858000"/>
              <a:gd name="connsiteX391" fmla="*/ 3367552 w 5794893"/>
              <a:gd name="connsiteY391" fmla="*/ 924284 h 6858000"/>
              <a:gd name="connsiteX392" fmla="*/ 3249565 w 5794893"/>
              <a:gd name="connsiteY392" fmla="*/ 915680 h 6858000"/>
              <a:gd name="connsiteX393" fmla="*/ 3249565 w 5794893"/>
              <a:gd name="connsiteY393" fmla="*/ 926742 h 6858000"/>
              <a:gd name="connsiteX394" fmla="*/ 3132806 w 5794893"/>
              <a:gd name="connsiteY394" fmla="*/ 915680 h 6858000"/>
              <a:gd name="connsiteX395" fmla="*/ 3131578 w 5794893"/>
              <a:gd name="connsiteY395" fmla="*/ 930428 h 6858000"/>
              <a:gd name="connsiteX396" fmla="*/ 3012361 w 5794893"/>
              <a:gd name="connsiteY396" fmla="*/ 915680 h 6858000"/>
              <a:gd name="connsiteX397" fmla="*/ 3011133 w 5794893"/>
              <a:gd name="connsiteY397" fmla="*/ 932886 h 6858000"/>
              <a:gd name="connsiteX398" fmla="*/ 2894374 w 5794893"/>
              <a:gd name="connsiteY398" fmla="*/ 915680 h 6858000"/>
              <a:gd name="connsiteX399" fmla="*/ 2891916 w 5794893"/>
              <a:gd name="connsiteY399" fmla="*/ 936574 h 6858000"/>
              <a:gd name="connsiteX400" fmla="*/ 2776386 w 5794893"/>
              <a:gd name="connsiteY400" fmla="*/ 915680 h 6858000"/>
              <a:gd name="connsiteX401" fmla="*/ 2772700 w 5794893"/>
              <a:gd name="connsiteY401" fmla="*/ 940261 h 6858000"/>
              <a:gd name="connsiteX402" fmla="*/ 2658399 w 5794893"/>
              <a:gd name="connsiteY402" fmla="*/ 915680 h 6858000"/>
              <a:gd name="connsiteX403" fmla="*/ 2653483 w 5794893"/>
              <a:gd name="connsiteY403" fmla="*/ 942719 h 6858000"/>
              <a:gd name="connsiteX404" fmla="*/ 2540412 w 5794893"/>
              <a:gd name="connsiteY404" fmla="*/ 915680 h 6858000"/>
              <a:gd name="connsiteX405" fmla="*/ 2534268 w 5794893"/>
              <a:gd name="connsiteY405" fmla="*/ 947635 h 6858000"/>
              <a:gd name="connsiteX406" fmla="*/ 2422425 w 5794893"/>
              <a:gd name="connsiteY406" fmla="*/ 915680 h 6858000"/>
              <a:gd name="connsiteX407" fmla="*/ 2415051 w 5794893"/>
              <a:gd name="connsiteY407" fmla="*/ 951323 h 6858000"/>
              <a:gd name="connsiteX408" fmla="*/ 2304438 w 5794893"/>
              <a:gd name="connsiteY408" fmla="*/ 915680 h 6858000"/>
              <a:gd name="connsiteX409" fmla="*/ 2294605 w 5794893"/>
              <a:gd name="connsiteY409" fmla="*/ 955009 h 6858000"/>
              <a:gd name="connsiteX410" fmla="*/ 2186450 w 5794893"/>
              <a:gd name="connsiteY410" fmla="*/ 915680 h 6858000"/>
              <a:gd name="connsiteX411" fmla="*/ 2174160 w 5794893"/>
              <a:gd name="connsiteY411" fmla="*/ 959925 h 6858000"/>
              <a:gd name="connsiteX412" fmla="*/ 2068463 w 5794893"/>
              <a:gd name="connsiteY412" fmla="*/ 915680 h 6858000"/>
              <a:gd name="connsiteX413" fmla="*/ 2052486 w 5794893"/>
              <a:gd name="connsiteY413" fmla="*/ 964841 h 6858000"/>
              <a:gd name="connsiteX414" fmla="*/ 1950476 w 5794893"/>
              <a:gd name="connsiteY414" fmla="*/ 915680 h 6858000"/>
              <a:gd name="connsiteX415" fmla="*/ 1930811 w 5794893"/>
              <a:gd name="connsiteY415" fmla="*/ 968529 h 6858000"/>
              <a:gd name="connsiteX416" fmla="*/ 1832489 w 5794893"/>
              <a:gd name="connsiteY416" fmla="*/ 915680 h 6858000"/>
              <a:gd name="connsiteX417" fmla="*/ 1807908 w 5794893"/>
              <a:gd name="connsiteY417" fmla="*/ 973445 h 6858000"/>
              <a:gd name="connsiteX418" fmla="*/ 1714501 w 5794893"/>
              <a:gd name="connsiteY418" fmla="*/ 915680 h 6858000"/>
              <a:gd name="connsiteX419" fmla="*/ 1685005 w 5794893"/>
              <a:gd name="connsiteY419" fmla="*/ 978361 h 6858000"/>
              <a:gd name="connsiteX420" fmla="*/ 1596514 w 5794893"/>
              <a:gd name="connsiteY420" fmla="*/ 915680 h 6858000"/>
              <a:gd name="connsiteX421" fmla="*/ 1560873 w 5794893"/>
              <a:gd name="connsiteY421" fmla="*/ 979590 h 6858000"/>
              <a:gd name="connsiteX422" fmla="*/ 1685005 w 5794893"/>
              <a:gd name="connsiteY422" fmla="*/ 1069310 h 6858000"/>
              <a:gd name="connsiteX423" fmla="*/ 1718189 w 5794893"/>
              <a:gd name="connsiteY423" fmla="*/ 1009087 h 6858000"/>
              <a:gd name="connsiteX424" fmla="*/ 1815282 w 5794893"/>
              <a:gd name="connsiteY424" fmla="*/ 1069310 h 6858000"/>
              <a:gd name="connsiteX425" fmla="*/ 1841092 w 5794893"/>
              <a:gd name="connsiteY425" fmla="*/ 1012774 h 6858000"/>
              <a:gd name="connsiteX426" fmla="*/ 1944331 w 5794893"/>
              <a:gd name="connsiteY426" fmla="*/ 1068080 h 6858000"/>
              <a:gd name="connsiteX427" fmla="*/ 1966454 w 5794893"/>
              <a:gd name="connsiteY427" fmla="*/ 1016461 h 6858000"/>
              <a:gd name="connsiteX428" fmla="*/ 2074609 w 5794893"/>
              <a:gd name="connsiteY428" fmla="*/ 1068080 h 6858000"/>
              <a:gd name="connsiteX429" fmla="*/ 2091815 w 5794893"/>
              <a:gd name="connsiteY429" fmla="*/ 1021377 h 6858000"/>
              <a:gd name="connsiteX430" fmla="*/ 2203657 w 5794893"/>
              <a:gd name="connsiteY430" fmla="*/ 1068080 h 6858000"/>
              <a:gd name="connsiteX431" fmla="*/ 2217177 w 5794893"/>
              <a:gd name="connsiteY431" fmla="*/ 1025065 h 6858000"/>
              <a:gd name="connsiteX432" fmla="*/ 2332706 w 5794893"/>
              <a:gd name="connsiteY432" fmla="*/ 1068080 h 6858000"/>
              <a:gd name="connsiteX433" fmla="*/ 2343767 w 5794893"/>
              <a:gd name="connsiteY433" fmla="*/ 1029981 h 6858000"/>
              <a:gd name="connsiteX434" fmla="*/ 2462984 w 5794893"/>
              <a:gd name="connsiteY434" fmla="*/ 1068080 h 6858000"/>
              <a:gd name="connsiteX435" fmla="*/ 2471586 w 5794893"/>
              <a:gd name="connsiteY435" fmla="*/ 1033667 h 6858000"/>
              <a:gd name="connsiteX436" fmla="*/ 2592031 w 5794893"/>
              <a:gd name="connsiteY436" fmla="*/ 1068080 h 6858000"/>
              <a:gd name="connsiteX437" fmla="*/ 2598177 w 5794893"/>
              <a:gd name="connsiteY437" fmla="*/ 1038583 h 6858000"/>
              <a:gd name="connsiteX438" fmla="*/ 2721081 w 5794893"/>
              <a:gd name="connsiteY438" fmla="*/ 1068080 h 6858000"/>
              <a:gd name="connsiteX439" fmla="*/ 2725997 w 5794893"/>
              <a:gd name="connsiteY439" fmla="*/ 1042271 h 6858000"/>
              <a:gd name="connsiteX440" fmla="*/ 2851358 w 5794893"/>
              <a:gd name="connsiteY440" fmla="*/ 1068080 h 6858000"/>
              <a:gd name="connsiteX441" fmla="*/ 2855045 w 5794893"/>
              <a:gd name="connsiteY441" fmla="*/ 1045958 h 6858000"/>
              <a:gd name="connsiteX442" fmla="*/ 2981636 w 5794893"/>
              <a:gd name="connsiteY442" fmla="*/ 1068080 h 6858000"/>
              <a:gd name="connsiteX443" fmla="*/ 2984094 w 5794893"/>
              <a:gd name="connsiteY443" fmla="*/ 1049645 h 6858000"/>
              <a:gd name="connsiteX444" fmla="*/ 3110684 w 5794893"/>
              <a:gd name="connsiteY444" fmla="*/ 1069310 h 6858000"/>
              <a:gd name="connsiteX445" fmla="*/ 3111913 w 5794893"/>
              <a:gd name="connsiteY445" fmla="*/ 1053332 h 6858000"/>
              <a:gd name="connsiteX446" fmla="*/ 3239733 w 5794893"/>
              <a:gd name="connsiteY446" fmla="*/ 1069310 h 6858000"/>
              <a:gd name="connsiteX447" fmla="*/ 3240961 w 5794893"/>
              <a:gd name="connsiteY447" fmla="*/ 1057020 h 6858000"/>
              <a:gd name="connsiteX448" fmla="*/ 3370010 w 5794893"/>
              <a:gd name="connsiteY448" fmla="*/ 1069310 h 6858000"/>
              <a:gd name="connsiteX449" fmla="*/ 3371239 w 5794893"/>
              <a:gd name="connsiteY449" fmla="*/ 1059478 h 6858000"/>
              <a:gd name="connsiteX450" fmla="*/ 3500288 w 5794893"/>
              <a:gd name="connsiteY450" fmla="*/ 1069310 h 6858000"/>
              <a:gd name="connsiteX451" fmla="*/ 3500288 w 5794893"/>
              <a:gd name="connsiteY451" fmla="*/ 1061936 h 6858000"/>
              <a:gd name="connsiteX452" fmla="*/ 3628107 w 5794893"/>
              <a:gd name="connsiteY452" fmla="*/ 1071768 h 6858000"/>
              <a:gd name="connsiteX453" fmla="*/ 3628107 w 5794893"/>
              <a:gd name="connsiteY453" fmla="*/ 1066852 h 6858000"/>
              <a:gd name="connsiteX454" fmla="*/ 3636710 w 5794893"/>
              <a:gd name="connsiteY454" fmla="*/ 1066852 h 6858000"/>
              <a:gd name="connsiteX455" fmla="*/ 3716598 w 5794893"/>
              <a:gd name="connsiteY455" fmla="*/ 1069310 h 6858000"/>
              <a:gd name="connsiteX456" fmla="*/ 3716598 w 5794893"/>
              <a:gd name="connsiteY456" fmla="*/ 1070538 h 6858000"/>
              <a:gd name="connsiteX457" fmla="*/ 5717465 w 5794893"/>
              <a:gd name="connsiteY457" fmla="*/ 1112325 h 6858000"/>
              <a:gd name="connsiteX458" fmla="*/ 3716598 w 5794893"/>
              <a:gd name="connsiteY458" fmla="*/ 1112325 h 6858000"/>
              <a:gd name="connsiteX459" fmla="*/ 3717826 w 5794893"/>
              <a:gd name="connsiteY459" fmla="*/ 1113555 h 6858000"/>
              <a:gd name="connsiteX460" fmla="*/ 3599839 w 5794893"/>
              <a:gd name="connsiteY460" fmla="*/ 1111097 h 6858000"/>
              <a:gd name="connsiteX461" fmla="*/ 3599839 w 5794893"/>
              <a:gd name="connsiteY461" fmla="*/ 1114783 h 6858000"/>
              <a:gd name="connsiteX462" fmla="*/ 3481852 w 5794893"/>
              <a:gd name="connsiteY462" fmla="*/ 1111097 h 6858000"/>
              <a:gd name="connsiteX463" fmla="*/ 3481852 w 5794893"/>
              <a:gd name="connsiteY463" fmla="*/ 1117242 h 6858000"/>
              <a:gd name="connsiteX464" fmla="*/ 3363865 w 5794893"/>
              <a:gd name="connsiteY464" fmla="*/ 1111097 h 6858000"/>
              <a:gd name="connsiteX465" fmla="*/ 3363865 w 5794893"/>
              <a:gd name="connsiteY465" fmla="*/ 1119700 h 6858000"/>
              <a:gd name="connsiteX466" fmla="*/ 3245877 w 5794893"/>
              <a:gd name="connsiteY466" fmla="*/ 1111097 h 6858000"/>
              <a:gd name="connsiteX467" fmla="*/ 3245877 w 5794893"/>
              <a:gd name="connsiteY467" fmla="*/ 1122158 h 6858000"/>
              <a:gd name="connsiteX468" fmla="*/ 3127890 w 5794893"/>
              <a:gd name="connsiteY468" fmla="*/ 1111097 h 6858000"/>
              <a:gd name="connsiteX469" fmla="*/ 3126662 w 5794893"/>
              <a:gd name="connsiteY469" fmla="*/ 1125845 h 6858000"/>
              <a:gd name="connsiteX470" fmla="*/ 3008674 w 5794893"/>
              <a:gd name="connsiteY470" fmla="*/ 1111097 h 6858000"/>
              <a:gd name="connsiteX471" fmla="*/ 3007445 w 5794893"/>
              <a:gd name="connsiteY471" fmla="*/ 1128304 h 6858000"/>
              <a:gd name="connsiteX472" fmla="*/ 2890687 w 5794893"/>
              <a:gd name="connsiteY472" fmla="*/ 1111097 h 6858000"/>
              <a:gd name="connsiteX473" fmla="*/ 2888229 w 5794893"/>
              <a:gd name="connsiteY473" fmla="*/ 1131990 h 6858000"/>
              <a:gd name="connsiteX474" fmla="*/ 2772700 w 5794893"/>
              <a:gd name="connsiteY474" fmla="*/ 1111097 h 6858000"/>
              <a:gd name="connsiteX475" fmla="*/ 2769012 w 5794893"/>
              <a:gd name="connsiteY475" fmla="*/ 1135678 h 6858000"/>
              <a:gd name="connsiteX476" fmla="*/ 2654713 w 5794893"/>
              <a:gd name="connsiteY476" fmla="*/ 1111097 h 6858000"/>
              <a:gd name="connsiteX477" fmla="*/ 2649797 w 5794893"/>
              <a:gd name="connsiteY477" fmla="*/ 1138136 h 6858000"/>
              <a:gd name="connsiteX478" fmla="*/ 2536726 w 5794893"/>
              <a:gd name="connsiteY478" fmla="*/ 1111097 h 6858000"/>
              <a:gd name="connsiteX479" fmla="*/ 2530580 w 5794893"/>
              <a:gd name="connsiteY479" fmla="*/ 1143052 h 6858000"/>
              <a:gd name="connsiteX480" fmla="*/ 2418738 w 5794893"/>
              <a:gd name="connsiteY480" fmla="*/ 1111097 h 6858000"/>
              <a:gd name="connsiteX481" fmla="*/ 2411364 w 5794893"/>
              <a:gd name="connsiteY481" fmla="*/ 1146738 h 6858000"/>
              <a:gd name="connsiteX482" fmla="*/ 2300751 w 5794893"/>
              <a:gd name="connsiteY482" fmla="*/ 1111097 h 6858000"/>
              <a:gd name="connsiteX483" fmla="*/ 2290919 w 5794893"/>
              <a:gd name="connsiteY483" fmla="*/ 1150426 h 6858000"/>
              <a:gd name="connsiteX484" fmla="*/ 2182764 w 5794893"/>
              <a:gd name="connsiteY484" fmla="*/ 1111097 h 6858000"/>
              <a:gd name="connsiteX485" fmla="*/ 2170474 w 5794893"/>
              <a:gd name="connsiteY485" fmla="*/ 1155342 h 6858000"/>
              <a:gd name="connsiteX486" fmla="*/ 2064777 w 5794893"/>
              <a:gd name="connsiteY486" fmla="*/ 1111097 h 6858000"/>
              <a:gd name="connsiteX487" fmla="*/ 2048799 w 5794893"/>
              <a:gd name="connsiteY487" fmla="*/ 1160258 h 6858000"/>
              <a:gd name="connsiteX488" fmla="*/ 1946789 w 5794893"/>
              <a:gd name="connsiteY488" fmla="*/ 1111097 h 6858000"/>
              <a:gd name="connsiteX489" fmla="*/ 1927125 w 5794893"/>
              <a:gd name="connsiteY489" fmla="*/ 1163945 h 6858000"/>
              <a:gd name="connsiteX490" fmla="*/ 1828802 w 5794893"/>
              <a:gd name="connsiteY490" fmla="*/ 1111097 h 6858000"/>
              <a:gd name="connsiteX491" fmla="*/ 1804221 w 5794893"/>
              <a:gd name="connsiteY491" fmla="*/ 1168861 h 6858000"/>
              <a:gd name="connsiteX492" fmla="*/ 1710815 w 5794893"/>
              <a:gd name="connsiteY492" fmla="*/ 1111097 h 6858000"/>
              <a:gd name="connsiteX493" fmla="*/ 1681318 w 5794893"/>
              <a:gd name="connsiteY493" fmla="*/ 1173777 h 6858000"/>
              <a:gd name="connsiteX494" fmla="*/ 1592828 w 5794893"/>
              <a:gd name="connsiteY494" fmla="*/ 1111097 h 6858000"/>
              <a:gd name="connsiteX495" fmla="*/ 1557185 w 5794893"/>
              <a:gd name="connsiteY495" fmla="*/ 1175007 h 6858000"/>
              <a:gd name="connsiteX496" fmla="*/ 1683776 w 5794893"/>
              <a:gd name="connsiteY496" fmla="*/ 1263497 h 6858000"/>
              <a:gd name="connsiteX497" fmla="*/ 1716959 w 5794893"/>
              <a:gd name="connsiteY497" fmla="*/ 1203274 h 6858000"/>
              <a:gd name="connsiteX498" fmla="*/ 1814054 w 5794893"/>
              <a:gd name="connsiteY498" fmla="*/ 1263497 h 6858000"/>
              <a:gd name="connsiteX499" fmla="*/ 1841092 w 5794893"/>
              <a:gd name="connsiteY499" fmla="*/ 1208190 h 6858000"/>
              <a:gd name="connsiteX500" fmla="*/ 1944331 w 5794893"/>
              <a:gd name="connsiteY500" fmla="*/ 1263497 h 6858000"/>
              <a:gd name="connsiteX501" fmla="*/ 1966454 w 5794893"/>
              <a:gd name="connsiteY501" fmla="*/ 1211878 h 6858000"/>
              <a:gd name="connsiteX502" fmla="*/ 2074609 w 5794893"/>
              <a:gd name="connsiteY502" fmla="*/ 1263497 h 6858000"/>
              <a:gd name="connsiteX503" fmla="*/ 2091815 w 5794893"/>
              <a:gd name="connsiteY503" fmla="*/ 1216794 h 6858000"/>
              <a:gd name="connsiteX504" fmla="*/ 2203657 w 5794893"/>
              <a:gd name="connsiteY504" fmla="*/ 1263497 h 6858000"/>
              <a:gd name="connsiteX505" fmla="*/ 2217177 w 5794893"/>
              <a:gd name="connsiteY505" fmla="*/ 1220480 h 6858000"/>
              <a:gd name="connsiteX506" fmla="*/ 2332706 w 5794893"/>
              <a:gd name="connsiteY506" fmla="*/ 1263497 h 6858000"/>
              <a:gd name="connsiteX507" fmla="*/ 2343767 w 5794893"/>
              <a:gd name="connsiteY507" fmla="*/ 1225397 h 6858000"/>
              <a:gd name="connsiteX508" fmla="*/ 2462984 w 5794893"/>
              <a:gd name="connsiteY508" fmla="*/ 1263497 h 6858000"/>
              <a:gd name="connsiteX509" fmla="*/ 2471586 w 5794893"/>
              <a:gd name="connsiteY509" fmla="*/ 1229084 h 6858000"/>
              <a:gd name="connsiteX510" fmla="*/ 2592031 w 5794893"/>
              <a:gd name="connsiteY510" fmla="*/ 1263497 h 6858000"/>
              <a:gd name="connsiteX511" fmla="*/ 2598177 w 5794893"/>
              <a:gd name="connsiteY511" fmla="*/ 1234000 h 6858000"/>
              <a:gd name="connsiteX512" fmla="*/ 2721081 w 5794893"/>
              <a:gd name="connsiteY512" fmla="*/ 1263497 h 6858000"/>
              <a:gd name="connsiteX513" fmla="*/ 2725997 w 5794893"/>
              <a:gd name="connsiteY513" fmla="*/ 1237687 h 6858000"/>
              <a:gd name="connsiteX514" fmla="*/ 2851358 w 5794893"/>
              <a:gd name="connsiteY514" fmla="*/ 1263497 h 6858000"/>
              <a:gd name="connsiteX515" fmla="*/ 2855045 w 5794893"/>
              <a:gd name="connsiteY515" fmla="*/ 1241375 h 6858000"/>
              <a:gd name="connsiteX516" fmla="*/ 2981636 w 5794893"/>
              <a:gd name="connsiteY516" fmla="*/ 1263497 h 6858000"/>
              <a:gd name="connsiteX517" fmla="*/ 2984094 w 5794893"/>
              <a:gd name="connsiteY517" fmla="*/ 1245061 h 6858000"/>
              <a:gd name="connsiteX518" fmla="*/ 3110684 w 5794893"/>
              <a:gd name="connsiteY518" fmla="*/ 1263497 h 6858000"/>
              <a:gd name="connsiteX519" fmla="*/ 3111913 w 5794893"/>
              <a:gd name="connsiteY519" fmla="*/ 1247519 h 6858000"/>
              <a:gd name="connsiteX520" fmla="*/ 3239733 w 5794893"/>
              <a:gd name="connsiteY520" fmla="*/ 1263497 h 6858000"/>
              <a:gd name="connsiteX521" fmla="*/ 3240961 w 5794893"/>
              <a:gd name="connsiteY521" fmla="*/ 1251207 h 6858000"/>
              <a:gd name="connsiteX522" fmla="*/ 3370010 w 5794893"/>
              <a:gd name="connsiteY522" fmla="*/ 1263497 h 6858000"/>
              <a:gd name="connsiteX523" fmla="*/ 3371239 w 5794893"/>
              <a:gd name="connsiteY523" fmla="*/ 1253665 h 6858000"/>
              <a:gd name="connsiteX524" fmla="*/ 3500288 w 5794893"/>
              <a:gd name="connsiteY524" fmla="*/ 1263497 h 6858000"/>
              <a:gd name="connsiteX525" fmla="*/ 3500288 w 5794893"/>
              <a:gd name="connsiteY525" fmla="*/ 1256123 h 6858000"/>
              <a:gd name="connsiteX526" fmla="*/ 3629336 w 5794893"/>
              <a:gd name="connsiteY526" fmla="*/ 1263497 h 6858000"/>
              <a:gd name="connsiteX527" fmla="*/ 3629336 w 5794893"/>
              <a:gd name="connsiteY527" fmla="*/ 1258581 h 6858000"/>
              <a:gd name="connsiteX528" fmla="*/ 3637940 w 5794893"/>
              <a:gd name="connsiteY528" fmla="*/ 1258581 h 6858000"/>
              <a:gd name="connsiteX529" fmla="*/ 3714140 w 5794893"/>
              <a:gd name="connsiteY529" fmla="*/ 1272100 h 6858000"/>
              <a:gd name="connsiteX530" fmla="*/ 3714140 w 5794893"/>
              <a:gd name="connsiteY530" fmla="*/ 1273329 h 6858000"/>
              <a:gd name="connsiteX531" fmla="*/ 5554003 w 5794893"/>
              <a:gd name="connsiteY531" fmla="*/ 1307742 h 6858000"/>
              <a:gd name="connsiteX532" fmla="*/ 3715368 w 5794893"/>
              <a:gd name="connsiteY532" fmla="*/ 1307742 h 6858000"/>
              <a:gd name="connsiteX533" fmla="*/ 3715368 w 5794893"/>
              <a:gd name="connsiteY533" fmla="*/ 1308971 h 6858000"/>
              <a:gd name="connsiteX534" fmla="*/ 3597381 w 5794893"/>
              <a:gd name="connsiteY534" fmla="*/ 1306513 h 6858000"/>
              <a:gd name="connsiteX535" fmla="*/ 3597381 w 5794893"/>
              <a:gd name="connsiteY535" fmla="*/ 1310200 h 6858000"/>
              <a:gd name="connsiteX536" fmla="*/ 3479394 w 5794893"/>
              <a:gd name="connsiteY536" fmla="*/ 1306513 h 6858000"/>
              <a:gd name="connsiteX537" fmla="*/ 3479394 w 5794893"/>
              <a:gd name="connsiteY537" fmla="*/ 1312659 h 6858000"/>
              <a:gd name="connsiteX538" fmla="*/ 3361406 w 5794893"/>
              <a:gd name="connsiteY538" fmla="*/ 1306513 h 6858000"/>
              <a:gd name="connsiteX539" fmla="*/ 3361406 w 5794893"/>
              <a:gd name="connsiteY539" fmla="*/ 1315117 h 6858000"/>
              <a:gd name="connsiteX540" fmla="*/ 3243419 w 5794893"/>
              <a:gd name="connsiteY540" fmla="*/ 1306513 h 6858000"/>
              <a:gd name="connsiteX541" fmla="*/ 3243419 w 5794893"/>
              <a:gd name="connsiteY541" fmla="*/ 1317575 h 6858000"/>
              <a:gd name="connsiteX542" fmla="*/ 3125432 w 5794893"/>
              <a:gd name="connsiteY542" fmla="*/ 1306513 h 6858000"/>
              <a:gd name="connsiteX543" fmla="*/ 3124204 w 5794893"/>
              <a:gd name="connsiteY543" fmla="*/ 1321261 h 6858000"/>
              <a:gd name="connsiteX544" fmla="*/ 3006216 w 5794893"/>
              <a:gd name="connsiteY544" fmla="*/ 1306513 h 6858000"/>
              <a:gd name="connsiteX545" fmla="*/ 3004987 w 5794893"/>
              <a:gd name="connsiteY545" fmla="*/ 1323719 h 6858000"/>
              <a:gd name="connsiteX546" fmla="*/ 2888229 w 5794893"/>
              <a:gd name="connsiteY546" fmla="*/ 1306513 h 6858000"/>
              <a:gd name="connsiteX547" fmla="*/ 2885771 w 5794893"/>
              <a:gd name="connsiteY547" fmla="*/ 1327407 h 6858000"/>
              <a:gd name="connsiteX548" fmla="*/ 2770242 w 5794893"/>
              <a:gd name="connsiteY548" fmla="*/ 1306513 h 6858000"/>
              <a:gd name="connsiteX549" fmla="*/ 2766554 w 5794893"/>
              <a:gd name="connsiteY549" fmla="*/ 1331093 h 6858000"/>
              <a:gd name="connsiteX550" fmla="*/ 2652255 w 5794893"/>
              <a:gd name="connsiteY550" fmla="*/ 1306513 h 6858000"/>
              <a:gd name="connsiteX551" fmla="*/ 2647339 w 5794893"/>
              <a:gd name="connsiteY551" fmla="*/ 1333551 h 6858000"/>
              <a:gd name="connsiteX552" fmla="*/ 2534268 w 5794893"/>
              <a:gd name="connsiteY552" fmla="*/ 1306513 h 6858000"/>
              <a:gd name="connsiteX553" fmla="*/ 2528122 w 5794893"/>
              <a:gd name="connsiteY553" fmla="*/ 1338468 h 6858000"/>
              <a:gd name="connsiteX554" fmla="*/ 2416280 w 5794893"/>
              <a:gd name="connsiteY554" fmla="*/ 1306513 h 6858000"/>
              <a:gd name="connsiteX555" fmla="*/ 2408906 w 5794893"/>
              <a:gd name="connsiteY555" fmla="*/ 1342155 h 6858000"/>
              <a:gd name="connsiteX556" fmla="*/ 2298293 w 5794893"/>
              <a:gd name="connsiteY556" fmla="*/ 1306513 h 6858000"/>
              <a:gd name="connsiteX557" fmla="*/ 2288461 w 5794893"/>
              <a:gd name="connsiteY557" fmla="*/ 1345842 h 6858000"/>
              <a:gd name="connsiteX558" fmla="*/ 2180306 w 5794893"/>
              <a:gd name="connsiteY558" fmla="*/ 1306513 h 6858000"/>
              <a:gd name="connsiteX559" fmla="*/ 2168015 w 5794893"/>
              <a:gd name="connsiteY559" fmla="*/ 1350758 h 6858000"/>
              <a:gd name="connsiteX560" fmla="*/ 2062319 w 5794893"/>
              <a:gd name="connsiteY560" fmla="*/ 1306513 h 6858000"/>
              <a:gd name="connsiteX561" fmla="*/ 2046340 w 5794893"/>
              <a:gd name="connsiteY561" fmla="*/ 1355674 h 6858000"/>
              <a:gd name="connsiteX562" fmla="*/ 1944331 w 5794893"/>
              <a:gd name="connsiteY562" fmla="*/ 1306513 h 6858000"/>
              <a:gd name="connsiteX563" fmla="*/ 1924667 w 5794893"/>
              <a:gd name="connsiteY563" fmla="*/ 1359362 h 6858000"/>
              <a:gd name="connsiteX564" fmla="*/ 1826344 w 5794893"/>
              <a:gd name="connsiteY564" fmla="*/ 1306513 h 6858000"/>
              <a:gd name="connsiteX565" fmla="*/ 1801763 w 5794893"/>
              <a:gd name="connsiteY565" fmla="*/ 1364278 h 6858000"/>
              <a:gd name="connsiteX566" fmla="*/ 1708357 w 5794893"/>
              <a:gd name="connsiteY566" fmla="*/ 1306513 h 6858000"/>
              <a:gd name="connsiteX567" fmla="*/ 1678860 w 5794893"/>
              <a:gd name="connsiteY567" fmla="*/ 1369194 h 6858000"/>
              <a:gd name="connsiteX568" fmla="*/ 1590370 w 5794893"/>
              <a:gd name="connsiteY568" fmla="*/ 1306513 h 6858000"/>
              <a:gd name="connsiteX569" fmla="*/ 1558424 w 5794893"/>
              <a:gd name="connsiteY569" fmla="*/ 1363794 h 6858000"/>
              <a:gd name="connsiteX570" fmla="*/ 1476069 w 5794893"/>
              <a:gd name="connsiteY570" fmla="*/ 1297910 h 6858000"/>
              <a:gd name="connsiteX571" fmla="*/ 1439198 w 5794893"/>
              <a:gd name="connsiteY571" fmla="*/ 1356904 h 6858000"/>
              <a:gd name="connsiteX572" fmla="*/ 1555957 w 5794893"/>
              <a:gd name="connsiteY572" fmla="*/ 1450310 h 6858000"/>
              <a:gd name="connsiteX573" fmla="*/ 1590332 w 5794893"/>
              <a:gd name="connsiteY573" fmla="*/ 1395311 h 6858000"/>
              <a:gd name="connsiteX574" fmla="*/ 1681318 w 5794893"/>
              <a:gd name="connsiteY574" fmla="*/ 1458913 h 6858000"/>
              <a:gd name="connsiteX575" fmla="*/ 1714501 w 5794893"/>
              <a:gd name="connsiteY575" fmla="*/ 1398691 h 6858000"/>
              <a:gd name="connsiteX576" fmla="*/ 1811596 w 5794893"/>
              <a:gd name="connsiteY576" fmla="*/ 1458913 h 6858000"/>
              <a:gd name="connsiteX577" fmla="*/ 1838634 w 5794893"/>
              <a:gd name="connsiteY577" fmla="*/ 1403607 h 6858000"/>
              <a:gd name="connsiteX578" fmla="*/ 1941873 w 5794893"/>
              <a:gd name="connsiteY578" fmla="*/ 1458913 h 6858000"/>
              <a:gd name="connsiteX579" fmla="*/ 1963996 w 5794893"/>
              <a:gd name="connsiteY579" fmla="*/ 1407293 h 6858000"/>
              <a:gd name="connsiteX580" fmla="*/ 2072151 w 5794893"/>
              <a:gd name="connsiteY580" fmla="*/ 1458913 h 6858000"/>
              <a:gd name="connsiteX581" fmla="*/ 2089357 w 5794893"/>
              <a:gd name="connsiteY581" fmla="*/ 1412210 h 6858000"/>
              <a:gd name="connsiteX582" fmla="*/ 2201199 w 5794893"/>
              <a:gd name="connsiteY582" fmla="*/ 1458913 h 6858000"/>
              <a:gd name="connsiteX583" fmla="*/ 2214719 w 5794893"/>
              <a:gd name="connsiteY583" fmla="*/ 1415897 h 6858000"/>
              <a:gd name="connsiteX584" fmla="*/ 2330248 w 5794893"/>
              <a:gd name="connsiteY584" fmla="*/ 1458913 h 6858000"/>
              <a:gd name="connsiteX585" fmla="*/ 2341309 w 5794893"/>
              <a:gd name="connsiteY585" fmla="*/ 1420814 h 6858000"/>
              <a:gd name="connsiteX586" fmla="*/ 2460525 w 5794893"/>
              <a:gd name="connsiteY586" fmla="*/ 1458913 h 6858000"/>
              <a:gd name="connsiteX587" fmla="*/ 2469128 w 5794893"/>
              <a:gd name="connsiteY587" fmla="*/ 1424500 h 6858000"/>
              <a:gd name="connsiteX588" fmla="*/ 2590803 w 5794893"/>
              <a:gd name="connsiteY588" fmla="*/ 1458913 h 6858000"/>
              <a:gd name="connsiteX589" fmla="*/ 2596948 w 5794893"/>
              <a:gd name="connsiteY589" fmla="*/ 1429416 h 6858000"/>
              <a:gd name="connsiteX590" fmla="*/ 2719851 w 5794893"/>
              <a:gd name="connsiteY590" fmla="*/ 1458913 h 6858000"/>
              <a:gd name="connsiteX591" fmla="*/ 2724767 w 5794893"/>
              <a:gd name="connsiteY591" fmla="*/ 1433104 h 6858000"/>
              <a:gd name="connsiteX592" fmla="*/ 2850129 w 5794893"/>
              <a:gd name="connsiteY592" fmla="*/ 1458913 h 6858000"/>
              <a:gd name="connsiteX593" fmla="*/ 2853816 w 5794893"/>
              <a:gd name="connsiteY593" fmla="*/ 1436790 h 6858000"/>
              <a:gd name="connsiteX594" fmla="*/ 2980406 w 5794893"/>
              <a:gd name="connsiteY594" fmla="*/ 1458913 h 6858000"/>
              <a:gd name="connsiteX595" fmla="*/ 2982864 w 5794893"/>
              <a:gd name="connsiteY595" fmla="*/ 1440478 h 6858000"/>
              <a:gd name="connsiteX596" fmla="*/ 3109455 w 5794893"/>
              <a:gd name="connsiteY596" fmla="*/ 1458913 h 6858000"/>
              <a:gd name="connsiteX597" fmla="*/ 3110684 w 5794893"/>
              <a:gd name="connsiteY597" fmla="*/ 1442936 h 6858000"/>
              <a:gd name="connsiteX598" fmla="*/ 3238503 w 5794893"/>
              <a:gd name="connsiteY598" fmla="*/ 1458913 h 6858000"/>
              <a:gd name="connsiteX599" fmla="*/ 3239733 w 5794893"/>
              <a:gd name="connsiteY599" fmla="*/ 1446623 h 6858000"/>
              <a:gd name="connsiteX600" fmla="*/ 3368781 w 5794893"/>
              <a:gd name="connsiteY600" fmla="*/ 1458913 h 6858000"/>
              <a:gd name="connsiteX601" fmla="*/ 3370010 w 5794893"/>
              <a:gd name="connsiteY601" fmla="*/ 1449081 h 6858000"/>
              <a:gd name="connsiteX602" fmla="*/ 3499058 w 5794893"/>
              <a:gd name="connsiteY602" fmla="*/ 1458913 h 6858000"/>
              <a:gd name="connsiteX603" fmla="*/ 3499058 w 5794893"/>
              <a:gd name="connsiteY603" fmla="*/ 1451539 h 6858000"/>
              <a:gd name="connsiteX604" fmla="*/ 3628107 w 5794893"/>
              <a:gd name="connsiteY604" fmla="*/ 1458913 h 6858000"/>
              <a:gd name="connsiteX605" fmla="*/ 3628107 w 5794893"/>
              <a:gd name="connsiteY605" fmla="*/ 1453997 h 6858000"/>
              <a:gd name="connsiteX606" fmla="*/ 3636710 w 5794893"/>
              <a:gd name="connsiteY606" fmla="*/ 1453997 h 6858000"/>
              <a:gd name="connsiteX607" fmla="*/ 3716598 w 5794893"/>
              <a:gd name="connsiteY607" fmla="*/ 1456455 h 6858000"/>
              <a:gd name="connsiteX608" fmla="*/ 3716598 w 5794893"/>
              <a:gd name="connsiteY608" fmla="*/ 1457685 h 6858000"/>
              <a:gd name="connsiteX609" fmla="*/ 5780145 w 5794893"/>
              <a:gd name="connsiteY609" fmla="*/ 1497014 h 6858000"/>
              <a:gd name="connsiteX610" fmla="*/ 3716598 w 5794893"/>
              <a:gd name="connsiteY610" fmla="*/ 1497014 h 6858000"/>
              <a:gd name="connsiteX611" fmla="*/ 3717826 w 5794893"/>
              <a:gd name="connsiteY611" fmla="*/ 1498242 h 6858000"/>
              <a:gd name="connsiteX612" fmla="*/ 3599839 w 5794893"/>
              <a:gd name="connsiteY612" fmla="*/ 1495784 h 6858000"/>
              <a:gd name="connsiteX613" fmla="*/ 3599839 w 5794893"/>
              <a:gd name="connsiteY613" fmla="*/ 1499472 h 6858000"/>
              <a:gd name="connsiteX614" fmla="*/ 3481852 w 5794893"/>
              <a:gd name="connsiteY614" fmla="*/ 1495784 h 6858000"/>
              <a:gd name="connsiteX615" fmla="*/ 3481852 w 5794893"/>
              <a:gd name="connsiteY615" fmla="*/ 1501930 h 6858000"/>
              <a:gd name="connsiteX616" fmla="*/ 3363865 w 5794893"/>
              <a:gd name="connsiteY616" fmla="*/ 1495784 h 6858000"/>
              <a:gd name="connsiteX617" fmla="*/ 3363865 w 5794893"/>
              <a:gd name="connsiteY617" fmla="*/ 1504388 h 6858000"/>
              <a:gd name="connsiteX618" fmla="*/ 3245877 w 5794893"/>
              <a:gd name="connsiteY618" fmla="*/ 1495784 h 6858000"/>
              <a:gd name="connsiteX619" fmla="*/ 3245877 w 5794893"/>
              <a:gd name="connsiteY619" fmla="*/ 1506846 h 6858000"/>
              <a:gd name="connsiteX620" fmla="*/ 3127890 w 5794893"/>
              <a:gd name="connsiteY620" fmla="*/ 1495784 h 6858000"/>
              <a:gd name="connsiteX621" fmla="*/ 3126662 w 5794893"/>
              <a:gd name="connsiteY621" fmla="*/ 1510532 h 6858000"/>
              <a:gd name="connsiteX622" fmla="*/ 3008674 w 5794893"/>
              <a:gd name="connsiteY622" fmla="*/ 1495784 h 6858000"/>
              <a:gd name="connsiteX623" fmla="*/ 3007445 w 5794893"/>
              <a:gd name="connsiteY623" fmla="*/ 1512990 h 6858000"/>
              <a:gd name="connsiteX624" fmla="*/ 2890687 w 5794893"/>
              <a:gd name="connsiteY624" fmla="*/ 1495784 h 6858000"/>
              <a:gd name="connsiteX625" fmla="*/ 2888229 w 5794893"/>
              <a:gd name="connsiteY625" fmla="*/ 1516678 h 6858000"/>
              <a:gd name="connsiteX626" fmla="*/ 2772700 w 5794893"/>
              <a:gd name="connsiteY626" fmla="*/ 1495784 h 6858000"/>
              <a:gd name="connsiteX627" fmla="*/ 2769012 w 5794893"/>
              <a:gd name="connsiteY627" fmla="*/ 1520365 h 6858000"/>
              <a:gd name="connsiteX628" fmla="*/ 2654713 w 5794893"/>
              <a:gd name="connsiteY628" fmla="*/ 1495784 h 6858000"/>
              <a:gd name="connsiteX629" fmla="*/ 2649797 w 5794893"/>
              <a:gd name="connsiteY629" fmla="*/ 1522823 h 6858000"/>
              <a:gd name="connsiteX630" fmla="*/ 2536726 w 5794893"/>
              <a:gd name="connsiteY630" fmla="*/ 1495784 h 6858000"/>
              <a:gd name="connsiteX631" fmla="*/ 2530580 w 5794893"/>
              <a:gd name="connsiteY631" fmla="*/ 1526510 h 6858000"/>
              <a:gd name="connsiteX632" fmla="*/ 2418738 w 5794893"/>
              <a:gd name="connsiteY632" fmla="*/ 1494556 h 6858000"/>
              <a:gd name="connsiteX633" fmla="*/ 2411364 w 5794893"/>
              <a:gd name="connsiteY633" fmla="*/ 1530197 h 6858000"/>
              <a:gd name="connsiteX634" fmla="*/ 2300751 w 5794893"/>
              <a:gd name="connsiteY634" fmla="*/ 1494556 h 6858000"/>
              <a:gd name="connsiteX635" fmla="*/ 2290919 w 5794893"/>
              <a:gd name="connsiteY635" fmla="*/ 1533885 h 6858000"/>
              <a:gd name="connsiteX636" fmla="*/ 2182764 w 5794893"/>
              <a:gd name="connsiteY636" fmla="*/ 1494556 h 6858000"/>
              <a:gd name="connsiteX637" fmla="*/ 2170474 w 5794893"/>
              <a:gd name="connsiteY637" fmla="*/ 1538801 h 6858000"/>
              <a:gd name="connsiteX638" fmla="*/ 2064777 w 5794893"/>
              <a:gd name="connsiteY638" fmla="*/ 1494556 h 6858000"/>
              <a:gd name="connsiteX639" fmla="*/ 2048799 w 5794893"/>
              <a:gd name="connsiteY639" fmla="*/ 1543717 h 6858000"/>
              <a:gd name="connsiteX640" fmla="*/ 1946789 w 5794893"/>
              <a:gd name="connsiteY640" fmla="*/ 1494556 h 6858000"/>
              <a:gd name="connsiteX641" fmla="*/ 1927125 w 5794893"/>
              <a:gd name="connsiteY641" fmla="*/ 1547403 h 6858000"/>
              <a:gd name="connsiteX642" fmla="*/ 1828802 w 5794893"/>
              <a:gd name="connsiteY642" fmla="*/ 1494556 h 6858000"/>
              <a:gd name="connsiteX643" fmla="*/ 1804221 w 5794893"/>
              <a:gd name="connsiteY643" fmla="*/ 1552319 h 6858000"/>
              <a:gd name="connsiteX644" fmla="*/ 1710815 w 5794893"/>
              <a:gd name="connsiteY644" fmla="*/ 1494556 h 6858000"/>
              <a:gd name="connsiteX645" fmla="*/ 1681318 w 5794893"/>
              <a:gd name="connsiteY645" fmla="*/ 1557236 h 6858000"/>
              <a:gd name="connsiteX646" fmla="*/ 1592828 w 5794893"/>
              <a:gd name="connsiteY646" fmla="*/ 1494556 h 6858000"/>
              <a:gd name="connsiteX647" fmla="*/ 1558702 w 5794893"/>
              <a:gd name="connsiteY647" fmla="*/ 1555745 h 6858000"/>
              <a:gd name="connsiteX648" fmla="*/ 1476069 w 5794893"/>
              <a:gd name="connsiteY648" fmla="*/ 1489639 h 6858000"/>
              <a:gd name="connsiteX649" fmla="*/ 1439198 w 5794893"/>
              <a:gd name="connsiteY649" fmla="*/ 1548633 h 6858000"/>
              <a:gd name="connsiteX650" fmla="*/ 1555957 w 5794893"/>
              <a:gd name="connsiteY650" fmla="*/ 1642040 h 6858000"/>
              <a:gd name="connsiteX651" fmla="*/ 1592683 w 5794893"/>
              <a:gd name="connsiteY651" fmla="*/ 1583279 h 6858000"/>
              <a:gd name="connsiteX652" fmla="*/ 1683776 w 5794893"/>
              <a:gd name="connsiteY652" fmla="*/ 1646956 h 6858000"/>
              <a:gd name="connsiteX653" fmla="*/ 1716959 w 5794893"/>
              <a:gd name="connsiteY653" fmla="*/ 1586732 h 6858000"/>
              <a:gd name="connsiteX654" fmla="*/ 1814054 w 5794893"/>
              <a:gd name="connsiteY654" fmla="*/ 1646956 h 6858000"/>
              <a:gd name="connsiteX655" fmla="*/ 1841092 w 5794893"/>
              <a:gd name="connsiteY655" fmla="*/ 1591649 h 6858000"/>
              <a:gd name="connsiteX656" fmla="*/ 1944331 w 5794893"/>
              <a:gd name="connsiteY656" fmla="*/ 1646956 h 6858000"/>
              <a:gd name="connsiteX657" fmla="*/ 1966454 w 5794893"/>
              <a:gd name="connsiteY657" fmla="*/ 1595336 h 6858000"/>
              <a:gd name="connsiteX658" fmla="*/ 2074609 w 5794893"/>
              <a:gd name="connsiteY658" fmla="*/ 1646956 h 6858000"/>
              <a:gd name="connsiteX659" fmla="*/ 2091815 w 5794893"/>
              <a:gd name="connsiteY659" fmla="*/ 1600252 h 6858000"/>
              <a:gd name="connsiteX660" fmla="*/ 2203657 w 5794893"/>
              <a:gd name="connsiteY660" fmla="*/ 1646956 h 6858000"/>
              <a:gd name="connsiteX661" fmla="*/ 2217177 w 5794893"/>
              <a:gd name="connsiteY661" fmla="*/ 1603939 h 6858000"/>
              <a:gd name="connsiteX662" fmla="*/ 2332706 w 5794893"/>
              <a:gd name="connsiteY662" fmla="*/ 1646956 h 6858000"/>
              <a:gd name="connsiteX663" fmla="*/ 2343767 w 5794893"/>
              <a:gd name="connsiteY663" fmla="*/ 1608855 h 6858000"/>
              <a:gd name="connsiteX664" fmla="*/ 2462984 w 5794893"/>
              <a:gd name="connsiteY664" fmla="*/ 1646956 h 6858000"/>
              <a:gd name="connsiteX665" fmla="*/ 2471586 w 5794893"/>
              <a:gd name="connsiteY665" fmla="*/ 1612543 h 6858000"/>
              <a:gd name="connsiteX666" fmla="*/ 2593261 w 5794893"/>
              <a:gd name="connsiteY666" fmla="*/ 1646956 h 6858000"/>
              <a:gd name="connsiteX667" fmla="*/ 2599406 w 5794893"/>
              <a:gd name="connsiteY667" fmla="*/ 1617459 h 6858000"/>
              <a:gd name="connsiteX668" fmla="*/ 2722309 w 5794893"/>
              <a:gd name="connsiteY668" fmla="*/ 1646956 h 6858000"/>
              <a:gd name="connsiteX669" fmla="*/ 2727225 w 5794893"/>
              <a:gd name="connsiteY669" fmla="*/ 1621145 h 6858000"/>
              <a:gd name="connsiteX670" fmla="*/ 2851358 w 5794893"/>
              <a:gd name="connsiteY670" fmla="*/ 1646956 h 6858000"/>
              <a:gd name="connsiteX671" fmla="*/ 2855045 w 5794893"/>
              <a:gd name="connsiteY671" fmla="*/ 1624833 h 6858000"/>
              <a:gd name="connsiteX672" fmla="*/ 2981636 w 5794893"/>
              <a:gd name="connsiteY672" fmla="*/ 1646956 h 6858000"/>
              <a:gd name="connsiteX673" fmla="*/ 2984094 w 5794893"/>
              <a:gd name="connsiteY673" fmla="*/ 1628520 h 6858000"/>
              <a:gd name="connsiteX674" fmla="*/ 3110684 w 5794893"/>
              <a:gd name="connsiteY674" fmla="*/ 1646956 h 6858000"/>
              <a:gd name="connsiteX675" fmla="*/ 3111913 w 5794893"/>
              <a:gd name="connsiteY675" fmla="*/ 1630978 h 6858000"/>
              <a:gd name="connsiteX676" fmla="*/ 3239733 w 5794893"/>
              <a:gd name="connsiteY676" fmla="*/ 1646956 h 6858000"/>
              <a:gd name="connsiteX677" fmla="*/ 3240961 w 5794893"/>
              <a:gd name="connsiteY677" fmla="*/ 1634665 h 6858000"/>
              <a:gd name="connsiteX678" fmla="*/ 3370010 w 5794893"/>
              <a:gd name="connsiteY678" fmla="*/ 1646956 h 6858000"/>
              <a:gd name="connsiteX679" fmla="*/ 3371239 w 5794893"/>
              <a:gd name="connsiteY679" fmla="*/ 1637123 h 6858000"/>
              <a:gd name="connsiteX680" fmla="*/ 3500288 w 5794893"/>
              <a:gd name="connsiteY680" fmla="*/ 1646956 h 6858000"/>
              <a:gd name="connsiteX681" fmla="*/ 3500288 w 5794893"/>
              <a:gd name="connsiteY681" fmla="*/ 1639581 h 6858000"/>
              <a:gd name="connsiteX682" fmla="*/ 3629336 w 5794893"/>
              <a:gd name="connsiteY682" fmla="*/ 1646956 h 6858000"/>
              <a:gd name="connsiteX683" fmla="*/ 3629336 w 5794893"/>
              <a:gd name="connsiteY683" fmla="*/ 1642040 h 6858000"/>
              <a:gd name="connsiteX684" fmla="*/ 3637940 w 5794893"/>
              <a:gd name="connsiteY684" fmla="*/ 1642040 h 6858000"/>
              <a:gd name="connsiteX685" fmla="*/ 3717826 w 5794893"/>
              <a:gd name="connsiteY685" fmla="*/ 1644498 h 6858000"/>
              <a:gd name="connsiteX686" fmla="*/ 3717826 w 5794893"/>
              <a:gd name="connsiteY686" fmla="*/ 1645726 h 6858000"/>
              <a:gd name="connsiteX687" fmla="*/ 5622828 w 5794893"/>
              <a:gd name="connsiteY687" fmla="*/ 1685055 h 6858000"/>
              <a:gd name="connsiteX688" fmla="*/ 3717826 w 5794893"/>
              <a:gd name="connsiteY688" fmla="*/ 1685055 h 6858000"/>
              <a:gd name="connsiteX689" fmla="*/ 3719056 w 5794893"/>
              <a:gd name="connsiteY689" fmla="*/ 1686285 h 6858000"/>
              <a:gd name="connsiteX690" fmla="*/ 3601069 w 5794893"/>
              <a:gd name="connsiteY690" fmla="*/ 1683827 h 6858000"/>
              <a:gd name="connsiteX691" fmla="*/ 3601069 w 5794893"/>
              <a:gd name="connsiteY691" fmla="*/ 1687513 h 6858000"/>
              <a:gd name="connsiteX692" fmla="*/ 3483081 w 5794893"/>
              <a:gd name="connsiteY692" fmla="*/ 1683827 h 6858000"/>
              <a:gd name="connsiteX693" fmla="*/ 3483081 w 5794893"/>
              <a:gd name="connsiteY693" fmla="*/ 1689971 h 6858000"/>
              <a:gd name="connsiteX694" fmla="*/ 3365094 w 5794893"/>
              <a:gd name="connsiteY694" fmla="*/ 1683827 h 6858000"/>
              <a:gd name="connsiteX695" fmla="*/ 3365094 w 5794893"/>
              <a:gd name="connsiteY695" fmla="*/ 1692429 h 6858000"/>
              <a:gd name="connsiteX696" fmla="*/ 3247107 w 5794893"/>
              <a:gd name="connsiteY696" fmla="*/ 1683827 h 6858000"/>
              <a:gd name="connsiteX697" fmla="*/ 3247107 w 5794893"/>
              <a:gd name="connsiteY697" fmla="*/ 1694887 h 6858000"/>
              <a:gd name="connsiteX698" fmla="*/ 3129120 w 5794893"/>
              <a:gd name="connsiteY698" fmla="*/ 1683827 h 6858000"/>
              <a:gd name="connsiteX699" fmla="*/ 3127890 w 5794893"/>
              <a:gd name="connsiteY699" fmla="*/ 1698575 h 6858000"/>
              <a:gd name="connsiteX700" fmla="*/ 3009903 w 5794893"/>
              <a:gd name="connsiteY700" fmla="*/ 1683827 h 6858000"/>
              <a:gd name="connsiteX701" fmla="*/ 3008674 w 5794893"/>
              <a:gd name="connsiteY701" fmla="*/ 1701033 h 6858000"/>
              <a:gd name="connsiteX702" fmla="*/ 2891916 w 5794893"/>
              <a:gd name="connsiteY702" fmla="*/ 1683827 h 6858000"/>
              <a:gd name="connsiteX703" fmla="*/ 2889458 w 5794893"/>
              <a:gd name="connsiteY703" fmla="*/ 1704720 h 6858000"/>
              <a:gd name="connsiteX704" fmla="*/ 2773928 w 5794893"/>
              <a:gd name="connsiteY704" fmla="*/ 1683827 h 6858000"/>
              <a:gd name="connsiteX705" fmla="*/ 2770242 w 5794893"/>
              <a:gd name="connsiteY705" fmla="*/ 1707178 h 6858000"/>
              <a:gd name="connsiteX706" fmla="*/ 2655941 w 5794893"/>
              <a:gd name="connsiteY706" fmla="*/ 1683827 h 6858000"/>
              <a:gd name="connsiteX707" fmla="*/ 2651025 w 5794893"/>
              <a:gd name="connsiteY707" fmla="*/ 1710865 h 6858000"/>
              <a:gd name="connsiteX708" fmla="*/ 2537954 w 5794893"/>
              <a:gd name="connsiteY708" fmla="*/ 1683827 h 6858000"/>
              <a:gd name="connsiteX709" fmla="*/ 2531809 w 5794893"/>
              <a:gd name="connsiteY709" fmla="*/ 1714552 h 6858000"/>
              <a:gd name="connsiteX710" fmla="*/ 2419967 w 5794893"/>
              <a:gd name="connsiteY710" fmla="*/ 1683827 h 6858000"/>
              <a:gd name="connsiteX711" fmla="*/ 2412593 w 5794893"/>
              <a:gd name="connsiteY711" fmla="*/ 1719468 h 6858000"/>
              <a:gd name="connsiteX712" fmla="*/ 2301980 w 5794893"/>
              <a:gd name="connsiteY712" fmla="*/ 1683827 h 6858000"/>
              <a:gd name="connsiteX713" fmla="*/ 2292147 w 5794893"/>
              <a:gd name="connsiteY713" fmla="*/ 1723156 h 6858000"/>
              <a:gd name="connsiteX714" fmla="*/ 2183992 w 5794893"/>
              <a:gd name="connsiteY714" fmla="*/ 1683827 h 6858000"/>
              <a:gd name="connsiteX715" fmla="*/ 2171702 w 5794893"/>
              <a:gd name="connsiteY715" fmla="*/ 1728072 h 6858000"/>
              <a:gd name="connsiteX716" fmla="*/ 2066005 w 5794893"/>
              <a:gd name="connsiteY716" fmla="*/ 1683827 h 6858000"/>
              <a:gd name="connsiteX717" fmla="*/ 2050028 w 5794893"/>
              <a:gd name="connsiteY717" fmla="*/ 1732988 h 6858000"/>
              <a:gd name="connsiteX718" fmla="*/ 1948018 w 5794893"/>
              <a:gd name="connsiteY718" fmla="*/ 1683827 h 6858000"/>
              <a:gd name="connsiteX719" fmla="*/ 1928353 w 5794893"/>
              <a:gd name="connsiteY719" fmla="*/ 1736674 h 6858000"/>
              <a:gd name="connsiteX720" fmla="*/ 1830031 w 5794893"/>
              <a:gd name="connsiteY720" fmla="*/ 1683827 h 6858000"/>
              <a:gd name="connsiteX721" fmla="*/ 1805450 w 5794893"/>
              <a:gd name="connsiteY721" fmla="*/ 1741591 h 6858000"/>
              <a:gd name="connsiteX722" fmla="*/ 1712043 w 5794893"/>
              <a:gd name="connsiteY722" fmla="*/ 1683827 h 6858000"/>
              <a:gd name="connsiteX723" fmla="*/ 1682547 w 5794893"/>
              <a:gd name="connsiteY723" fmla="*/ 1745278 h 6858000"/>
              <a:gd name="connsiteX724" fmla="*/ 1594056 w 5794893"/>
              <a:gd name="connsiteY724" fmla="*/ 1683827 h 6858000"/>
              <a:gd name="connsiteX725" fmla="*/ 1558415 w 5794893"/>
              <a:gd name="connsiteY725" fmla="*/ 1747736 h 6858000"/>
              <a:gd name="connsiteX726" fmla="*/ 1685005 w 5794893"/>
              <a:gd name="connsiteY726" fmla="*/ 1836227 h 6858000"/>
              <a:gd name="connsiteX727" fmla="*/ 1718189 w 5794893"/>
              <a:gd name="connsiteY727" fmla="*/ 1776004 h 6858000"/>
              <a:gd name="connsiteX728" fmla="*/ 1815282 w 5794893"/>
              <a:gd name="connsiteY728" fmla="*/ 1836227 h 6858000"/>
              <a:gd name="connsiteX729" fmla="*/ 1842321 w 5794893"/>
              <a:gd name="connsiteY729" fmla="*/ 1779691 h 6858000"/>
              <a:gd name="connsiteX730" fmla="*/ 1945560 w 5794893"/>
              <a:gd name="connsiteY730" fmla="*/ 1836227 h 6858000"/>
              <a:gd name="connsiteX731" fmla="*/ 1967682 w 5794893"/>
              <a:gd name="connsiteY731" fmla="*/ 1784607 h 6858000"/>
              <a:gd name="connsiteX732" fmla="*/ 2075837 w 5794893"/>
              <a:gd name="connsiteY732" fmla="*/ 1836227 h 6858000"/>
              <a:gd name="connsiteX733" fmla="*/ 2093044 w 5794893"/>
              <a:gd name="connsiteY733" fmla="*/ 1789524 h 6858000"/>
              <a:gd name="connsiteX734" fmla="*/ 2204887 w 5794893"/>
              <a:gd name="connsiteY734" fmla="*/ 1836227 h 6858000"/>
              <a:gd name="connsiteX735" fmla="*/ 2218405 w 5794893"/>
              <a:gd name="connsiteY735" fmla="*/ 1793210 h 6858000"/>
              <a:gd name="connsiteX736" fmla="*/ 2333934 w 5794893"/>
              <a:gd name="connsiteY736" fmla="*/ 1836227 h 6858000"/>
              <a:gd name="connsiteX737" fmla="*/ 2344996 w 5794893"/>
              <a:gd name="connsiteY737" fmla="*/ 1798126 h 6858000"/>
              <a:gd name="connsiteX738" fmla="*/ 2464212 w 5794893"/>
              <a:gd name="connsiteY738" fmla="*/ 1836227 h 6858000"/>
              <a:gd name="connsiteX739" fmla="*/ 2472816 w 5794893"/>
              <a:gd name="connsiteY739" fmla="*/ 1801814 h 6858000"/>
              <a:gd name="connsiteX740" fmla="*/ 2593261 w 5794893"/>
              <a:gd name="connsiteY740" fmla="*/ 1836227 h 6858000"/>
              <a:gd name="connsiteX741" fmla="*/ 2599406 w 5794893"/>
              <a:gd name="connsiteY741" fmla="*/ 1806730 h 6858000"/>
              <a:gd name="connsiteX742" fmla="*/ 2722309 w 5794893"/>
              <a:gd name="connsiteY742" fmla="*/ 1836227 h 6858000"/>
              <a:gd name="connsiteX743" fmla="*/ 2727225 w 5794893"/>
              <a:gd name="connsiteY743" fmla="*/ 1810417 h 6858000"/>
              <a:gd name="connsiteX744" fmla="*/ 2852587 w 5794893"/>
              <a:gd name="connsiteY744" fmla="*/ 1836227 h 6858000"/>
              <a:gd name="connsiteX745" fmla="*/ 2856274 w 5794893"/>
              <a:gd name="connsiteY745" fmla="*/ 1814104 h 6858000"/>
              <a:gd name="connsiteX746" fmla="*/ 2982864 w 5794893"/>
              <a:gd name="connsiteY746" fmla="*/ 1836227 h 6858000"/>
              <a:gd name="connsiteX747" fmla="*/ 2985322 w 5794893"/>
              <a:gd name="connsiteY747" fmla="*/ 1817791 h 6858000"/>
              <a:gd name="connsiteX748" fmla="*/ 3111913 w 5794893"/>
              <a:gd name="connsiteY748" fmla="*/ 1836227 h 6858000"/>
              <a:gd name="connsiteX749" fmla="*/ 3113142 w 5794893"/>
              <a:gd name="connsiteY749" fmla="*/ 1820249 h 6858000"/>
              <a:gd name="connsiteX750" fmla="*/ 3240961 w 5794893"/>
              <a:gd name="connsiteY750" fmla="*/ 1836227 h 6858000"/>
              <a:gd name="connsiteX751" fmla="*/ 3242191 w 5794893"/>
              <a:gd name="connsiteY751" fmla="*/ 1823937 h 6858000"/>
              <a:gd name="connsiteX752" fmla="*/ 3371239 w 5794893"/>
              <a:gd name="connsiteY752" fmla="*/ 1836227 h 6858000"/>
              <a:gd name="connsiteX753" fmla="*/ 3372468 w 5794893"/>
              <a:gd name="connsiteY753" fmla="*/ 1826395 h 6858000"/>
              <a:gd name="connsiteX754" fmla="*/ 3501516 w 5794893"/>
              <a:gd name="connsiteY754" fmla="*/ 1836227 h 6858000"/>
              <a:gd name="connsiteX755" fmla="*/ 3501516 w 5794893"/>
              <a:gd name="connsiteY755" fmla="*/ 1828853 h 6858000"/>
              <a:gd name="connsiteX756" fmla="*/ 3630565 w 5794893"/>
              <a:gd name="connsiteY756" fmla="*/ 1836227 h 6858000"/>
              <a:gd name="connsiteX757" fmla="*/ 3630565 w 5794893"/>
              <a:gd name="connsiteY757" fmla="*/ 1831311 h 6858000"/>
              <a:gd name="connsiteX758" fmla="*/ 3639168 w 5794893"/>
              <a:gd name="connsiteY758" fmla="*/ 1831311 h 6858000"/>
              <a:gd name="connsiteX759" fmla="*/ 3719056 w 5794893"/>
              <a:gd name="connsiteY759" fmla="*/ 1833769 h 6858000"/>
              <a:gd name="connsiteX760" fmla="*/ 3719056 w 5794893"/>
              <a:gd name="connsiteY760" fmla="*/ 1834997 h 6858000"/>
              <a:gd name="connsiteX761" fmla="*/ 5597019 w 5794893"/>
              <a:gd name="connsiteY761" fmla="*/ 1874326 h 6858000"/>
              <a:gd name="connsiteX762" fmla="*/ 3720284 w 5794893"/>
              <a:gd name="connsiteY762" fmla="*/ 1874326 h 6858000"/>
              <a:gd name="connsiteX763" fmla="*/ 3720284 w 5794893"/>
              <a:gd name="connsiteY763" fmla="*/ 1876784 h 6858000"/>
              <a:gd name="connsiteX764" fmla="*/ 3602297 w 5794893"/>
              <a:gd name="connsiteY764" fmla="*/ 1874326 h 6858000"/>
              <a:gd name="connsiteX765" fmla="*/ 3602297 w 5794893"/>
              <a:gd name="connsiteY765" fmla="*/ 1878014 h 6858000"/>
              <a:gd name="connsiteX766" fmla="*/ 3484310 w 5794893"/>
              <a:gd name="connsiteY766" fmla="*/ 1874326 h 6858000"/>
              <a:gd name="connsiteX767" fmla="*/ 3484310 w 5794893"/>
              <a:gd name="connsiteY767" fmla="*/ 1880472 h 6858000"/>
              <a:gd name="connsiteX768" fmla="*/ 3366323 w 5794893"/>
              <a:gd name="connsiteY768" fmla="*/ 1874326 h 6858000"/>
              <a:gd name="connsiteX769" fmla="*/ 3366323 w 5794893"/>
              <a:gd name="connsiteY769" fmla="*/ 1882930 h 6858000"/>
              <a:gd name="connsiteX770" fmla="*/ 3248335 w 5794893"/>
              <a:gd name="connsiteY770" fmla="*/ 1874326 h 6858000"/>
              <a:gd name="connsiteX771" fmla="*/ 3248335 w 5794893"/>
              <a:gd name="connsiteY771" fmla="*/ 1885388 h 6858000"/>
              <a:gd name="connsiteX772" fmla="*/ 3130348 w 5794893"/>
              <a:gd name="connsiteY772" fmla="*/ 1874326 h 6858000"/>
              <a:gd name="connsiteX773" fmla="*/ 3129120 w 5794893"/>
              <a:gd name="connsiteY773" fmla="*/ 1889075 h 6858000"/>
              <a:gd name="connsiteX774" fmla="*/ 3011133 w 5794893"/>
              <a:gd name="connsiteY774" fmla="*/ 1874326 h 6858000"/>
              <a:gd name="connsiteX775" fmla="*/ 3009903 w 5794893"/>
              <a:gd name="connsiteY775" fmla="*/ 1891533 h 6858000"/>
              <a:gd name="connsiteX776" fmla="*/ 2893145 w 5794893"/>
              <a:gd name="connsiteY776" fmla="*/ 1874326 h 6858000"/>
              <a:gd name="connsiteX777" fmla="*/ 2890687 w 5794893"/>
              <a:gd name="connsiteY777" fmla="*/ 1895220 h 6858000"/>
              <a:gd name="connsiteX778" fmla="*/ 2775158 w 5794893"/>
              <a:gd name="connsiteY778" fmla="*/ 1874326 h 6858000"/>
              <a:gd name="connsiteX779" fmla="*/ 2771470 w 5794893"/>
              <a:gd name="connsiteY779" fmla="*/ 1898907 h 6858000"/>
              <a:gd name="connsiteX780" fmla="*/ 2657171 w 5794893"/>
              <a:gd name="connsiteY780" fmla="*/ 1874326 h 6858000"/>
              <a:gd name="connsiteX781" fmla="*/ 2652255 w 5794893"/>
              <a:gd name="connsiteY781" fmla="*/ 1901365 h 6858000"/>
              <a:gd name="connsiteX782" fmla="*/ 2539184 w 5794893"/>
              <a:gd name="connsiteY782" fmla="*/ 1874326 h 6858000"/>
              <a:gd name="connsiteX783" fmla="*/ 2533038 w 5794893"/>
              <a:gd name="connsiteY783" fmla="*/ 1906281 h 6858000"/>
              <a:gd name="connsiteX784" fmla="*/ 2421196 w 5794893"/>
              <a:gd name="connsiteY784" fmla="*/ 1874326 h 6858000"/>
              <a:gd name="connsiteX785" fmla="*/ 2413822 w 5794893"/>
              <a:gd name="connsiteY785" fmla="*/ 1909969 h 6858000"/>
              <a:gd name="connsiteX786" fmla="*/ 2303209 w 5794893"/>
              <a:gd name="connsiteY786" fmla="*/ 1874326 h 6858000"/>
              <a:gd name="connsiteX787" fmla="*/ 2293377 w 5794893"/>
              <a:gd name="connsiteY787" fmla="*/ 1913655 h 6858000"/>
              <a:gd name="connsiteX788" fmla="*/ 2185222 w 5794893"/>
              <a:gd name="connsiteY788" fmla="*/ 1874326 h 6858000"/>
              <a:gd name="connsiteX789" fmla="*/ 2172932 w 5794893"/>
              <a:gd name="connsiteY789" fmla="*/ 1918571 h 6858000"/>
              <a:gd name="connsiteX790" fmla="*/ 2067235 w 5794893"/>
              <a:gd name="connsiteY790" fmla="*/ 1874326 h 6858000"/>
              <a:gd name="connsiteX791" fmla="*/ 2051257 w 5794893"/>
              <a:gd name="connsiteY791" fmla="*/ 1923488 h 6858000"/>
              <a:gd name="connsiteX792" fmla="*/ 1949247 w 5794893"/>
              <a:gd name="connsiteY792" fmla="*/ 1874326 h 6858000"/>
              <a:gd name="connsiteX793" fmla="*/ 1929583 w 5794893"/>
              <a:gd name="connsiteY793" fmla="*/ 1927175 h 6858000"/>
              <a:gd name="connsiteX794" fmla="*/ 1831260 w 5794893"/>
              <a:gd name="connsiteY794" fmla="*/ 1874326 h 6858000"/>
              <a:gd name="connsiteX795" fmla="*/ 1806680 w 5794893"/>
              <a:gd name="connsiteY795" fmla="*/ 1932091 h 6858000"/>
              <a:gd name="connsiteX796" fmla="*/ 1713273 w 5794893"/>
              <a:gd name="connsiteY796" fmla="*/ 1874326 h 6858000"/>
              <a:gd name="connsiteX797" fmla="*/ 1683776 w 5794893"/>
              <a:gd name="connsiteY797" fmla="*/ 1937008 h 6858000"/>
              <a:gd name="connsiteX798" fmla="*/ 1595286 w 5794893"/>
              <a:gd name="connsiteY798" fmla="*/ 1874326 h 6858000"/>
              <a:gd name="connsiteX799" fmla="*/ 1559643 w 5794893"/>
              <a:gd name="connsiteY799" fmla="*/ 1938236 h 6858000"/>
              <a:gd name="connsiteX800" fmla="*/ 1686234 w 5794893"/>
              <a:gd name="connsiteY800" fmla="*/ 2026726 h 6858000"/>
              <a:gd name="connsiteX801" fmla="*/ 1719418 w 5794893"/>
              <a:gd name="connsiteY801" fmla="*/ 1966504 h 6858000"/>
              <a:gd name="connsiteX802" fmla="*/ 1816512 w 5794893"/>
              <a:gd name="connsiteY802" fmla="*/ 2026726 h 6858000"/>
              <a:gd name="connsiteX803" fmla="*/ 1843551 w 5794893"/>
              <a:gd name="connsiteY803" fmla="*/ 1971421 h 6858000"/>
              <a:gd name="connsiteX804" fmla="*/ 1944331 w 5794893"/>
              <a:gd name="connsiteY804" fmla="*/ 2029184 h 6858000"/>
              <a:gd name="connsiteX805" fmla="*/ 1966454 w 5794893"/>
              <a:gd name="connsiteY805" fmla="*/ 1977565 h 6858000"/>
              <a:gd name="connsiteX806" fmla="*/ 2074609 w 5794893"/>
              <a:gd name="connsiteY806" fmla="*/ 2029184 h 6858000"/>
              <a:gd name="connsiteX807" fmla="*/ 2091815 w 5794893"/>
              <a:gd name="connsiteY807" fmla="*/ 1982481 h 6858000"/>
              <a:gd name="connsiteX808" fmla="*/ 2203657 w 5794893"/>
              <a:gd name="connsiteY808" fmla="*/ 2029184 h 6858000"/>
              <a:gd name="connsiteX809" fmla="*/ 2217177 w 5794893"/>
              <a:gd name="connsiteY809" fmla="*/ 1986169 h 6858000"/>
              <a:gd name="connsiteX810" fmla="*/ 2332706 w 5794893"/>
              <a:gd name="connsiteY810" fmla="*/ 2029184 h 6858000"/>
              <a:gd name="connsiteX811" fmla="*/ 2343767 w 5794893"/>
              <a:gd name="connsiteY811" fmla="*/ 1991085 h 6858000"/>
              <a:gd name="connsiteX812" fmla="*/ 2462984 w 5794893"/>
              <a:gd name="connsiteY812" fmla="*/ 2029184 h 6858000"/>
              <a:gd name="connsiteX813" fmla="*/ 2471586 w 5794893"/>
              <a:gd name="connsiteY813" fmla="*/ 1994772 h 6858000"/>
              <a:gd name="connsiteX814" fmla="*/ 2593261 w 5794893"/>
              <a:gd name="connsiteY814" fmla="*/ 2029184 h 6858000"/>
              <a:gd name="connsiteX815" fmla="*/ 2599406 w 5794893"/>
              <a:gd name="connsiteY815" fmla="*/ 1999688 h 6858000"/>
              <a:gd name="connsiteX816" fmla="*/ 2722309 w 5794893"/>
              <a:gd name="connsiteY816" fmla="*/ 2029184 h 6858000"/>
              <a:gd name="connsiteX817" fmla="*/ 2727225 w 5794893"/>
              <a:gd name="connsiteY817" fmla="*/ 2003375 h 6858000"/>
              <a:gd name="connsiteX818" fmla="*/ 2852587 w 5794893"/>
              <a:gd name="connsiteY818" fmla="*/ 2029184 h 6858000"/>
              <a:gd name="connsiteX819" fmla="*/ 2856274 w 5794893"/>
              <a:gd name="connsiteY819" fmla="*/ 2007062 h 6858000"/>
              <a:gd name="connsiteX820" fmla="*/ 2982864 w 5794893"/>
              <a:gd name="connsiteY820" fmla="*/ 2029184 h 6858000"/>
              <a:gd name="connsiteX821" fmla="*/ 2985322 w 5794893"/>
              <a:gd name="connsiteY821" fmla="*/ 2010750 h 6858000"/>
              <a:gd name="connsiteX822" fmla="*/ 3111913 w 5794893"/>
              <a:gd name="connsiteY822" fmla="*/ 2029184 h 6858000"/>
              <a:gd name="connsiteX823" fmla="*/ 3113142 w 5794893"/>
              <a:gd name="connsiteY823" fmla="*/ 2013208 h 6858000"/>
              <a:gd name="connsiteX824" fmla="*/ 3240961 w 5794893"/>
              <a:gd name="connsiteY824" fmla="*/ 2029184 h 6858000"/>
              <a:gd name="connsiteX825" fmla="*/ 3242191 w 5794893"/>
              <a:gd name="connsiteY825" fmla="*/ 2016894 h 6858000"/>
              <a:gd name="connsiteX826" fmla="*/ 3371239 w 5794893"/>
              <a:gd name="connsiteY826" fmla="*/ 2029184 h 6858000"/>
              <a:gd name="connsiteX827" fmla="*/ 3372468 w 5794893"/>
              <a:gd name="connsiteY827" fmla="*/ 2019352 h 6858000"/>
              <a:gd name="connsiteX828" fmla="*/ 3501516 w 5794893"/>
              <a:gd name="connsiteY828" fmla="*/ 2029184 h 6858000"/>
              <a:gd name="connsiteX829" fmla="*/ 3501516 w 5794893"/>
              <a:gd name="connsiteY829" fmla="*/ 2021810 h 6858000"/>
              <a:gd name="connsiteX830" fmla="*/ 3630565 w 5794893"/>
              <a:gd name="connsiteY830" fmla="*/ 2029184 h 6858000"/>
              <a:gd name="connsiteX831" fmla="*/ 3630565 w 5794893"/>
              <a:gd name="connsiteY831" fmla="*/ 2024268 h 6858000"/>
              <a:gd name="connsiteX832" fmla="*/ 3639168 w 5794893"/>
              <a:gd name="connsiteY832" fmla="*/ 2024268 h 6858000"/>
              <a:gd name="connsiteX833" fmla="*/ 3719056 w 5794893"/>
              <a:gd name="connsiteY833" fmla="*/ 2026726 h 6858000"/>
              <a:gd name="connsiteX834" fmla="*/ 3719056 w 5794893"/>
              <a:gd name="connsiteY834" fmla="*/ 2027956 h 6858000"/>
              <a:gd name="connsiteX835" fmla="*/ 5506071 w 5794893"/>
              <a:gd name="connsiteY835" fmla="*/ 2064827 h 6858000"/>
              <a:gd name="connsiteX836" fmla="*/ 3720284 w 5794893"/>
              <a:gd name="connsiteY836" fmla="*/ 2064827 h 6858000"/>
              <a:gd name="connsiteX837" fmla="*/ 3720284 w 5794893"/>
              <a:gd name="connsiteY837" fmla="*/ 2067285 h 6858000"/>
              <a:gd name="connsiteX838" fmla="*/ 3602297 w 5794893"/>
              <a:gd name="connsiteY838" fmla="*/ 2064827 h 6858000"/>
              <a:gd name="connsiteX839" fmla="*/ 3602297 w 5794893"/>
              <a:gd name="connsiteY839" fmla="*/ 2068514 h 6858000"/>
              <a:gd name="connsiteX840" fmla="*/ 3484310 w 5794893"/>
              <a:gd name="connsiteY840" fmla="*/ 2064827 h 6858000"/>
              <a:gd name="connsiteX841" fmla="*/ 3484310 w 5794893"/>
              <a:gd name="connsiteY841" fmla="*/ 2070972 h 6858000"/>
              <a:gd name="connsiteX842" fmla="*/ 3366323 w 5794893"/>
              <a:gd name="connsiteY842" fmla="*/ 2064827 h 6858000"/>
              <a:gd name="connsiteX843" fmla="*/ 3366323 w 5794893"/>
              <a:gd name="connsiteY843" fmla="*/ 2073430 h 6858000"/>
              <a:gd name="connsiteX844" fmla="*/ 3248335 w 5794893"/>
              <a:gd name="connsiteY844" fmla="*/ 2064827 h 6858000"/>
              <a:gd name="connsiteX845" fmla="*/ 3248335 w 5794893"/>
              <a:gd name="connsiteY845" fmla="*/ 2075888 h 6858000"/>
              <a:gd name="connsiteX846" fmla="*/ 3130348 w 5794893"/>
              <a:gd name="connsiteY846" fmla="*/ 2064827 h 6858000"/>
              <a:gd name="connsiteX847" fmla="*/ 3129120 w 5794893"/>
              <a:gd name="connsiteY847" fmla="*/ 2079576 h 6858000"/>
              <a:gd name="connsiteX848" fmla="*/ 3011133 w 5794893"/>
              <a:gd name="connsiteY848" fmla="*/ 2064827 h 6858000"/>
              <a:gd name="connsiteX849" fmla="*/ 3009903 w 5794893"/>
              <a:gd name="connsiteY849" fmla="*/ 2082034 h 6858000"/>
              <a:gd name="connsiteX850" fmla="*/ 2893145 w 5794893"/>
              <a:gd name="connsiteY850" fmla="*/ 2064827 h 6858000"/>
              <a:gd name="connsiteX851" fmla="*/ 2890687 w 5794893"/>
              <a:gd name="connsiteY851" fmla="*/ 2085720 h 6858000"/>
              <a:gd name="connsiteX852" fmla="*/ 2775158 w 5794893"/>
              <a:gd name="connsiteY852" fmla="*/ 2064827 h 6858000"/>
              <a:gd name="connsiteX853" fmla="*/ 2771470 w 5794893"/>
              <a:gd name="connsiteY853" fmla="*/ 2088178 h 6858000"/>
              <a:gd name="connsiteX854" fmla="*/ 2657171 w 5794893"/>
              <a:gd name="connsiteY854" fmla="*/ 2064827 h 6858000"/>
              <a:gd name="connsiteX855" fmla="*/ 2652255 w 5794893"/>
              <a:gd name="connsiteY855" fmla="*/ 2091866 h 6858000"/>
              <a:gd name="connsiteX856" fmla="*/ 2539184 w 5794893"/>
              <a:gd name="connsiteY856" fmla="*/ 2064827 h 6858000"/>
              <a:gd name="connsiteX857" fmla="*/ 2533038 w 5794893"/>
              <a:gd name="connsiteY857" fmla="*/ 2096782 h 6858000"/>
              <a:gd name="connsiteX858" fmla="*/ 2421196 w 5794893"/>
              <a:gd name="connsiteY858" fmla="*/ 2064827 h 6858000"/>
              <a:gd name="connsiteX859" fmla="*/ 2413822 w 5794893"/>
              <a:gd name="connsiteY859" fmla="*/ 2100468 h 6858000"/>
              <a:gd name="connsiteX860" fmla="*/ 2303209 w 5794893"/>
              <a:gd name="connsiteY860" fmla="*/ 2064827 h 6858000"/>
              <a:gd name="connsiteX861" fmla="*/ 2293377 w 5794893"/>
              <a:gd name="connsiteY861" fmla="*/ 2104156 h 6858000"/>
              <a:gd name="connsiteX862" fmla="*/ 2185222 w 5794893"/>
              <a:gd name="connsiteY862" fmla="*/ 2064827 h 6858000"/>
              <a:gd name="connsiteX863" fmla="*/ 2172932 w 5794893"/>
              <a:gd name="connsiteY863" fmla="*/ 2109072 h 6858000"/>
              <a:gd name="connsiteX864" fmla="*/ 2067235 w 5794893"/>
              <a:gd name="connsiteY864" fmla="*/ 2064827 h 6858000"/>
              <a:gd name="connsiteX865" fmla="*/ 2051257 w 5794893"/>
              <a:gd name="connsiteY865" fmla="*/ 2113989 h 6858000"/>
              <a:gd name="connsiteX866" fmla="*/ 1949247 w 5794893"/>
              <a:gd name="connsiteY866" fmla="*/ 2064827 h 6858000"/>
              <a:gd name="connsiteX867" fmla="*/ 1929583 w 5794893"/>
              <a:gd name="connsiteY867" fmla="*/ 2117675 h 6858000"/>
              <a:gd name="connsiteX868" fmla="*/ 1831260 w 5794893"/>
              <a:gd name="connsiteY868" fmla="*/ 2064827 h 6858000"/>
              <a:gd name="connsiteX869" fmla="*/ 1806680 w 5794893"/>
              <a:gd name="connsiteY869" fmla="*/ 2122591 h 6858000"/>
              <a:gd name="connsiteX870" fmla="*/ 1713273 w 5794893"/>
              <a:gd name="connsiteY870" fmla="*/ 2064827 h 6858000"/>
              <a:gd name="connsiteX871" fmla="*/ 1683776 w 5794893"/>
              <a:gd name="connsiteY871" fmla="*/ 2127507 h 6858000"/>
              <a:gd name="connsiteX872" fmla="*/ 1595286 w 5794893"/>
              <a:gd name="connsiteY872" fmla="*/ 2064827 h 6858000"/>
              <a:gd name="connsiteX873" fmla="*/ 1559643 w 5794893"/>
              <a:gd name="connsiteY873" fmla="*/ 2128737 h 6858000"/>
              <a:gd name="connsiteX874" fmla="*/ 1685005 w 5794893"/>
              <a:gd name="connsiteY874" fmla="*/ 2217227 h 6858000"/>
              <a:gd name="connsiteX875" fmla="*/ 1718189 w 5794893"/>
              <a:gd name="connsiteY875" fmla="*/ 2157004 h 6858000"/>
              <a:gd name="connsiteX876" fmla="*/ 1815282 w 5794893"/>
              <a:gd name="connsiteY876" fmla="*/ 2217227 h 6858000"/>
              <a:gd name="connsiteX877" fmla="*/ 1842321 w 5794893"/>
              <a:gd name="connsiteY877" fmla="*/ 2161920 h 6858000"/>
              <a:gd name="connsiteX878" fmla="*/ 1945560 w 5794893"/>
              <a:gd name="connsiteY878" fmla="*/ 2217227 h 6858000"/>
              <a:gd name="connsiteX879" fmla="*/ 1967682 w 5794893"/>
              <a:gd name="connsiteY879" fmla="*/ 2165608 h 6858000"/>
              <a:gd name="connsiteX880" fmla="*/ 2075837 w 5794893"/>
              <a:gd name="connsiteY880" fmla="*/ 2217227 h 6858000"/>
              <a:gd name="connsiteX881" fmla="*/ 2093044 w 5794893"/>
              <a:gd name="connsiteY881" fmla="*/ 2170524 h 6858000"/>
              <a:gd name="connsiteX882" fmla="*/ 2204887 w 5794893"/>
              <a:gd name="connsiteY882" fmla="*/ 2217227 h 6858000"/>
              <a:gd name="connsiteX883" fmla="*/ 2218405 w 5794893"/>
              <a:gd name="connsiteY883" fmla="*/ 2174211 h 6858000"/>
              <a:gd name="connsiteX884" fmla="*/ 2333934 w 5794893"/>
              <a:gd name="connsiteY884" fmla="*/ 2217227 h 6858000"/>
              <a:gd name="connsiteX885" fmla="*/ 2344996 w 5794893"/>
              <a:gd name="connsiteY885" fmla="*/ 2179127 h 6858000"/>
              <a:gd name="connsiteX886" fmla="*/ 2464212 w 5794893"/>
              <a:gd name="connsiteY886" fmla="*/ 2217227 h 6858000"/>
              <a:gd name="connsiteX887" fmla="*/ 2472816 w 5794893"/>
              <a:gd name="connsiteY887" fmla="*/ 2182814 h 6858000"/>
              <a:gd name="connsiteX888" fmla="*/ 2593261 w 5794893"/>
              <a:gd name="connsiteY888" fmla="*/ 2217227 h 6858000"/>
              <a:gd name="connsiteX889" fmla="*/ 2594490 w 5794893"/>
              <a:gd name="connsiteY889" fmla="*/ 2188959 h 6858000"/>
              <a:gd name="connsiteX890" fmla="*/ 2717393 w 5794893"/>
              <a:gd name="connsiteY890" fmla="*/ 2218456 h 6858000"/>
              <a:gd name="connsiteX891" fmla="*/ 2722309 w 5794893"/>
              <a:gd name="connsiteY891" fmla="*/ 2192647 h 6858000"/>
              <a:gd name="connsiteX892" fmla="*/ 2847670 w 5794893"/>
              <a:gd name="connsiteY892" fmla="*/ 2218456 h 6858000"/>
              <a:gd name="connsiteX893" fmla="*/ 2851358 w 5794893"/>
              <a:gd name="connsiteY893" fmla="*/ 2196333 h 6858000"/>
              <a:gd name="connsiteX894" fmla="*/ 2977948 w 5794893"/>
              <a:gd name="connsiteY894" fmla="*/ 2218456 h 6858000"/>
              <a:gd name="connsiteX895" fmla="*/ 2980406 w 5794893"/>
              <a:gd name="connsiteY895" fmla="*/ 2200021 h 6858000"/>
              <a:gd name="connsiteX896" fmla="*/ 3106997 w 5794893"/>
              <a:gd name="connsiteY896" fmla="*/ 2218456 h 6858000"/>
              <a:gd name="connsiteX897" fmla="*/ 3109455 w 5794893"/>
              <a:gd name="connsiteY897" fmla="*/ 2202479 h 6858000"/>
              <a:gd name="connsiteX898" fmla="*/ 3237275 w 5794893"/>
              <a:gd name="connsiteY898" fmla="*/ 2218456 h 6858000"/>
              <a:gd name="connsiteX899" fmla="*/ 3238503 w 5794893"/>
              <a:gd name="connsiteY899" fmla="*/ 2206165 h 6858000"/>
              <a:gd name="connsiteX900" fmla="*/ 3367552 w 5794893"/>
              <a:gd name="connsiteY900" fmla="*/ 2218456 h 6858000"/>
              <a:gd name="connsiteX901" fmla="*/ 3368781 w 5794893"/>
              <a:gd name="connsiteY901" fmla="*/ 2208623 h 6858000"/>
              <a:gd name="connsiteX902" fmla="*/ 3497830 w 5794893"/>
              <a:gd name="connsiteY902" fmla="*/ 2218456 h 6858000"/>
              <a:gd name="connsiteX903" fmla="*/ 3497830 w 5794893"/>
              <a:gd name="connsiteY903" fmla="*/ 2211082 h 6858000"/>
              <a:gd name="connsiteX904" fmla="*/ 3626878 w 5794893"/>
              <a:gd name="connsiteY904" fmla="*/ 2218456 h 6858000"/>
              <a:gd name="connsiteX905" fmla="*/ 3626878 w 5794893"/>
              <a:gd name="connsiteY905" fmla="*/ 2213540 h 6858000"/>
              <a:gd name="connsiteX906" fmla="*/ 3635482 w 5794893"/>
              <a:gd name="connsiteY906" fmla="*/ 2213540 h 6858000"/>
              <a:gd name="connsiteX907" fmla="*/ 3715368 w 5794893"/>
              <a:gd name="connsiteY907" fmla="*/ 2215998 h 6858000"/>
              <a:gd name="connsiteX908" fmla="*/ 3715368 w 5794893"/>
              <a:gd name="connsiteY908" fmla="*/ 2217227 h 6858000"/>
              <a:gd name="connsiteX909" fmla="*/ 5479032 w 5794893"/>
              <a:gd name="connsiteY909" fmla="*/ 2254098 h 6858000"/>
              <a:gd name="connsiteX910" fmla="*/ 3716598 w 5794893"/>
              <a:gd name="connsiteY910" fmla="*/ 2254098 h 6858000"/>
              <a:gd name="connsiteX911" fmla="*/ 3716598 w 5794893"/>
              <a:gd name="connsiteY911" fmla="*/ 2256556 h 6858000"/>
              <a:gd name="connsiteX912" fmla="*/ 3598611 w 5794893"/>
              <a:gd name="connsiteY912" fmla="*/ 2254098 h 6858000"/>
              <a:gd name="connsiteX913" fmla="*/ 3598611 w 5794893"/>
              <a:gd name="connsiteY913" fmla="*/ 2257785 h 6858000"/>
              <a:gd name="connsiteX914" fmla="*/ 3480623 w 5794893"/>
              <a:gd name="connsiteY914" fmla="*/ 2254098 h 6858000"/>
              <a:gd name="connsiteX915" fmla="*/ 3480623 w 5794893"/>
              <a:gd name="connsiteY915" fmla="*/ 2260243 h 6858000"/>
              <a:gd name="connsiteX916" fmla="*/ 3362636 w 5794893"/>
              <a:gd name="connsiteY916" fmla="*/ 2254098 h 6858000"/>
              <a:gd name="connsiteX917" fmla="*/ 3362636 w 5794893"/>
              <a:gd name="connsiteY917" fmla="*/ 2262701 h 6858000"/>
              <a:gd name="connsiteX918" fmla="*/ 3244649 w 5794893"/>
              <a:gd name="connsiteY918" fmla="*/ 2254098 h 6858000"/>
              <a:gd name="connsiteX919" fmla="*/ 3244649 w 5794893"/>
              <a:gd name="connsiteY919" fmla="*/ 2270075 h 6858000"/>
              <a:gd name="connsiteX920" fmla="*/ 3127890 w 5794893"/>
              <a:gd name="connsiteY920" fmla="*/ 2259014 h 6858000"/>
              <a:gd name="connsiteX921" fmla="*/ 3126662 w 5794893"/>
              <a:gd name="connsiteY921" fmla="*/ 2273763 h 6858000"/>
              <a:gd name="connsiteX922" fmla="*/ 3008674 w 5794893"/>
              <a:gd name="connsiteY922" fmla="*/ 2259014 h 6858000"/>
              <a:gd name="connsiteX923" fmla="*/ 3007445 w 5794893"/>
              <a:gd name="connsiteY923" fmla="*/ 2276221 h 6858000"/>
              <a:gd name="connsiteX924" fmla="*/ 2890687 w 5794893"/>
              <a:gd name="connsiteY924" fmla="*/ 2259014 h 6858000"/>
              <a:gd name="connsiteX925" fmla="*/ 2888229 w 5794893"/>
              <a:gd name="connsiteY925" fmla="*/ 2279907 h 6858000"/>
              <a:gd name="connsiteX926" fmla="*/ 2772700 w 5794893"/>
              <a:gd name="connsiteY926" fmla="*/ 2259014 h 6858000"/>
              <a:gd name="connsiteX927" fmla="*/ 2769012 w 5794893"/>
              <a:gd name="connsiteY927" fmla="*/ 2282365 h 6858000"/>
              <a:gd name="connsiteX928" fmla="*/ 2654713 w 5794893"/>
              <a:gd name="connsiteY928" fmla="*/ 2259014 h 6858000"/>
              <a:gd name="connsiteX929" fmla="*/ 2649797 w 5794893"/>
              <a:gd name="connsiteY929" fmla="*/ 2286053 h 6858000"/>
              <a:gd name="connsiteX930" fmla="*/ 2536726 w 5794893"/>
              <a:gd name="connsiteY930" fmla="*/ 2259014 h 6858000"/>
              <a:gd name="connsiteX931" fmla="*/ 2530580 w 5794893"/>
              <a:gd name="connsiteY931" fmla="*/ 2289740 h 6858000"/>
              <a:gd name="connsiteX932" fmla="*/ 2418738 w 5794893"/>
              <a:gd name="connsiteY932" fmla="*/ 2259014 h 6858000"/>
              <a:gd name="connsiteX933" fmla="*/ 2411364 w 5794893"/>
              <a:gd name="connsiteY933" fmla="*/ 2294656 h 6858000"/>
              <a:gd name="connsiteX934" fmla="*/ 2300751 w 5794893"/>
              <a:gd name="connsiteY934" fmla="*/ 2259014 h 6858000"/>
              <a:gd name="connsiteX935" fmla="*/ 2290919 w 5794893"/>
              <a:gd name="connsiteY935" fmla="*/ 2298344 h 6858000"/>
              <a:gd name="connsiteX936" fmla="*/ 2182764 w 5794893"/>
              <a:gd name="connsiteY936" fmla="*/ 2259014 h 6858000"/>
              <a:gd name="connsiteX937" fmla="*/ 2170474 w 5794893"/>
              <a:gd name="connsiteY937" fmla="*/ 2303260 h 6858000"/>
              <a:gd name="connsiteX938" fmla="*/ 2064777 w 5794893"/>
              <a:gd name="connsiteY938" fmla="*/ 2259014 h 6858000"/>
              <a:gd name="connsiteX939" fmla="*/ 2048799 w 5794893"/>
              <a:gd name="connsiteY939" fmla="*/ 2308176 h 6858000"/>
              <a:gd name="connsiteX940" fmla="*/ 1946789 w 5794893"/>
              <a:gd name="connsiteY940" fmla="*/ 2259014 h 6858000"/>
              <a:gd name="connsiteX941" fmla="*/ 1927125 w 5794893"/>
              <a:gd name="connsiteY941" fmla="*/ 2311862 h 6858000"/>
              <a:gd name="connsiteX942" fmla="*/ 1828802 w 5794893"/>
              <a:gd name="connsiteY942" fmla="*/ 2259014 h 6858000"/>
              <a:gd name="connsiteX943" fmla="*/ 1804221 w 5794893"/>
              <a:gd name="connsiteY943" fmla="*/ 2316778 h 6858000"/>
              <a:gd name="connsiteX944" fmla="*/ 1710815 w 5794893"/>
              <a:gd name="connsiteY944" fmla="*/ 2259014 h 6858000"/>
              <a:gd name="connsiteX945" fmla="*/ 1681318 w 5794893"/>
              <a:gd name="connsiteY945" fmla="*/ 2320466 h 6858000"/>
              <a:gd name="connsiteX946" fmla="*/ 1592828 w 5794893"/>
              <a:gd name="connsiteY946" fmla="*/ 2259014 h 6858000"/>
              <a:gd name="connsiteX947" fmla="*/ 1558938 w 5794893"/>
              <a:gd name="connsiteY947" fmla="*/ 2319780 h 6858000"/>
              <a:gd name="connsiteX948" fmla="*/ 1477299 w 5794893"/>
              <a:gd name="connsiteY948" fmla="*/ 2255327 h 6858000"/>
              <a:gd name="connsiteX949" fmla="*/ 1440428 w 5794893"/>
              <a:gd name="connsiteY949" fmla="*/ 2314320 h 6858000"/>
              <a:gd name="connsiteX950" fmla="*/ 1557185 w 5794893"/>
              <a:gd name="connsiteY950" fmla="*/ 2407727 h 6858000"/>
              <a:gd name="connsiteX951" fmla="*/ 1593545 w 5794893"/>
              <a:gd name="connsiteY951" fmla="*/ 2348341 h 6858000"/>
              <a:gd name="connsiteX952" fmla="*/ 1683776 w 5794893"/>
              <a:gd name="connsiteY952" fmla="*/ 2411415 h 6858000"/>
              <a:gd name="connsiteX953" fmla="*/ 1716959 w 5794893"/>
              <a:gd name="connsiteY953" fmla="*/ 2351191 h 6858000"/>
              <a:gd name="connsiteX954" fmla="*/ 1814054 w 5794893"/>
              <a:gd name="connsiteY954" fmla="*/ 2411415 h 6858000"/>
              <a:gd name="connsiteX955" fmla="*/ 1841092 w 5794893"/>
              <a:gd name="connsiteY955" fmla="*/ 2356107 h 6858000"/>
              <a:gd name="connsiteX956" fmla="*/ 1944331 w 5794893"/>
              <a:gd name="connsiteY956" fmla="*/ 2411415 h 6858000"/>
              <a:gd name="connsiteX957" fmla="*/ 1966454 w 5794893"/>
              <a:gd name="connsiteY957" fmla="*/ 2359795 h 6858000"/>
              <a:gd name="connsiteX958" fmla="*/ 2074609 w 5794893"/>
              <a:gd name="connsiteY958" fmla="*/ 2411415 h 6858000"/>
              <a:gd name="connsiteX959" fmla="*/ 2091815 w 5794893"/>
              <a:gd name="connsiteY959" fmla="*/ 2364711 h 6858000"/>
              <a:gd name="connsiteX960" fmla="*/ 2203657 w 5794893"/>
              <a:gd name="connsiteY960" fmla="*/ 2411415 h 6858000"/>
              <a:gd name="connsiteX961" fmla="*/ 2217177 w 5794893"/>
              <a:gd name="connsiteY961" fmla="*/ 2368398 h 6858000"/>
              <a:gd name="connsiteX962" fmla="*/ 2332706 w 5794893"/>
              <a:gd name="connsiteY962" fmla="*/ 2411415 h 6858000"/>
              <a:gd name="connsiteX963" fmla="*/ 2343767 w 5794893"/>
              <a:gd name="connsiteY963" fmla="*/ 2373314 h 6858000"/>
              <a:gd name="connsiteX964" fmla="*/ 2462984 w 5794893"/>
              <a:gd name="connsiteY964" fmla="*/ 2411415 h 6858000"/>
              <a:gd name="connsiteX965" fmla="*/ 2471586 w 5794893"/>
              <a:gd name="connsiteY965" fmla="*/ 2377002 h 6858000"/>
              <a:gd name="connsiteX966" fmla="*/ 2593261 w 5794893"/>
              <a:gd name="connsiteY966" fmla="*/ 2411415 h 6858000"/>
              <a:gd name="connsiteX967" fmla="*/ 2599406 w 5794893"/>
              <a:gd name="connsiteY967" fmla="*/ 2381918 h 6858000"/>
              <a:gd name="connsiteX968" fmla="*/ 2722309 w 5794893"/>
              <a:gd name="connsiteY968" fmla="*/ 2411415 h 6858000"/>
              <a:gd name="connsiteX969" fmla="*/ 2727225 w 5794893"/>
              <a:gd name="connsiteY969" fmla="*/ 2385604 h 6858000"/>
              <a:gd name="connsiteX970" fmla="*/ 2851358 w 5794893"/>
              <a:gd name="connsiteY970" fmla="*/ 2411415 h 6858000"/>
              <a:gd name="connsiteX971" fmla="*/ 2855045 w 5794893"/>
              <a:gd name="connsiteY971" fmla="*/ 2389292 h 6858000"/>
              <a:gd name="connsiteX972" fmla="*/ 2981636 w 5794893"/>
              <a:gd name="connsiteY972" fmla="*/ 2411415 h 6858000"/>
              <a:gd name="connsiteX973" fmla="*/ 2984094 w 5794893"/>
              <a:gd name="connsiteY973" fmla="*/ 2392978 h 6858000"/>
              <a:gd name="connsiteX974" fmla="*/ 3110684 w 5794893"/>
              <a:gd name="connsiteY974" fmla="*/ 2411415 h 6858000"/>
              <a:gd name="connsiteX975" fmla="*/ 3111913 w 5794893"/>
              <a:gd name="connsiteY975" fmla="*/ 2395437 h 6858000"/>
              <a:gd name="connsiteX976" fmla="*/ 3239733 w 5794893"/>
              <a:gd name="connsiteY976" fmla="*/ 2411415 h 6858000"/>
              <a:gd name="connsiteX977" fmla="*/ 3240961 w 5794893"/>
              <a:gd name="connsiteY977" fmla="*/ 2399124 h 6858000"/>
              <a:gd name="connsiteX978" fmla="*/ 3370010 w 5794893"/>
              <a:gd name="connsiteY978" fmla="*/ 2411415 h 6858000"/>
              <a:gd name="connsiteX979" fmla="*/ 3371239 w 5794893"/>
              <a:gd name="connsiteY979" fmla="*/ 2401582 h 6858000"/>
              <a:gd name="connsiteX980" fmla="*/ 3500288 w 5794893"/>
              <a:gd name="connsiteY980" fmla="*/ 2411415 h 6858000"/>
              <a:gd name="connsiteX981" fmla="*/ 3500288 w 5794893"/>
              <a:gd name="connsiteY981" fmla="*/ 2404040 h 6858000"/>
              <a:gd name="connsiteX982" fmla="*/ 3629336 w 5794893"/>
              <a:gd name="connsiteY982" fmla="*/ 2411415 h 6858000"/>
              <a:gd name="connsiteX983" fmla="*/ 3629336 w 5794893"/>
              <a:gd name="connsiteY983" fmla="*/ 2406498 h 6858000"/>
              <a:gd name="connsiteX984" fmla="*/ 3637940 w 5794893"/>
              <a:gd name="connsiteY984" fmla="*/ 2406498 h 6858000"/>
              <a:gd name="connsiteX985" fmla="*/ 3717826 w 5794893"/>
              <a:gd name="connsiteY985" fmla="*/ 2408957 h 6858000"/>
              <a:gd name="connsiteX986" fmla="*/ 3717826 w 5794893"/>
              <a:gd name="connsiteY986" fmla="*/ 2410185 h 6858000"/>
              <a:gd name="connsiteX987" fmla="*/ 5673219 w 5794893"/>
              <a:gd name="connsiteY987" fmla="*/ 2450744 h 6858000"/>
              <a:gd name="connsiteX988" fmla="*/ 3717826 w 5794893"/>
              <a:gd name="connsiteY988" fmla="*/ 2450744 h 6858000"/>
              <a:gd name="connsiteX989" fmla="*/ 3719056 w 5794893"/>
              <a:gd name="connsiteY989" fmla="*/ 2453202 h 6858000"/>
              <a:gd name="connsiteX990" fmla="*/ 3601069 w 5794893"/>
              <a:gd name="connsiteY990" fmla="*/ 2450744 h 6858000"/>
              <a:gd name="connsiteX991" fmla="*/ 3601069 w 5794893"/>
              <a:gd name="connsiteY991" fmla="*/ 2454430 h 6858000"/>
              <a:gd name="connsiteX992" fmla="*/ 3483081 w 5794893"/>
              <a:gd name="connsiteY992" fmla="*/ 2450744 h 6858000"/>
              <a:gd name="connsiteX993" fmla="*/ 3483081 w 5794893"/>
              <a:gd name="connsiteY993" fmla="*/ 2456888 h 6858000"/>
              <a:gd name="connsiteX994" fmla="*/ 3365094 w 5794893"/>
              <a:gd name="connsiteY994" fmla="*/ 2450744 h 6858000"/>
              <a:gd name="connsiteX995" fmla="*/ 3365094 w 5794893"/>
              <a:gd name="connsiteY995" fmla="*/ 2459346 h 6858000"/>
              <a:gd name="connsiteX996" fmla="*/ 3247107 w 5794893"/>
              <a:gd name="connsiteY996" fmla="*/ 2450744 h 6858000"/>
              <a:gd name="connsiteX997" fmla="*/ 3247107 w 5794893"/>
              <a:gd name="connsiteY997" fmla="*/ 2461804 h 6858000"/>
              <a:gd name="connsiteX998" fmla="*/ 3129120 w 5794893"/>
              <a:gd name="connsiteY998" fmla="*/ 2450744 h 6858000"/>
              <a:gd name="connsiteX999" fmla="*/ 3127890 w 5794893"/>
              <a:gd name="connsiteY999" fmla="*/ 2465492 h 6858000"/>
              <a:gd name="connsiteX1000" fmla="*/ 3009903 w 5794893"/>
              <a:gd name="connsiteY1000" fmla="*/ 2450744 h 6858000"/>
              <a:gd name="connsiteX1001" fmla="*/ 3008674 w 5794893"/>
              <a:gd name="connsiteY1001" fmla="*/ 2467950 h 6858000"/>
              <a:gd name="connsiteX1002" fmla="*/ 2891916 w 5794893"/>
              <a:gd name="connsiteY1002" fmla="*/ 2450744 h 6858000"/>
              <a:gd name="connsiteX1003" fmla="*/ 2889458 w 5794893"/>
              <a:gd name="connsiteY1003" fmla="*/ 2471637 h 6858000"/>
              <a:gd name="connsiteX1004" fmla="*/ 2773928 w 5794893"/>
              <a:gd name="connsiteY1004" fmla="*/ 2450744 h 6858000"/>
              <a:gd name="connsiteX1005" fmla="*/ 2770242 w 5794893"/>
              <a:gd name="connsiteY1005" fmla="*/ 2474095 h 6858000"/>
              <a:gd name="connsiteX1006" fmla="*/ 2655941 w 5794893"/>
              <a:gd name="connsiteY1006" fmla="*/ 2450744 h 6858000"/>
              <a:gd name="connsiteX1007" fmla="*/ 2651025 w 5794893"/>
              <a:gd name="connsiteY1007" fmla="*/ 2477782 h 6858000"/>
              <a:gd name="connsiteX1008" fmla="*/ 2537954 w 5794893"/>
              <a:gd name="connsiteY1008" fmla="*/ 2450744 h 6858000"/>
              <a:gd name="connsiteX1009" fmla="*/ 2531809 w 5794893"/>
              <a:gd name="connsiteY1009" fmla="*/ 2481469 h 6858000"/>
              <a:gd name="connsiteX1010" fmla="*/ 2419967 w 5794893"/>
              <a:gd name="connsiteY1010" fmla="*/ 2450744 h 6858000"/>
              <a:gd name="connsiteX1011" fmla="*/ 2412593 w 5794893"/>
              <a:gd name="connsiteY1011" fmla="*/ 2486385 h 6858000"/>
              <a:gd name="connsiteX1012" fmla="*/ 2301980 w 5794893"/>
              <a:gd name="connsiteY1012" fmla="*/ 2450744 h 6858000"/>
              <a:gd name="connsiteX1013" fmla="*/ 2292147 w 5794893"/>
              <a:gd name="connsiteY1013" fmla="*/ 2490073 h 6858000"/>
              <a:gd name="connsiteX1014" fmla="*/ 2183992 w 5794893"/>
              <a:gd name="connsiteY1014" fmla="*/ 2450744 h 6858000"/>
              <a:gd name="connsiteX1015" fmla="*/ 2171702 w 5794893"/>
              <a:gd name="connsiteY1015" fmla="*/ 2494989 h 6858000"/>
              <a:gd name="connsiteX1016" fmla="*/ 2066005 w 5794893"/>
              <a:gd name="connsiteY1016" fmla="*/ 2450744 h 6858000"/>
              <a:gd name="connsiteX1017" fmla="*/ 2050028 w 5794893"/>
              <a:gd name="connsiteY1017" fmla="*/ 2499905 h 6858000"/>
              <a:gd name="connsiteX1018" fmla="*/ 1948018 w 5794893"/>
              <a:gd name="connsiteY1018" fmla="*/ 2450744 h 6858000"/>
              <a:gd name="connsiteX1019" fmla="*/ 1928353 w 5794893"/>
              <a:gd name="connsiteY1019" fmla="*/ 2503592 h 6858000"/>
              <a:gd name="connsiteX1020" fmla="*/ 1830031 w 5794893"/>
              <a:gd name="connsiteY1020" fmla="*/ 2450744 h 6858000"/>
              <a:gd name="connsiteX1021" fmla="*/ 1805450 w 5794893"/>
              <a:gd name="connsiteY1021" fmla="*/ 2508508 h 6858000"/>
              <a:gd name="connsiteX1022" fmla="*/ 1712043 w 5794893"/>
              <a:gd name="connsiteY1022" fmla="*/ 2450744 h 6858000"/>
              <a:gd name="connsiteX1023" fmla="*/ 1682547 w 5794893"/>
              <a:gd name="connsiteY1023" fmla="*/ 2513424 h 6858000"/>
              <a:gd name="connsiteX1024" fmla="*/ 1594056 w 5794893"/>
              <a:gd name="connsiteY1024" fmla="*/ 2450744 h 6858000"/>
              <a:gd name="connsiteX1025" fmla="*/ 1558983 w 5794893"/>
              <a:gd name="connsiteY1025" fmla="*/ 2513634 h 6858000"/>
              <a:gd name="connsiteX1026" fmla="*/ 1477299 w 5794893"/>
              <a:gd name="connsiteY1026" fmla="*/ 2448286 h 6858000"/>
              <a:gd name="connsiteX1027" fmla="*/ 1440428 w 5794893"/>
              <a:gd name="connsiteY1027" fmla="*/ 2507279 h 6858000"/>
              <a:gd name="connsiteX1028" fmla="*/ 1557185 w 5794893"/>
              <a:gd name="connsiteY1028" fmla="*/ 2600686 h 6858000"/>
              <a:gd name="connsiteX1029" fmla="*/ 1594056 w 5794893"/>
              <a:gd name="connsiteY1029" fmla="*/ 2541692 h 6858000"/>
              <a:gd name="connsiteX1030" fmla="*/ 1573013 w 5794893"/>
              <a:gd name="connsiteY1030" fmla="*/ 2524858 h 6858000"/>
              <a:gd name="connsiteX1031" fmla="*/ 1685005 w 5794893"/>
              <a:gd name="connsiteY1031" fmla="*/ 2603144 h 6858000"/>
              <a:gd name="connsiteX1032" fmla="*/ 1718189 w 5794893"/>
              <a:gd name="connsiteY1032" fmla="*/ 2542921 h 6858000"/>
              <a:gd name="connsiteX1033" fmla="*/ 1815282 w 5794893"/>
              <a:gd name="connsiteY1033" fmla="*/ 2603144 h 6858000"/>
              <a:gd name="connsiteX1034" fmla="*/ 1842321 w 5794893"/>
              <a:gd name="connsiteY1034" fmla="*/ 2547837 h 6858000"/>
              <a:gd name="connsiteX1035" fmla="*/ 1945560 w 5794893"/>
              <a:gd name="connsiteY1035" fmla="*/ 2603144 h 6858000"/>
              <a:gd name="connsiteX1036" fmla="*/ 1967682 w 5794893"/>
              <a:gd name="connsiteY1036" fmla="*/ 2551524 h 6858000"/>
              <a:gd name="connsiteX1037" fmla="*/ 2075837 w 5794893"/>
              <a:gd name="connsiteY1037" fmla="*/ 2603144 h 6858000"/>
              <a:gd name="connsiteX1038" fmla="*/ 2093044 w 5794893"/>
              <a:gd name="connsiteY1038" fmla="*/ 2556441 h 6858000"/>
              <a:gd name="connsiteX1039" fmla="*/ 2204887 w 5794893"/>
              <a:gd name="connsiteY1039" fmla="*/ 2603144 h 6858000"/>
              <a:gd name="connsiteX1040" fmla="*/ 2218405 w 5794893"/>
              <a:gd name="connsiteY1040" fmla="*/ 2560127 h 6858000"/>
              <a:gd name="connsiteX1041" fmla="*/ 2333934 w 5794893"/>
              <a:gd name="connsiteY1041" fmla="*/ 2603144 h 6858000"/>
              <a:gd name="connsiteX1042" fmla="*/ 2344996 w 5794893"/>
              <a:gd name="connsiteY1042" fmla="*/ 2565043 h 6858000"/>
              <a:gd name="connsiteX1043" fmla="*/ 2464212 w 5794893"/>
              <a:gd name="connsiteY1043" fmla="*/ 2603144 h 6858000"/>
              <a:gd name="connsiteX1044" fmla="*/ 2472816 w 5794893"/>
              <a:gd name="connsiteY1044" fmla="*/ 2568731 h 6858000"/>
              <a:gd name="connsiteX1045" fmla="*/ 2594490 w 5794893"/>
              <a:gd name="connsiteY1045" fmla="*/ 2603144 h 6858000"/>
              <a:gd name="connsiteX1046" fmla="*/ 2600635 w 5794893"/>
              <a:gd name="connsiteY1046" fmla="*/ 2573647 h 6858000"/>
              <a:gd name="connsiteX1047" fmla="*/ 2723539 w 5794893"/>
              <a:gd name="connsiteY1047" fmla="*/ 2603144 h 6858000"/>
              <a:gd name="connsiteX1048" fmla="*/ 2728455 w 5794893"/>
              <a:gd name="connsiteY1048" fmla="*/ 2577334 h 6858000"/>
              <a:gd name="connsiteX1049" fmla="*/ 2852587 w 5794893"/>
              <a:gd name="connsiteY1049" fmla="*/ 2603144 h 6858000"/>
              <a:gd name="connsiteX1050" fmla="*/ 2856274 w 5794893"/>
              <a:gd name="connsiteY1050" fmla="*/ 2581021 h 6858000"/>
              <a:gd name="connsiteX1051" fmla="*/ 2982864 w 5794893"/>
              <a:gd name="connsiteY1051" fmla="*/ 2603144 h 6858000"/>
              <a:gd name="connsiteX1052" fmla="*/ 2985322 w 5794893"/>
              <a:gd name="connsiteY1052" fmla="*/ 2584708 h 6858000"/>
              <a:gd name="connsiteX1053" fmla="*/ 3111913 w 5794893"/>
              <a:gd name="connsiteY1053" fmla="*/ 2603144 h 6858000"/>
              <a:gd name="connsiteX1054" fmla="*/ 3113142 w 5794893"/>
              <a:gd name="connsiteY1054" fmla="*/ 2587166 h 6858000"/>
              <a:gd name="connsiteX1055" fmla="*/ 3240961 w 5794893"/>
              <a:gd name="connsiteY1055" fmla="*/ 2603144 h 6858000"/>
              <a:gd name="connsiteX1056" fmla="*/ 3242191 w 5794893"/>
              <a:gd name="connsiteY1056" fmla="*/ 2590854 h 6858000"/>
              <a:gd name="connsiteX1057" fmla="*/ 3371239 w 5794893"/>
              <a:gd name="connsiteY1057" fmla="*/ 2603144 h 6858000"/>
              <a:gd name="connsiteX1058" fmla="*/ 3372468 w 5794893"/>
              <a:gd name="connsiteY1058" fmla="*/ 2593312 h 6858000"/>
              <a:gd name="connsiteX1059" fmla="*/ 3501516 w 5794893"/>
              <a:gd name="connsiteY1059" fmla="*/ 2603144 h 6858000"/>
              <a:gd name="connsiteX1060" fmla="*/ 3501516 w 5794893"/>
              <a:gd name="connsiteY1060" fmla="*/ 2595770 h 6858000"/>
              <a:gd name="connsiteX1061" fmla="*/ 3630565 w 5794893"/>
              <a:gd name="connsiteY1061" fmla="*/ 2603144 h 6858000"/>
              <a:gd name="connsiteX1062" fmla="*/ 3630565 w 5794893"/>
              <a:gd name="connsiteY1062" fmla="*/ 2598228 h 6858000"/>
              <a:gd name="connsiteX1063" fmla="*/ 3639168 w 5794893"/>
              <a:gd name="connsiteY1063" fmla="*/ 2598228 h 6858000"/>
              <a:gd name="connsiteX1064" fmla="*/ 3719056 w 5794893"/>
              <a:gd name="connsiteY1064" fmla="*/ 2600686 h 6858000"/>
              <a:gd name="connsiteX1065" fmla="*/ 3719056 w 5794893"/>
              <a:gd name="connsiteY1065" fmla="*/ 2601914 h 6858000"/>
              <a:gd name="connsiteX1066" fmla="*/ 5740817 w 5794893"/>
              <a:gd name="connsiteY1066" fmla="*/ 2643701 h 6858000"/>
              <a:gd name="connsiteX1067" fmla="*/ 3719056 w 5794893"/>
              <a:gd name="connsiteY1067" fmla="*/ 2643701 h 6858000"/>
              <a:gd name="connsiteX1068" fmla="*/ 3719056 w 5794893"/>
              <a:gd name="connsiteY1068" fmla="*/ 2644931 h 6858000"/>
              <a:gd name="connsiteX1069" fmla="*/ 3601069 w 5794893"/>
              <a:gd name="connsiteY1069" fmla="*/ 2642473 h 6858000"/>
              <a:gd name="connsiteX1070" fmla="*/ 3601069 w 5794893"/>
              <a:gd name="connsiteY1070" fmla="*/ 2647389 h 6858000"/>
              <a:gd name="connsiteX1071" fmla="*/ 3483081 w 5794893"/>
              <a:gd name="connsiteY1071" fmla="*/ 2643701 h 6858000"/>
              <a:gd name="connsiteX1072" fmla="*/ 3483081 w 5794893"/>
              <a:gd name="connsiteY1072" fmla="*/ 2649847 h 6858000"/>
              <a:gd name="connsiteX1073" fmla="*/ 3365094 w 5794893"/>
              <a:gd name="connsiteY1073" fmla="*/ 2643701 h 6858000"/>
              <a:gd name="connsiteX1074" fmla="*/ 3365094 w 5794893"/>
              <a:gd name="connsiteY1074" fmla="*/ 2652305 h 6858000"/>
              <a:gd name="connsiteX1075" fmla="*/ 3247107 w 5794893"/>
              <a:gd name="connsiteY1075" fmla="*/ 2643701 h 6858000"/>
              <a:gd name="connsiteX1076" fmla="*/ 3247107 w 5794893"/>
              <a:gd name="connsiteY1076" fmla="*/ 2654763 h 6858000"/>
              <a:gd name="connsiteX1077" fmla="*/ 3129120 w 5794893"/>
              <a:gd name="connsiteY1077" fmla="*/ 2643701 h 6858000"/>
              <a:gd name="connsiteX1078" fmla="*/ 3127890 w 5794893"/>
              <a:gd name="connsiteY1078" fmla="*/ 2658450 h 6858000"/>
              <a:gd name="connsiteX1079" fmla="*/ 3009903 w 5794893"/>
              <a:gd name="connsiteY1079" fmla="*/ 2643701 h 6858000"/>
              <a:gd name="connsiteX1080" fmla="*/ 3008674 w 5794893"/>
              <a:gd name="connsiteY1080" fmla="*/ 2660908 h 6858000"/>
              <a:gd name="connsiteX1081" fmla="*/ 2891916 w 5794893"/>
              <a:gd name="connsiteY1081" fmla="*/ 2643701 h 6858000"/>
              <a:gd name="connsiteX1082" fmla="*/ 2889458 w 5794893"/>
              <a:gd name="connsiteY1082" fmla="*/ 2664596 h 6858000"/>
              <a:gd name="connsiteX1083" fmla="*/ 2773928 w 5794893"/>
              <a:gd name="connsiteY1083" fmla="*/ 2643701 h 6858000"/>
              <a:gd name="connsiteX1084" fmla="*/ 2770242 w 5794893"/>
              <a:gd name="connsiteY1084" fmla="*/ 2668282 h 6858000"/>
              <a:gd name="connsiteX1085" fmla="*/ 2655941 w 5794893"/>
              <a:gd name="connsiteY1085" fmla="*/ 2643701 h 6858000"/>
              <a:gd name="connsiteX1086" fmla="*/ 2651025 w 5794893"/>
              <a:gd name="connsiteY1086" fmla="*/ 2670740 h 6858000"/>
              <a:gd name="connsiteX1087" fmla="*/ 2537954 w 5794893"/>
              <a:gd name="connsiteY1087" fmla="*/ 2643701 h 6858000"/>
              <a:gd name="connsiteX1088" fmla="*/ 2531809 w 5794893"/>
              <a:gd name="connsiteY1088" fmla="*/ 2675656 h 6858000"/>
              <a:gd name="connsiteX1089" fmla="*/ 2419967 w 5794893"/>
              <a:gd name="connsiteY1089" fmla="*/ 2643701 h 6858000"/>
              <a:gd name="connsiteX1090" fmla="*/ 2412593 w 5794893"/>
              <a:gd name="connsiteY1090" fmla="*/ 2679344 h 6858000"/>
              <a:gd name="connsiteX1091" fmla="*/ 2301980 w 5794893"/>
              <a:gd name="connsiteY1091" fmla="*/ 2643701 h 6858000"/>
              <a:gd name="connsiteX1092" fmla="*/ 2292147 w 5794893"/>
              <a:gd name="connsiteY1092" fmla="*/ 2683030 h 6858000"/>
              <a:gd name="connsiteX1093" fmla="*/ 2183992 w 5794893"/>
              <a:gd name="connsiteY1093" fmla="*/ 2643701 h 6858000"/>
              <a:gd name="connsiteX1094" fmla="*/ 2171702 w 5794893"/>
              <a:gd name="connsiteY1094" fmla="*/ 2687947 h 6858000"/>
              <a:gd name="connsiteX1095" fmla="*/ 2066005 w 5794893"/>
              <a:gd name="connsiteY1095" fmla="*/ 2643701 h 6858000"/>
              <a:gd name="connsiteX1096" fmla="*/ 2050028 w 5794893"/>
              <a:gd name="connsiteY1096" fmla="*/ 2692863 h 6858000"/>
              <a:gd name="connsiteX1097" fmla="*/ 1948018 w 5794893"/>
              <a:gd name="connsiteY1097" fmla="*/ 2643701 h 6858000"/>
              <a:gd name="connsiteX1098" fmla="*/ 1928353 w 5794893"/>
              <a:gd name="connsiteY1098" fmla="*/ 2697779 h 6858000"/>
              <a:gd name="connsiteX1099" fmla="*/ 1830031 w 5794893"/>
              <a:gd name="connsiteY1099" fmla="*/ 2644931 h 6858000"/>
              <a:gd name="connsiteX1100" fmla="*/ 1805450 w 5794893"/>
              <a:gd name="connsiteY1100" fmla="*/ 2702695 h 6858000"/>
              <a:gd name="connsiteX1101" fmla="*/ 1712043 w 5794893"/>
              <a:gd name="connsiteY1101" fmla="*/ 2644931 h 6858000"/>
              <a:gd name="connsiteX1102" fmla="*/ 1682547 w 5794893"/>
              <a:gd name="connsiteY1102" fmla="*/ 2706383 h 6858000"/>
              <a:gd name="connsiteX1103" fmla="*/ 1594056 w 5794893"/>
              <a:gd name="connsiteY1103" fmla="*/ 2643701 h 6858000"/>
              <a:gd name="connsiteX1104" fmla="*/ 1558510 w 5794893"/>
              <a:gd name="connsiteY1104" fmla="*/ 2707442 h 6858000"/>
              <a:gd name="connsiteX1105" fmla="*/ 1477299 w 5794893"/>
              <a:gd name="connsiteY1105" fmla="*/ 2642473 h 6858000"/>
              <a:gd name="connsiteX1106" fmla="*/ 1440428 w 5794893"/>
              <a:gd name="connsiteY1106" fmla="*/ 2701467 h 6858000"/>
              <a:gd name="connsiteX1107" fmla="*/ 1557185 w 5794893"/>
              <a:gd name="connsiteY1107" fmla="*/ 2794873 h 6858000"/>
              <a:gd name="connsiteX1108" fmla="*/ 1594056 w 5794893"/>
              <a:gd name="connsiteY1108" fmla="*/ 2735879 h 6858000"/>
              <a:gd name="connsiteX1109" fmla="*/ 1560841 w 5794893"/>
              <a:gd name="connsiteY1109" fmla="*/ 2709307 h 6858000"/>
              <a:gd name="connsiteX1110" fmla="*/ 1685005 w 5794893"/>
              <a:gd name="connsiteY1110" fmla="*/ 2796101 h 6858000"/>
              <a:gd name="connsiteX1111" fmla="*/ 1718189 w 5794893"/>
              <a:gd name="connsiteY1111" fmla="*/ 2735879 h 6858000"/>
              <a:gd name="connsiteX1112" fmla="*/ 1815282 w 5794893"/>
              <a:gd name="connsiteY1112" fmla="*/ 2796101 h 6858000"/>
              <a:gd name="connsiteX1113" fmla="*/ 1842321 w 5794893"/>
              <a:gd name="connsiteY1113" fmla="*/ 2740796 h 6858000"/>
              <a:gd name="connsiteX1114" fmla="*/ 1945560 w 5794893"/>
              <a:gd name="connsiteY1114" fmla="*/ 2796101 h 6858000"/>
              <a:gd name="connsiteX1115" fmla="*/ 1967682 w 5794893"/>
              <a:gd name="connsiteY1115" fmla="*/ 2744482 h 6858000"/>
              <a:gd name="connsiteX1116" fmla="*/ 2075837 w 5794893"/>
              <a:gd name="connsiteY1116" fmla="*/ 2796101 h 6858000"/>
              <a:gd name="connsiteX1117" fmla="*/ 2093044 w 5794893"/>
              <a:gd name="connsiteY1117" fmla="*/ 2749398 h 6858000"/>
              <a:gd name="connsiteX1118" fmla="*/ 2204887 w 5794893"/>
              <a:gd name="connsiteY1118" fmla="*/ 2796101 h 6858000"/>
              <a:gd name="connsiteX1119" fmla="*/ 2218405 w 5794893"/>
              <a:gd name="connsiteY1119" fmla="*/ 2753086 h 6858000"/>
              <a:gd name="connsiteX1120" fmla="*/ 2333934 w 5794893"/>
              <a:gd name="connsiteY1120" fmla="*/ 2796101 h 6858000"/>
              <a:gd name="connsiteX1121" fmla="*/ 2344996 w 5794893"/>
              <a:gd name="connsiteY1121" fmla="*/ 2758002 h 6858000"/>
              <a:gd name="connsiteX1122" fmla="*/ 2464212 w 5794893"/>
              <a:gd name="connsiteY1122" fmla="*/ 2796101 h 6858000"/>
              <a:gd name="connsiteX1123" fmla="*/ 2472816 w 5794893"/>
              <a:gd name="connsiteY1123" fmla="*/ 2761689 h 6858000"/>
              <a:gd name="connsiteX1124" fmla="*/ 2594490 w 5794893"/>
              <a:gd name="connsiteY1124" fmla="*/ 2796101 h 6858000"/>
              <a:gd name="connsiteX1125" fmla="*/ 2600635 w 5794893"/>
              <a:gd name="connsiteY1125" fmla="*/ 2766605 h 6858000"/>
              <a:gd name="connsiteX1126" fmla="*/ 2723539 w 5794893"/>
              <a:gd name="connsiteY1126" fmla="*/ 2796101 h 6858000"/>
              <a:gd name="connsiteX1127" fmla="*/ 2728455 w 5794893"/>
              <a:gd name="connsiteY1127" fmla="*/ 2770292 h 6858000"/>
              <a:gd name="connsiteX1128" fmla="*/ 2850129 w 5794893"/>
              <a:gd name="connsiteY1128" fmla="*/ 2797331 h 6858000"/>
              <a:gd name="connsiteX1129" fmla="*/ 2853816 w 5794893"/>
              <a:gd name="connsiteY1129" fmla="*/ 2775209 h 6858000"/>
              <a:gd name="connsiteX1130" fmla="*/ 2980406 w 5794893"/>
              <a:gd name="connsiteY1130" fmla="*/ 2797331 h 6858000"/>
              <a:gd name="connsiteX1131" fmla="*/ 2982864 w 5794893"/>
              <a:gd name="connsiteY1131" fmla="*/ 2778895 h 6858000"/>
              <a:gd name="connsiteX1132" fmla="*/ 3109455 w 5794893"/>
              <a:gd name="connsiteY1132" fmla="*/ 2797331 h 6858000"/>
              <a:gd name="connsiteX1133" fmla="*/ 3110684 w 5794893"/>
              <a:gd name="connsiteY1133" fmla="*/ 2781353 h 6858000"/>
              <a:gd name="connsiteX1134" fmla="*/ 3238503 w 5794893"/>
              <a:gd name="connsiteY1134" fmla="*/ 2797331 h 6858000"/>
              <a:gd name="connsiteX1135" fmla="*/ 3239733 w 5794893"/>
              <a:gd name="connsiteY1135" fmla="*/ 2785041 h 6858000"/>
              <a:gd name="connsiteX1136" fmla="*/ 3368781 w 5794893"/>
              <a:gd name="connsiteY1136" fmla="*/ 2797331 h 6858000"/>
              <a:gd name="connsiteX1137" fmla="*/ 3370010 w 5794893"/>
              <a:gd name="connsiteY1137" fmla="*/ 2787499 h 6858000"/>
              <a:gd name="connsiteX1138" fmla="*/ 3499058 w 5794893"/>
              <a:gd name="connsiteY1138" fmla="*/ 2797331 h 6858000"/>
              <a:gd name="connsiteX1139" fmla="*/ 3499058 w 5794893"/>
              <a:gd name="connsiteY1139" fmla="*/ 2789957 h 6858000"/>
              <a:gd name="connsiteX1140" fmla="*/ 3628107 w 5794893"/>
              <a:gd name="connsiteY1140" fmla="*/ 2797331 h 6858000"/>
              <a:gd name="connsiteX1141" fmla="*/ 3628107 w 5794893"/>
              <a:gd name="connsiteY1141" fmla="*/ 2792415 h 6858000"/>
              <a:gd name="connsiteX1142" fmla="*/ 3636710 w 5794893"/>
              <a:gd name="connsiteY1142" fmla="*/ 2792415 h 6858000"/>
              <a:gd name="connsiteX1143" fmla="*/ 3716598 w 5794893"/>
              <a:gd name="connsiteY1143" fmla="*/ 2794873 h 6858000"/>
              <a:gd name="connsiteX1144" fmla="*/ 3716598 w 5794893"/>
              <a:gd name="connsiteY1144" fmla="*/ 2801018 h 6858000"/>
              <a:gd name="connsiteX1145" fmla="*/ 5708861 w 5794893"/>
              <a:gd name="connsiteY1145" fmla="*/ 2842805 h 6858000"/>
              <a:gd name="connsiteX1146" fmla="*/ 3716598 w 5794893"/>
              <a:gd name="connsiteY1146" fmla="*/ 2842805 h 6858000"/>
              <a:gd name="connsiteX1147" fmla="*/ 3716598 w 5794893"/>
              <a:gd name="connsiteY1147" fmla="*/ 2844034 h 6858000"/>
              <a:gd name="connsiteX1148" fmla="*/ 3598611 w 5794893"/>
              <a:gd name="connsiteY1148" fmla="*/ 2841576 h 6858000"/>
              <a:gd name="connsiteX1149" fmla="*/ 3598611 w 5794893"/>
              <a:gd name="connsiteY1149" fmla="*/ 2845263 h 6858000"/>
              <a:gd name="connsiteX1150" fmla="*/ 3480623 w 5794893"/>
              <a:gd name="connsiteY1150" fmla="*/ 2841576 h 6858000"/>
              <a:gd name="connsiteX1151" fmla="*/ 3480623 w 5794893"/>
              <a:gd name="connsiteY1151" fmla="*/ 2847721 h 6858000"/>
              <a:gd name="connsiteX1152" fmla="*/ 3362636 w 5794893"/>
              <a:gd name="connsiteY1152" fmla="*/ 2841576 h 6858000"/>
              <a:gd name="connsiteX1153" fmla="*/ 3362636 w 5794893"/>
              <a:gd name="connsiteY1153" fmla="*/ 2850179 h 6858000"/>
              <a:gd name="connsiteX1154" fmla="*/ 3244649 w 5794893"/>
              <a:gd name="connsiteY1154" fmla="*/ 2841576 h 6858000"/>
              <a:gd name="connsiteX1155" fmla="*/ 3244649 w 5794893"/>
              <a:gd name="connsiteY1155" fmla="*/ 2852637 h 6858000"/>
              <a:gd name="connsiteX1156" fmla="*/ 3126662 w 5794893"/>
              <a:gd name="connsiteY1156" fmla="*/ 2841576 h 6858000"/>
              <a:gd name="connsiteX1157" fmla="*/ 3125432 w 5794893"/>
              <a:gd name="connsiteY1157" fmla="*/ 2856325 h 6858000"/>
              <a:gd name="connsiteX1158" fmla="*/ 3007445 w 5794893"/>
              <a:gd name="connsiteY1158" fmla="*/ 2841576 h 6858000"/>
              <a:gd name="connsiteX1159" fmla="*/ 3006216 w 5794893"/>
              <a:gd name="connsiteY1159" fmla="*/ 2858783 h 6858000"/>
              <a:gd name="connsiteX1160" fmla="*/ 2889458 w 5794893"/>
              <a:gd name="connsiteY1160" fmla="*/ 2841576 h 6858000"/>
              <a:gd name="connsiteX1161" fmla="*/ 2887000 w 5794893"/>
              <a:gd name="connsiteY1161" fmla="*/ 2862469 h 6858000"/>
              <a:gd name="connsiteX1162" fmla="*/ 2771470 w 5794893"/>
              <a:gd name="connsiteY1162" fmla="*/ 2841576 h 6858000"/>
              <a:gd name="connsiteX1163" fmla="*/ 2767784 w 5794893"/>
              <a:gd name="connsiteY1163" fmla="*/ 2864927 h 6858000"/>
              <a:gd name="connsiteX1164" fmla="*/ 2653483 w 5794893"/>
              <a:gd name="connsiteY1164" fmla="*/ 2841576 h 6858000"/>
              <a:gd name="connsiteX1165" fmla="*/ 2648567 w 5794893"/>
              <a:gd name="connsiteY1165" fmla="*/ 2868615 h 6858000"/>
              <a:gd name="connsiteX1166" fmla="*/ 2535496 w 5794893"/>
              <a:gd name="connsiteY1166" fmla="*/ 2841576 h 6858000"/>
              <a:gd name="connsiteX1167" fmla="*/ 2529351 w 5794893"/>
              <a:gd name="connsiteY1167" fmla="*/ 2872302 h 6858000"/>
              <a:gd name="connsiteX1168" fmla="*/ 2417509 w 5794893"/>
              <a:gd name="connsiteY1168" fmla="*/ 2841576 h 6858000"/>
              <a:gd name="connsiteX1169" fmla="*/ 2410134 w 5794893"/>
              <a:gd name="connsiteY1169" fmla="*/ 2877218 h 6858000"/>
              <a:gd name="connsiteX1170" fmla="*/ 2299521 w 5794893"/>
              <a:gd name="connsiteY1170" fmla="*/ 2841576 h 6858000"/>
              <a:gd name="connsiteX1171" fmla="*/ 2289689 w 5794893"/>
              <a:gd name="connsiteY1171" fmla="*/ 2880905 h 6858000"/>
              <a:gd name="connsiteX1172" fmla="*/ 2181534 w 5794893"/>
              <a:gd name="connsiteY1172" fmla="*/ 2841576 h 6858000"/>
              <a:gd name="connsiteX1173" fmla="*/ 2169244 w 5794893"/>
              <a:gd name="connsiteY1173" fmla="*/ 2885822 h 6858000"/>
              <a:gd name="connsiteX1174" fmla="*/ 2063547 w 5794893"/>
              <a:gd name="connsiteY1174" fmla="*/ 2841576 h 6858000"/>
              <a:gd name="connsiteX1175" fmla="*/ 2047570 w 5794893"/>
              <a:gd name="connsiteY1175" fmla="*/ 2890738 h 6858000"/>
              <a:gd name="connsiteX1176" fmla="*/ 1945560 w 5794893"/>
              <a:gd name="connsiteY1176" fmla="*/ 2841576 h 6858000"/>
              <a:gd name="connsiteX1177" fmla="*/ 1925895 w 5794893"/>
              <a:gd name="connsiteY1177" fmla="*/ 2894424 h 6858000"/>
              <a:gd name="connsiteX1178" fmla="*/ 1827572 w 5794893"/>
              <a:gd name="connsiteY1178" fmla="*/ 2841576 h 6858000"/>
              <a:gd name="connsiteX1179" fmla="*/ 1802992 w 5794893"/>
              <a:gd name="connsiteY1179" fmla="*/ 2899340 h 6858000"/>
              <a:gd name="connsiteX1180" fmla="*/ 1709585 w 5794893"/>
              <a:gd name="connsiteY1180" fmla="*/ 2841576 h 6858000"/>
              <a:gd name="connsiteX1181" fmla="*/ 1680088 w 5794893"/>
              <a:gd name="connsiteY1181" fmla="*/ 2903028 h 6858000"/>
              <a:gd name="connsiteX1182" fmla="*/ 1591598 w 5794893"/>
              <a:gd name="connsiteY1182" fmla="*/ 2841576 h 6858000"/>
              <a:gd name="connsiteX1183" fmla="*/ 1557758 w 5794893"/>
              <a:gd name="connsiteY1183" fmla="*/ 2902257 h 6858000"/>
              <a:gd name="connsiteX1184" fmla="*/ 1477299 w 5794893"/>
              <a:gd name="connsiteY1184" fmla="*/ 2837889 h 6858000"/>
              <a:gd name="connsiteX1185" fmla="*/ 1440428 w 5794893"/>
              <a:gd name="connsiteY1185" fmla="*/ 2896882 h 6858000"/>
              <a:gd name="connsiteX1186" fmla="*/ 1557185 w 5794893"/>
              <a:gd name="connsiteY1186" fmla="*/ 2990289 h 6858000"/>
              <a:gd name="connsiteX1187" fmla="*/ 1593698 w 5794893"/>
              <a:gd name="connsiteY1187" fmla="*/ 2931868 h 6858000"/>
              <a:gd name="connsiteX1188" fmla="*/ 1682547 w 5794893"/>
              <a:gd name="connsiteY1188" fmla="*/ 2993977 h 6858000"/>
              <a:gd name="connsiteX1189" fmla="*/ 1715731 w 5794893"/>
              <a:gd name="connsiteY1189" fmla="*/ 2933753 h 6858000"/>
              <a:gd name="connsiteX1190" fmla="*/ 1812824 w 5794893"/>
              <a:gd name="connsiteY1190" fmla="*/ 2993977 h 6858000"/>
              <a:gd name="connsiteX1191" fmla="*/ 1839863 w 5794893"/>
              <a:gd name="connsiteY1191" fmla="*/ 2938669 h 6858000"/>
              <a:gd name="connsiteX1192" fmla="*/ 1943102 w 5794893"/>
              <a:gd name="connsiteY1192" fmla="*/ 2993977 h 6858000"/>
              <a:gd name="connsiteX1193" fmla="*/ 1965224 w 5794893"/>
              <a:gd name="connsiteY1193" fmla="*/ 2942357 h 6858000"/>
              <a:gd name="connsiteX1194" fmla="*/ 2073379 w 5794893"/>
              <a:gd name="connsiteY1194" fmla="*/ 2993977 h 6858000"/>
              <a:gd name="connsiteX1195" fmla="*/ 2090586 w 5794893"/>
              <a:gd name="connsiteY1195" fmla="*/ 2947273 h 6858000"/>
              <a:gd name="connsiteX1196" fmla="*/ 2202428 w 5794893"/>
              <a:gd name="connsiteY1196" fmla="*/ 2993977 h 6858000"/>
              <a:gd name="connsiteX1197" fmla="*/ 2215947 w 5794893"/>
              <a:gd name="connsiteY1197" fmla="*/ 2950960 h 6858000"/>
              <a:gd name="connsiteX1198" fmla="*/ 2331476 w 5794893"/>
              <a:gd name="connsiteY1198" fmla="*/ 2993977 h 6858000"/>
              <a:gd name="connsiteX1199" fmla="*/ 2342538 w 5794893"/>
              <a:gd name="connsiteY1199" fmla="*/ 2955876 h 6858000"/>
              <a:gd name="connsiteX1200" fmla="*/ 2461754 w 5794893"/>
              <a:gd name="connsiteY1200" fmla="*/ 2993977 h 6858000"/>
              <a:gd name="connsiteX1201" fmla="*/ 2470358 w 5794893"/>
              <a:gd name="connsiteY1201" fmla="*/ 2959564 h 6858000"/>
              <a:gd name="connsiteX1202" fmla="*/ 2592031 w 5794893"/>
              <a:gd name="connsiteY1202" fmla="*/ 2993977 h 6858000"/>
              <a:gd name="connsiteX1203" fmla="*/ 2598177 w 5794893"/>
              <a:gd name="connsiteY1203" fmla="*/ 2964480 h 6858000"/>
              <a:gd name="connsiteX1204" fmla="*/ 2721081 w 5794893"/>
              <a:gd name="connsiteY1204" fmla="*/ 2993977 h 6858000"/>
              <a:gd name="connsiteX1205" fmla="*/ 2725997 w 5794893"/>
              <a:gd name="connsiteY1205" fmla="*/ 2968166 h 6858000"/>
              <a:gd name="connsiteX1206" fmla="*/ 2851358 w 5794893"/>
              <a:gd name="connsiteY1206" fmla="*/ 2993977 h 6858000"/>
              <a:gd name="connsiteX1207" fmla="*/ 2855045 w 5794893"/>
              <a:gd name="connsiteY1207" fmla="*/ 2971854 h 6858000"/>
              <a:gd name="connsiteX1208" fmla="*/ 2981636 w 5794893"/>
              <a:gd name="connsiteY1208" fmla="*/ 2993977 h 6858000"/>
              <a:gd name="connsiteX1209" fmla="*/ 2984094 w 5794893"/>
              <a:gd name="connsiteY1209" fmla="*/ 2975540 h 6858000"/>
              <a:gd name="connsiteX1210" fmla="*/ 3110684 w 5794893"/>
              <a:gd name="connsiteY1210" fmla="*/ 2993977 h 6858000"/>
              <a:gd name="connsiteX1211" fmla="*/ 3111913 w 5794893"/>
              <a:gd name="connsiteY1211" fmla="*/ 2977998 h 6858000"/>
              <a:gd name="connsiteX1212" fmla="*/ 3239733 w 5794893"/>
              <a:gd name="connsiteY1212" fmla="*/ 2993977 h 6858000"/>
              <a:gd name="connsiteX1213" fmla="*/ 3240961 w 5794893"/>
              <a:gd name="connsiteY1213" fmla="*/ 2981686 h 6858000"/>
              <a:gd name="connsiteX1214" fmla="*/ 3370010 w 5794893"/>
              <a:gd name="connsiteY1214" fmla="*/ 2993977 h 6858000"/>
              <a:gd name="connsiteX1215" fmla="*/ 3371239 w 5794893"/>
              <a:gd name="connsiteY1215" fmla="*/ 2984144 h 6858000"/>
              <a:gd name="connsiteX1216" fmla="*/ 3500288 w 5794893"/>
              <a:gd name="connsiteY1216" fmla="*/ 2993977 h 6858000"/>
              <a:gd name="connsiteX1217" fmla="*/ 3500288 w 5794893"/>
              <a:gd name="connsiteY1217" fmla="*/ 2986602 h 6858000"/>
              <a:gd name="connsiteX1218" fmla="*/ 3629336 w 5794893"/>
              <a:gd name="connsiteY1218" fmla="*/ 2993977 h 6858000"/>
              <a:gd name="connsiteX1219" fmla="*/ 3629336 w 5794893"/>
              <a:gd name="connsiteY1219" fmla="*/ 2989060 h 6858000"/>
              <a:gd name="connsiteX1220" fmla="*/ 3637940 w 5794893"/>
              <a:gd name="connsiteY1220" fmla="*/ 2989060 h 6858000"/>
              <a:gd name="connsiteX1221" fmla="*/ 3717826 w 5794893"/>
              <a:gd name="connsiteY1221" fmla="*/ 2991518 h 6858000"/>
              <a:gd name="connsiteX1222" fmla="*/ 3717826 w 5794893"/>
              <a:gd name="connsiteY1222" fmla="*/ 2992747 h 6858000"/>
              <a:gd name="connsiteX1223" fmla="*/ 5716236 w 5794893"/>
              <a:gd name="connsiteY1223" fmla="*/ 3034534 h 6858000"/>
              <a:gd name="connsiteX1224" fmla="*/ 3717826 w 5794893"/>
              <a:gd name="connsiteY1224" fmla="*/ 3034534 h 6858000"/>
              <a:gd name="connsiteX1225" fmla="*/ 3717826 w 5794893"/>
              <a:gd name="connsiteY1225" fmla="*/ 3035764 h 6858000"/>
              <a:gd name="connsiteX1226" fmla="*/ 3599839 w 5794893"/>
              <a:gd name="connsiteY1226" fmla="*/ 3033306 h 6858000"/>
              <a:gd name="connsiteX1227" fmla="*/ 3599839 w 5794893"/>
              <a:gd name="connsiteY1227" fmla="*/ 3036992 h 6858000"/>
              <a:gd name="connsiteX1228" fmla="*/ 3481852 w 5794893"/>
              <a:gd name="connsiteY1228" fmla="*/ 3033306 h 6858000"/>
              <a:gd name="connsiteX1229" fmla="*/ 3481852 w 5794893"/>
              <a:gd name="connsiteY1229" fmla="*/ 3039450 h 6858000"/>
              <a:gd name="connsiteX1230" fmla="*/ 3363865 w 5794893"/>
              <a:gd name="connsiteY1230" fmla="*/ 3033306 h 6858000"/>
              <a:gd name="connsiteX1231" fmla="*/ 3363865 w 5794893"/>
              <a:gd name="connsiteY1231" fmla="*/ 3041908 h 6858000"/>
              <a:gd name="connsiteX1232" fmla="*/ 3245877 w 5794893"/>
              <a:gd name="connsiteY1232" fmla="*/ 3033306 h 6858000"/>
              <a:gd name="connsiteX1233" fmla="*/ 3245877 w 5794893"/>
              <a:gd name="connsiteY1233" fmla="*/ 3044366 h 6858000"/>
              <a:gd name="connsiteX1234" fmla="*/ 3127890 w 5794893"/>
              <a:gd name="connsiteY1234" fmla="*/ 3033306 h 6858000"/>
              <a:gd name="connsiteX1235" fmla="*/ 3126662 w 5794893"/>
              <a:gd name="connsiteY1235" fmla="*/ 3048054 h 6858000"/>
              <a:gd name="connsiteX1236" fmla="*/ 3008674 w 5794893"/>
              <a:gd name="connsiteY1236" fmla="*/ 3033306 h 6858000"/>
              <a:gd name="connsiteX1237" fmla="*/ 3007445 w 5794893"/>
              <a:gd name="connsiteY1237" fmla="*/ 3050512 h 6858000"/>
              <a:gd name="connsiteX1238" fmla="*/ 2890687 w 5794893"/>
              <a:gd name="connsiteY1238" fmla="*/ 3033306 h 6858000"/>
              <a:gd name="connsiteX1239" fmla="*/ 2888229 w 5794893"/>
              <a:gd name="connsiteY1239" fmla="*/ 3054199 h 6858000"/>
              <a:gd name="connsiteX1240" fmla="*/ 2772700 w 5794893"/>
              <a:gd name="connsiteY1240" fmla="*/ 3033306 h 6858000"/>
              <a:gd name="connsiteX1241" fmla="*/ 2769012 w 5794893"/>
              <a:gd name="connsiteY1241" fmla="*/ 3056657 h 6858000"/>
              <a:gd name="connsiteX1242" fmla="*/ 2654713 w 5794893"/>
              <a:gd name="connsiteY1242" fmla="*/ 3033306 h 6858000"/>
              <a:gd name="connsiteX1243" fmla="*/ 2649797 w 5794893"/>
              <a:gd name="connsiteY1243" fmla="*/ 3060344 h 6858000"/>
              <a:gd name="connsiteX1244" fmla="*/ 2536726 w 5794893"/>
              <a:gd name="connsiteY1244" fmla="*/ 3033306 h 6858000"/>
              <a:gd name="connsiteX1245" fmla="*/ 2530580 w 5794893"/>
              <a:gd name="connsiteY1245" fmla="*/ 3064031 h 6858000"/>
              <a:gd name="connsiteX1246" fmla="*/ 2418738 w 5794893"/>
              <a:gd name="connsiteY1246" fmla="*/ 3033306 h 6858000"/>
              <a:gd name="connsiteX1247" fmla="*/ 2411364 w 5794893"/>
              <a:gd name="connsiteY1247" fmla="*/ 3068947 h 6858000"/>
              <a:gd name="connsiteX1248" fmla="*/ 2300751 w 5794893"/>
              <a:gd name="connsiteY1248" fmla="*/ 3033306 h 6858000"/>
              <a:gd name="connsiteX1249" fmla="*/ 2290919 w 5794893"/>
              <a:gd name="connsiteY1249" fmla="*/ 3072635 h 6858000"/>
              <a:gd name="connsiteX1250" fmla="*/ 2182764 w 5794893"/>
              <a:gd name="connsiteY1250" fmla="*/ 3033306 h 6858000"/>
              <a:gd name="connsiteX1251" fmla="*/ 2170474 w 5794893"/>
              <a:gd name="connsiteY1251" fmla="*/ 3077551 h 6858000"/>
              <a:gd name="connsiteX1252" fmla="*/ 2064777 w 5794893"/>
              <a:gd name="connsiteY1252" fmla="*/ 3033306 h 6858000"/>
              <a:gd name="connsiteX1253" fmla="*/ 2048799 w 5794893"/>
              <a:gd name="connsiteY1253" fmla="*/ 3082467 h 6858000"/>
              <a:gd name="connsiteX1254" fmla="*/ 1946789 w 5794893"/>
              <a:gd name="connsiteY1254" fmla="*/ 3033306 h 6858000"/>
              <a:gd name="connsiteX1255" fmla="*/ 1927125 w 5794893"/>
              <a:gd name="connsiteY1255" fmla="*/ 3086153 h 6858000"/>
              <a:gd name="connsiteX1256" fmla="*/ 1828802 w 5794893"/>
              <a:gd name="connsiteY1256" fmla="*/ 3033306 h 6858000"/>
              <a:gd name="connsiteX1257" fmla="*/ 1804221 w 5794893"/>
              <a:gd name="connsiteY1257" fmla="*/ 3091070 h 6858000"/>
              <a:gd name="connsiteX1258" fmla="*/ 1710815 w 5794893"/>
              <a:gd name="connsiteY1258" fmla="*/ 3033306 h 6858000"/>
              <a:gd name="connsiteX1259" fmla="*/ 1681318 w 5794893"/>
              <a:gd name="connsiteY1259" fmla="*/ 3094757 h 6858000"/>
              <a:gd name="connsiteX1260" fmla="*/ 1592828 w 5794893"/>
              <a:gd name="connsiteY1260" fmla="*/ 3033306 h 6858000"/>
              <a:gd name="connsiteX1261" fmla="*/ 1557806 w 5794893"/>
              <a:gd name="connsiteY1261" fmla="*/ 3096101 h 6858000"/>
              <a:gd name="connsiteX1262" fmla="*/ 1477299 w 5794893"/>
              <a:gd name="connsiteY1262" fmla="*/ 3030848 h 6858000"/>
              <a:gd name="connsiteX1263" fmla="*/ 1440428 w 5794893"/>
              <a:gd name="connsiteY1263" fmla="*/ 3089841 h 6858000"/>
              <a:gd name="connsiteX1264" fmla="*/ 1557185 w 5794893"/>
              <a:gd name="connsiteY1264" fmla="*/ 3184476 h 6858000"/>
              <a:gd name="connsiteX1265" fmla="*/ 1594056 w 5794893"/>
              <a:gd name="connsiteY1265" fmla="*/ 3125482 h 6858000"/>
              <a:gd name="connsiteX1266" fmla="*/ 1571695 w 5794893"/>
              <a:gd name="connsiteY1266" fmla="*/ 3107358 h 6858000"/>
              <a:gd name="connsiteX1267" fmla="*/ 1683776 w 5794893"/>
              <a:gd name="connsiteY1267" fmla="*/ 3185706 h 6858000"/>
              <a:gd name="connsiteX1268" fmla="*/ 1716959 w 5794893"/>
              <a:gd name="connsiteY1268" fmla="*/ 3125482 h 6858000"/>
              <a:gd name="connsiteX1269" fmla="*/ 1814054 w 5794893"/>
              <a:gd name="connsiteY1269" fmla="*/ 3185706 h 6858000"/>
              <a:gd name="connsiteX1270" fmla="*/ 1841092 w 5794893"/>
              <a:gd name="connsiteY1270" fmla="*/ 3130399 h 6858000"/>
              <a:gd name="connsiteX1271" fmla="*/ 1944331 w 5794893"/>
              <a:gd name="connsiteY1271" fmla="*/ 3185706 h 6858000"/>
              <a:gd name="connsiteX1272" fmla="*/ 1966454 w 5794893"/>
              <a:gd name="connsiteY1272" fmla="*/ 3134086 h 6858000"/>
              <a:gd name="connsiteX1273" fmla="*/ 2074609 w 5794893"/>
              <a:gd name="connsiteY1273" fmla="*/ 3185706 h 6858000"/>
              <a:gd name="connsiteX1274" fmla="*/ 2091815 w 5794893"/>
              <a:gd name="connsiteY1274" fmla="*/ 3139003 h 6858000"/>
              <a:gd name="connsiteX1275" fmla="*/ 2203657 w 5794893"/>
              <a:gd name="connsiteY1275" fmla="*/ 3185706 h 6858000"/>
              <a:gd name="connsiteX1276" fmla="*/ 2217177 w 5794893"/>
              <a:gd name="connsiteY1276" fmla="*/ 3142689 h 6858000"/>
              <a:gd name="connsiteX1277" fmla="*/ 2332706 w 5794893"/>
              <a:gd name="connsiteY1277" fmla="*/ 3185706 h 6858000"/>
              <a:gd name="connsiteX1278" fmla="*/ 2343767 w 5794893"/>
              <a:gd name="connsiteY1278" fmla="*/ 3147605 h 6858000"/>
              <a:gd name="connsiteX1279" fmla="*/ 2462984 w 5794893"/>
              <a:gd name="connsiteY1279" fmla="*/ 3185706 h 6858000"/>
              <a:gd name="connsiteX1280" fmla="*/ 2471586 w 5794893"/>
              <a:gd name="connsiteY1280" fmla="*/ 3151293 h 6858000"/>
              <a:gd name="connsiteX1281" fmla="*/ 2593261 w 5794893"/>
              <a:gd name="connsiteY1281" fmla="*/ 3185706 h 6858000"/>
              <a:gd name="connsiteX1282" fmla="*/ 2599406 w 5794893"/>
              <a:gd name="connsiteY1282" fmla="*/ 3156209 h 6858000"/>
              <a:gd name="connsiteX1283" fmla="*/ 2722309 w 5794893"/>
              <a:gd name="connsiteY1283" fmla="*/ 3185706 h 6858000"/>
              <a:gd name="connsiteX1284" fmla="*/ 2727225 w 5794893"/>
              <a:gd name="connsiteY1284" fmla="*/ 3159895 h 6858000"/>
              <a:gd name="connsiteX1285" fmla="*/ 2852587 w 5794893"/>
              <a:gd name="connsiteY1285" fmla="*/ 3185706 h 6858000"/>
              <a:gd name="connsiteX1286" fmla="*/ 2856274 w 5794893"/>
              <a:gd name="connsiteY1286" fmla="*/ 3163583 h 6858000"/>
              <a:gd name="connsiteX1287" fmla="*/ 2982864 w 5794893"/>
              <a:gd name="connsiteY1287" fmla="*/ 3185706 h 6858000"/>
              <a:gd name="connsiteX1288" fmla="*/ 2985322 w 5794893"/>
              <a:gd name="connsiteY1288" fmla="*/ 3167270 h 6858000"/>
              <a:gd name="connsiteX1289" fmla="*/ 3111913 w 5794893"/>
              <a:gd name="connsiteY1289" fmla="*/ 3185706 h 6858000"/>
              <a:gd name="connsiteX1290" fmla="*/ 3113142 w 5794893"/>
              <a:gd name="connsiteY1290" fmla="*/ 3169728 h 6858000"/>
              <a:gd name="connsiteX1291" fmla="*/ 3240961 w 5794893"/>
              <a:gd name="connsiteY1291" fmla="*/ 3185706 h 6858000"/>
              <a:gd name="connsiteX1292" fmla="*/ 3242191 w 5794893"/>
              <a:gd name="connsiteY1292" fmla="*/ 3173415 h 6858000"/>
              <a:gd name="connsiteX1293" fmla="*/ 3371239 w 5794893"/>
              <a:gd name="connsiteY1293" fmla="*/ 3185706 h 6858000"/>
              <a:gd name="connsiteX1294" fmla="*/ 3372468 w 5794893"/>
              <a:gd name="connsiteY1294" fmla="*/ 3175874 h 6858000"/>
              <a:gd name="connsiteX1295" fmla="*/ 3501516 w 5794893"/>
              <a:gd name="connsiteY1295" fmla="*/ 3185706 h 6858000"/>
              <a:gd name="connsiteX1296" fmla="*/ 3501516 w 5794893"/>
              <a:gd name="connsiteY1296" fmla="*/ 3178332 h 6858000"/>
              <a:gd name="connsiteX1297" fmla="*/ 3630565 w 5794893"/>
              <a:gd name="connsiteY1297" fmla="*/ 3185706 h 6858000"/>
              <a:gd name="connsiteX1298" fmla="*/ 3630565 w 5794893"/>
              <a:gd name="connsiteY1298" fmla="*/ 3180790 h 6858000"/>
              <a:gd name="connsiteX1299" fmla="*/ 3639168 w 5794893"/>
              <a:gd name="connsiteY1299" fmla="*/ 3180790 h 6858000"/>
              <a:gd name="connsiteX1300" fmla="*/ 3719056 w 5794893"/>
              <a:gd name="connsiteY1300" fmla="*/ 3183248 h 6858000"/>
              <a:gd name="connsiteX1301" fmla="*/ 3719056 w 5794893"/>
              <a:gd name="connsiteY1301" fmla="*/ 3184476 h 6858000"/>
              <a:gd name="connsiteX1302" fmla="*/ 5703946 w 5794893"/>
              <a:gd name="connsiteY1302" fmla="*/ 3226263 h 6858000"/>
              <a:gd name="connsiteX1303" fmla="*/ 3719056 w 5794893"/>
              <a:gd name="connsiteY1303" fmla="*/ 3226263 h 6858000"/>
              <a:gd name="connsiteX1304" fmla="*/ 3720284 w 5794893"/>
              <a:gd name="connsiteY1304" fmla="*/ 3228721 h 6858000"/>
              <a:gd name="connsiteX1305" fmla="*/ 3602297 w 5794893"/>
              <a:gd name="connsiteY1305" fmla="*/ 3226263 h 6858000"/>
              <a:gd name="connsiteX1306" fmla="*/ 3602297 w 5794893"/>
              <a:gd name="connsiteY1306" fmla="*/ 3229951 h 6858000"/>
              <a:gd name="connsiteX1307" fmla="*/ 3484310 w 5794893"/>
              <a:gd name="connsiteY1307" fmla="*/ 3226263 h 6858000"/>
              <a:gd name="connsiteX1308" fmla="*/ 3484310 w 5794893"/>
              <a:gd name="connsiteY1308" fmla="*/ 3232409 h 6858000"/>
              <a:gd name="connsiteX1309" fmla="*/ 3366323 w 5794893"/>
              <a:gd name="connsiteY1309" fmla="*/ 3226263 h 6858000"/>
              <a:gd name="connsiteX1310" fmla="*/ 3366323 w 5794893"/>
              <a:gd name="connsiteY1310" fmla="*/ 3234867 h 6858000"/>
              <a:gd name="connsiteX1311" fmla="*/ 3248335 w 5794893"/>
              <a:gd name="connsiteY1311" fmla="*/ 3226263 h 6858000"/>
              <a:gd name="connsiteX1312" fmla="*/ 3248335 w 5794893"/>
              <a:gd name="connsiteY1312" fmla="*/ 3237325 h 6858000"/>
              <a:gd name="connsiteX1313" fmla="*/ 3131578 w 5794893"/>
              <a:gd name="connsiteY1313" fmla="*/ 3226263 h 6858000"/>
              <a:gd name="connsiteX1314" fmla="*/ 3130348 w 5794893"/>
              <a:gd name="connsiteY1314" fmla="*/ 3241012 h 6858000"/>
              <a:gd name="connsiteX1315" fmla="*/ 3011133 w 5794893"/>
              <a:gd name="connsiteY1315" fmla="*/ 3226263 h 6858000"/>
              <a:gd name="connsiteX1316" fmla="*/ 3009903 w 5794893"/>
              <a:gd name="connsiteY1316" fmla="*/ 3243470 h 6858000"/>
              <a:gd name="connsiteX1317" fmla="*/ 2893145 w 5794893"/>
              <a:gd name="connsiteY1317" fmla="*/ 3226263 h 6858000"/>
              <a:gd name="connsiteX1318" fmla="*/ 2890687 w 5794893"/>
              <a:gd name="connsiteY1318" fmla="*/ 3247157 h 6858000"/>
              <a:gd name="connsiteX1319" fmla="*/ 2775158 w 5794893"/>
              <a:gd name="connsiteY1319" fmla="*/ 3226263 h 6858000"/>
              <a:gd name="connsiteX1320" fmla="*/ 2771470 w 5794893"/>
              <a:gd name="connsiteY1320" fmla="*/ 3249616 h 6858000"/>
              <a:gd name="connsiteX1321" fmla="*/ 2657171 w 5794893"/>
              <a:gd name="connsiteY1321" fmla="*/ 3226263 h 6858000"/>
              <a:gd name="connsiteX1322" fmla="*/ 2652255 w 5794893"/>
              <a:gd name="connsiteY1322" fmla="*/ 3253302 h 6858000"/>
              <a:gd name="connsiteX1323" fmla="*/ 2539184 w 5794893"/>
              <a:gd name="connsiteY1323" fmla="*/ 3226263 h 6858000"/>
              <a:gd name="connsiteX1324" fmla="*/ 2533038 w 5794893"/>
              <a:gd name="connsiteY1324" fmla="*/ 3256990 h 6858000"/>
              <a:gd name="connsiteX1325" fmla="*/ 2421196 w 5794893"/>
              <a:gd name="connsiteY1325" fmla="*/ 3226263 h 6858000"/>
              <a:gd name="connsiteX1326" fmla="*/ 2413822 w 5794893"/>
              <a:gd name="connsiteY1326" fmla="*/ 3261906 h 6858000"/>
              <a:gd name="connsiteX1327" fmla="*/ 2303209 w 5794893"/>
              <a:gd name="connsiteY1327" fmla="*/ 3226263 h 6858000"/>
              <a:gd name="connsiteX1328" fmla="*/ 2293377 w 5794893"/>
              <a:gd name="connsiteY1328" fmla="*/ 3265592 h 6858000"/>
              <a:gd name="connsiteX1329" fmla="*/ 2185222 w 5794893"/>
              <a:gd name="connsiteY1329" fmla="*/ 3226263 h 6858000"/>
              <a:gd name="connsiteX1330" fmla="*/ 2172932 w 5794893"/>
              <a:gd name="connsiteY1330" fmla="*/ 3270508 h 6858000"/>
              <a:gd name="connsiteX1331" fmla="*/ 2067235 w 5794893"/>
              <a:gd name="connsiteY1331" fmla="*/ 3226263 h 6858000"/>
              <a:gd name="connsiteX1332" fmla="*/ 2051257 w 5794893"/>
              <a:gd name="connsiteY1332" fmla="*/ 3275425 h 6858000"/>
              <a:gd name="connsiteX1333" fmla="*/ 1949247 w 5794893"/>
              <a:gd name="connsiteY1333" fmla="*/ 3226263 h 6858000"/>
              <a:gd name="connsiteX1334" fmla="*/ 1929583 w 5794893"/>
              <a:gd name="connsiteY1334" fmla="*/ 3279112 h 6858000"/>
              <a:gd name="connsiteX1335" fmla="*/ 1831260 w 5794893"/>
              <a:gd name="connsiteY1335" fmla="*/ 3226263 h 6858000"/>
              <a:gd name="connsiteX1336" fmla="*/ 1806680 w 5794893"/>
              <a:gd name="connsiteY1336" fmla="*/ 3284028 h 6858000"/>
              <a:gd name="connsiteX1337" fmla="*/ 1713273 w 5794893"/>
              <a:gd name="connsiteY1337" fmla="*/ 3226263 h 6858000"/>
              <a:gd name="connsiteX1338" fmla="*/ 1683776 w 5794893"/>
              <a:gd name="connsiteY1338" fmla="*/ 3287715 h 6858000"/>
              <a:gd name="connsiteX1339" fmla="*/ 1595286 w 5794893"/>
              <a:gd name="connsiteY1339" fmla="*/ 3226263 h 6858000"/>
              <a:gd name="connsiteX1340" fmla="*/ 1559643 w 5794893"/>
              <a:gd name="connsiteY1340" fmla="*/ 3290173 h 6858000"/>
              <a:gd name="connsiteX1341" fmla="*/ 1686234 w 5794893"/>
              <a:gd name="connsiteY1341" fmla="*/ 3378663 h 6858000"/>
              <a:gd name="connsiteX1342" fmla="*/ 1719418 w 5794893"/>
              <a:gd name="connsiteY1342" fmla="*/ 3318441 h 6858000"/>
              <a:gd name="connsiteX1343" fmla="*/ 1816512 w 5794893"/>
              <a:gd name="connsiteY1343" fmla="*/ 3378663 h 6858000"/>
              <a:gd name="connsiteX1344" fmla="*/ 1843551 w 5794893"/>
              <a:gd name="connsiteY1344" fmla="*/ 3323358 h 6858000"/>
              <a:gd name="connsiteX1345" fmla="*/ 1938186 w 5794893"/>
              <a:gd name="connsiteY1345" fmla="*/ 3386038 h 6858000"/>
              <a:gd name="connsiteX1346" fmla="*/ 1960308 w 5794893"/>
              <a:gd name="connsiteY1346" fmla="*/ 3334418 h 6858000"/>
              <a:gd name="connsiteX1347" fmla="*/ 2068463 w 5794893"/>
              <a:gd name="connsiteY1347" fmla="*/ 3386038 h 6858000"/>
              <a:gd name="connsiteX1348" fmla="*/ 2085670 w 5794893"/>
              <a:gd name="connsiteY1348" fmla="*/ 3339334 h 6858000"/>
              <a:gd name="connsiteX1349" fmla="*/ 2197512 w 5794893"/>
              <a:gd name="connsiteY1349" fmla="*/ 3386038 h 6858000"/>
              <a:gd name="connsiteX1350" fmla="*/ 2211031 w 5794893"/>
              <a:gd name="connsiteY1350" fmla="*/ 3343022 h 6858000"/>
              <a:gd name="connsiteX1351" fmla="*/ 2326560 w 5794893"/>
              <a:gd name="connsiteY1351" fmla="*/ 3386038 h 6858000"/>
              <a:gd name="connsiteX1352" fmla="*/ 2337622 w 5794893"/>
              <a:gd name="connsiteY1352" fmla="*/ 3347938 h 6858000"/>
              <a:gd name="connsiteX1353" fmla="*/ 2456838 w 5794893"/>
              <a:gd name="connsiteY1353" fmla="*/ 3386038 h 6858000"/>
              <a:gd name="connsiteX1354" fmla="*/ 2465442 w 5794893"/>
              <a:gd name="connsiteY1354" fmla="*/ 3351625 h 6858000"/>
              <a:gd name="connsiteX1355" fmla="*/ 2587115 w 5794893"/>
              <a:gd name="connsiteY1355" fmla="*/ 3386038 h 6858000"/>
              <a:gd name="connsiteX1356" fmla="*/ 2593261 w 5794893"/>
              <a:gd name="connsiteY1356" fmla="*/ 3356541 h 6858000"/>
              <a:gd name="connsiteX1357" fmla="*/ 2716164 w 5794893"/>
              <a:gd name="connsiteY1357" fmla="*/ 3386038 h 6858000"/>
              <a:gd name="connsiteX1358" fmla="*/ 2721081 w 5794893"/>
              <a:gd name="connsiteY1358" fmla="*/ 3360229 h 6858000"/>
              <a:gd name="connsiteX1359" fmla="*/ 2846442 w 5794893"/>
              <a:gd name="connsiteY1359" fmla="*/ 3386038 h 6858000"/>
              <a:gd name="connsiteX1360" fmla="*/ 2850129 w 5794893"/>
              <a:gd name="connsiteY1360" fmla="*/ 3363915 h 6858000"/>
              <a:gd name="connsiteX1361" fmla="*/ 2976720 w 5794893"/>
              <a:gd name="connsiteY1361" fmla="*/ 3386038 h 6858000"/>
              <a:gd name="connsiteX1362" fmla="*/ 2979178 w 5794893"/>
              <a:gd name="connsiteY1362" fmla="*/ 3367603 h 6858000"/>
              <a:gd name="connsiteX1363" fmla="*/ 3105768 w 5794893"/>
              <a:gd name="connsiteY1363" fmla="*/ 3386038 h 6858000"/>
              <a:gd name="connsiteX1364" fmla="*/ 3106997 w 5794893"/>
              <a:gd name="connsiteY1364" fmla="*/ 3370061 h 6858000"/>
              <a:gd name="connsiteX1365" fmla="*/ 3234817 w 5794893"/>
              <a:gd name="connsiteY1365" fmla="*/ 3386038 h 6858000"/>
              <a:gd name="connsiteX1366" fmla="*/ 3236045 w 5794893"/>
              <a:gd name="connsiteY1366" fmla="*/ 3373747 h 6858000"/>
              <a:gd name="connsiteX1367" fmla="*/ 3365094 w 5794893"/>
              <a:gd name="connsiteY1367" fmla="*/ 3386038 h 6858000"/>
              <a:gd name="connsiteX1368" fmla="*/ 3366323 w 5794893"/>
              <a:gd name="connsiteY1368" fmla="*/ 3376205 h 6858000"/>
              <a:gd name="connsiteX1369" fmla="*/ 3495372 w 5794893"/>
              <a:gd name="connsiteY1369" fmla="*/ 3386038 h 6858000"/>
              <a:gd name="connsiteX1370" fmla="*/ 3495372 w 5794893"/>
              <a:gd name="connsiteY1370" fmla="*/ 3378663 h 6858000"/>
              <a:gd name="connsiteX1371" fmla="*/ 3624420 w 5794893"/>
              <a:gd name="connsiteY1371" fmla="*/ 3386038 h 6858000"/>
              <a:gd name="connsiteX1372" fmla="*/ 3624420 w 5794893"/>
              <a:gd name="connsiteY1372" fmla="*/ 3381121 h 6858000"/>
              <a:gd name="connsiteX1373" fmla="*/ 3633024 w 5794893"/>
              <a:gd name="connsiteY1373" fmla="*/ 3381121 h 6858000"/>
              <a:gd name="connsiteX1374" fmla="*/ 3712910 w 5794893"/>
              <a:gd name="connsiteY1374" fmla="*/ 3383580 h 6858000"/>
              <a:gd name="connsiteX1375" fmla="*/ 3712910 w 5794893"/>
              <a:gd name="connsiteY1375" fmla="*/ 3384809 h 6858000"/>
              <a:gd name="connsiteX1376" fmla="*/ 5733441 w 5794893"/>
              <a:gd name="connsiteY1376" fmla="*/ 3426596 h 6858000"/>
              <a:gd name="connsiteX1377" fmla="*/ 3712910 w 5794893"/>
              <a:gd name="connsiteY1377" fmla="*/ 3426596 h 6858000"/>
              <a:gd name="connsiteX1378" fmla="*/ 3712910 w 5794893"/>
              <a:gd name="connsiteY1378" fmla="*/ 3427825 h 6858000"/>
              <a:gd name="connsiteX1379" fmla="*/ 3594923 w 5794893"/>
              <a:gd name="connsiteY1379" fmla="*/ 3425367 h 6858000"/>
              <a:gd name="connsiteX1380" fmla="*/ 3594923 w 5794893"/>
              <a:gd name="connsiteY1380" fmla="*/ 3429054 h 6858000"/>
              <a:gd name="connsiteX1381" fmla="*/ 3476936 w 5794893"/>
              <a:gd name="connsiteY1381" fmla="*/ 3425367 h 6858000"/>
              <a:gd name="connsiteX1382" fmla="*/ 3476936 w 5794893"/>
              <a:gd name="connsiteY1382" fmla="*/ 3431513 h 6858000"/>
              <a:gd name="connsiteX1383" fmla="*/ 3358948 w 5794893"/>
              <a:gd name="connsiteY1383" fmla="*/ 3425367 h 6858000"/>
              <a:gd name="connsiteX1384" fmla="*/ 3358948 w 5794893"/>
              <a:gd name="connsiteY1384" fmla="*/ 3433971 h 6858000"/>
              <a:gd name="connsiteX1385" fmla="*/ 3240961 w 5794893"/>
              <a:gd name="connsiteY1385" fmla="*/ 3425367 h 6858000"/>
              <a:gd name="connsiteX1386" fmla="*/ 3240961 w 5794893"/>
              <a:gd name="connsiteY1386" fmla="*/ 3436429 h 6858000"/>
              <a:gd name="connsiteX1387" fmla="*/ 3122974 w 5794893"/>
              <a:gd name="connsiteY1387" fmla="*/ 3425367 h 6858000"/>
              <a:gd name="connsiteX1388" fmla="*/ 3121746 w 5794893"/>
              <a:gd name="connsiteY1388" fmla="*/ 3440115 h 6858000"/>
              <a:gd name="connsiteX1389" fmla="*/ 3003758 w 5794893"/>
              <a:gd name="connsiteY1389" fmla="*/ 3425367 h 6858000"/>
              <a:gd name="connsiteX1390" fmla="*/ 3002529 w 5794893"/>
              <a:gd name="connsiteY1390" fmla="*/ 3442573 h 6858000"/>
              <a:gd name="connsiteX1391" fmla="*/ 2885771 w 5794893"/>
              <a:gd name="connsiteY1391" fmla="*/ 3425367 h 6858000"/>
              <a:gd name="connsiteX1392" fmla="*/ 2883313 w 5794893"/>
              <a:gd name="connsiteY1392" fmla="*/ 3446261 h 6858000"/>
              <a:gd name="connsiteX1393" fmla="*/ 2767784 w 5794893"/>
              <a:gd name="connsiteY1393" fmla="*/ 3425367 h 6858000"/>
              <a:gd name="connsiteX1394" fmla="*/ 2764096 w 5794893"/>
              <a:gd name="connsiteY1394" fmla="*/ 3449947 h 6858000"/>
              <a:gd name="connsiteX1395" fmla="*/ 2649797 w 5794893"/>
              <a:gd name="connsiteY1395" fmla="*/ 3425367 h 6858000"/>
              <a:gd name="connsiteX1396" fmla="*/ 2644881 w 5794893"/>
              <a:gd name="connsiteY1396" fmla="*/ 3452405 h 6858000"/>
              <a:gd name="connsiteX1397" fmla="*/ 2531809 w 5794893"/>
              <a:gd name="connsiteY1397" fmla="*/ 3425367 h 6858000"/>
              <a:gd name="connsiteX1398" fmla="*/ 2525664 w 5794893"/>
              <a:gd name="connsiteY1398" fmla="*/ 3457322 h 6858000"/>
              <a:gd name="connsiteX1399" fmla="*/ 2413822 w 5794893"/>
              <a:gd name="connsiteY1399" fmla="*/ 3425367 h 6858000"/>
              <a:gd name="connsiteX1400" fmla="*/ 2406448 w 5794893"/>
              <a:gd name="connsiteY1400" fmla="*/ 3461009 h 6858000"/>
              <a:gd name="connsiteX1401" fmla="*/ 2295835 w 5794893"/>
              <a:gd name="connsiteY1401" fmla="*/ 3425367 h 6858000"/>
              <a:gd name="connsiteX1402" fmla="*/ 2286003 w 5794893"/>
              <a:gd name="connsiteY1402" fmla="*/ 3464696 h 6858000"/>
              <a:gd name="connsiteX1403" fmla="*/ 2177848 w 5794893"/>
              <a:gd name="connsiteY1403" fmla="*/ 3425367 h 6858000"/>
              <a:gd name="connsiteX1404" fmla="*/ 2165557 w 5794893"/>
              <a:gd name="connsiteY1404" fmla="*/ 3469612 h 6858000"/>
              <a:gd name="connsiteX1405" fmla="*/ 2059860 w 5794893"/>
              <a:gd name="connsiteY1405" fmla="*/ 3425367 h 6858000"/>
              <a:gd name="connsiteX1406" fmla="*/ 2043882 w 5794893"/>
              <a:gd name="connsiteY1406" fmla="*/ 3474528 h 6858000"/>
              <a:gd name="connsiteX1407" fmla="*/ 1941873 w 5794893"/>
              <a:gd name="connsiteY1407" fmla="*/ 3425367 h 6858000"/>
              <a:gd name="connsiteX1408" fmla="*/ 1922209 w 5794893"/>
              <a:gd name="connsiteY1408" fmla="*/ 3478216 h 6858000"/>
              <a:gd name="connsiteX1409" fmla="*/ 1823886 w 5794893"/>
              <a:gd name="connsiteY1409" fmla="*/ 3425367 h 6858000"/>
              <a:gd name="connsiteX1410" fmla="*/ 1799305 w 5794893"/>
              <a:gd name="connsiteY1410" fmla="*/ 3483132 h 6858000"/>
              <a:gd name="connsiteX1411" fmla="*/ 1705899 w 5794893"/>
              <a:gd name="connsiteY1411" fmla="*/ 3425367 h 6858000"/>
              <a:gd name="connsiteX1412" fmla="*/ 1676402 w 5794893"/>
              <a:gd name="connsiteY1412" fmla="*/ 3488048 h 6858000"/>
              <a:gd name="connsiteX1413" fmla="*/ 1587912 w 5794893"/>
              <a:gd name="connsiteY1413" fmla="*/ 3425367 h 6858000"/>
              <a:gd name="connsiteX1414" fmla="*/ 1555303 w 5794893"/>
              <a:gd name="connsiteY1414" fmla="*/ 3483837 h 6858000"/>
              <a:gd name="connsiteX1415" fmla="*/ 1476069 w 5794893"/>
              <a:gd name="connsiteY1415" fmla="*/ 3420451 h 6858000"/>
              <a:gd name="connsiteX1416" fmla="*/ 1439198 w 5794893"/>
              <a:gd name="connsiteY1416" fmla="*/ 3479444 h 6858000"/>
              <a:gd name="connsiteX1417" fmla="*/ 1555957 w 5794893"/>
              <a:gd name="connsiteY1417" fmla="*/ 3572851 h 6858000"/>
              <a:gd name="connsiteX1418" fmla="*/ 1591188 w 5794893"/>
              <a:gd name="connsiteY1418" fmla="*/ 3516482 h 6858000"/>
              <a:gd name="connsiteX1419" fmla="*/ 1678860 w 5794893"/>
              <a:gd name="connsiteY1419" fmla="*/ 3577767 h 6858000"/>
              <a:gd name="connsiteX1420" fmla="*/ 1712043 w 5794893"/>
              <a:gd name="connsiteY1420" fmla="*/ 3517545 h 6858000"/>
              <a:gd name="connsiteX1421" fmla="*/ 1809138 w 5794893"/>
              <a:gd name="connsiteY1421" fmla="*/ 3577767 h 6858000"/>
              <a:gd name="connsiteX1422" fmla="*/ 1836176 w 5794893"/>
              <a:gd name="connsiteY1422" fmla="*/ 3522461 h 6858000"/>
              <a:gd name="connsiteX1423" fmla="*/ 1939415 w 5794893"/>
              <a:gd name="connsiteY1423" fmla="*/ 3577767 h 6858000"/>
              <a:gd name="connsiteX1424" fmla="*/ 1961538 w 5794893"/>
              <a:gd name="connsiteY1424" fmla="*/ 3526147 h 6858000"/>
              <a:gd name="connsiteX1425" fmla="*/ 2069693 w 5794893"/>
              <a:gd name="connsiteY1425" fmla="*/ 3577767 h 6858000"/>
              <a:gd name="connsiteX1426" fmla="*/ 2086899 w 5794893"/>
              <a:gd name="connsiteY1426" fmla="*/ 3531064 h 6858000"/>
              <a:gd name="connsiteX1427" fmla="*/ 2198741 w 5794893"/>
              <a:gd name="connsiteY1427" fmla="*/ 3577767 h 6858000"/>
              <a:gd name="connsiteX1428" fmla="*/ 2212261 w 5794893"/>
              <a:gd name="connsiteY1428" fmla="*/ 3534751 h 6858000"/>
              <a:gd name="connsiteX1429" fmla="*/ 2327790 w 5794893"/>
              <a:gd name="connsiteY1429" fmla="*/ 3577767 h 6858000"/>
              <a:gd name="connsiteX1430" fmla="*/ 2338851 w 5794893"/>
              <a:gd name="connsiteY1430" fmla="*/ 3539667 h 6858000"/>
              <a:gd name="connsiteX1431" fmla="*/ 2458067 w 5794893"/>
              <a:gd name="connsiteY1431" fmla="*/ 3577767 h 6858000"/>
              <a:gd name="connsiteX1432" fmla="*/ 2466670 w 5794893"/>
              <a:gd name="connsiteY1432" fmla="*/ 3543354 h 6858000"/>
              <a:gd name="connsiteX1433" fmla="*/ 2588345 w 5794893"/>
              <a:gd name="connsiteY1433" fmla="*/ 3577767 h 6858000"/>
              <a:gd name="connsiteX1434" fmla="*/ 2594490 w 5794893"/>
              <a:gd name="connsiteY1434" fmla="*/ 3548270 h 6858000"/>
              <a:gd name="connsiteX1435" fmla="*/ 2717393 w 5794893"/>
              <a:gd name="connsiteY1435" fmla="*/ 3577767 h 6858000"/>
              <a:gd name="connsiteX1436" fmla="*/ 2722309 w 5794893"/>
              <a:gd name="connsiteY1436" fmla="*/ 3551958 h 6858000"/>
              <a:gd name="connsiteX1437" fmla="*/ 2847670 w 5794893"/>
              <a:gd name="connsiteY1437" fmla="*/ 3577767 h 6858000"/>
              <a:gd name="connsiteX1438" fmla="*/ 2851358 w 5794893"/>
              <a:gd name="connsiteY1438" fmla="*/ 3555644 h 6858000"/>
              <a:gd name="connsiteX1439" fmla="*/ 2977948 w 5794893"/>
              <a:gd name="connsiteY1439" fmla="*/ 3577767 h 6858000"/>
              <a:gd name="connsiteX1440" fmla="*/ 2980406 w 5794893"/>
              <a:gd name="connsiteY1440" fmla="*/ 3559332 h 6858000"/>
              <a:gd name="connsiteX1441" fmla="*/ 3106997 w 5794893"/>
              <a:gd name="connsiteY1441" fmla="*/ 3577767 h 6858000"/>
              <a:gd name="connsiteX1442" fmla="*/ 3108226 w 5794893"/>
              <a:gd name="connsiteY1442" fmla="*/ 3561790 h 6858000"/>
              <a:gd name="connsiteX1443" fmla="*/ 3236045 w 5794893"/>
              <a:gd name="connsiteY1443" fmla="*/ 3577767 h 6858000"/>
              <a:gd name="connsiteX1444" fmla="*/ 3237275 w 5794893"/>
              <a:gd name="connsiteY1444" fmla="*/ 3565477 h 6858000"/>
              <a:gd name="connsiteX1445" fmla="*/ 3366323 w 5794893"/>
              <a:gd name="connsiteY1445" fmla="*/ 3577767 h 6858000"/>
              <a:gd name="connsiteX1446" fmla="*/ 3367552 w 5794893"/>
              <a:gd name="connsiteY1446" fmla="*/ 3567935 h 6858000"/>
              <a:gd name="connsiteX1447" fmla="*/ 3496600 w 5794893"/>
              <a:gd name="connsiteY1447" fmla="*/ 3577767 h 6858000"/>
              <a:gd name="connsiteX1448" fmla="*/ 3496600 w 5794893"/>
              <a:gd name="connsiteY1448" fmla="*/ 3570393 h 6858000"/>
              <a:gd name="connsiteX1449" fmla="*/ 3625649 w 5794893"/>
              <a:gd name="connsiteY1449" fmla="*/ 3577767 h 6858000"/>
              <a:gd name="connsiteX1450" fmla="*/ 3625649 w 5794893"/>
              <a:gd name="connsiteY1450" fmla="*/ 3572851 h 6858000"/>
              <a:gd name="connsiteX1451" fmla="*/ 3634252 w 5794893"/>
              <a:gd name="connsiteY1451" fmla="*/ 3572851 h 6858000"/>
              <a:gd name="connsiteX1452" fmla="*/ 3714140 w 5794893"/>
              <a:gd name="connsiteY1452" fmla="*/ 3575309 h 6858000"/>
              <a:gd name="connsiteX1453" fmla="*/ 3714140 w 5794893"/>
              <a:gd name="connsiteY1453" fmla="*/ 3576538 h 6858000"/>
              <a:gd name="connsiteX1454" fmla="*/ 5530652 w 5794893"/>
              <a:gd name="connsiteY1454" fmla="*/ 3610951 h 6858000"/>
              <a:gd name="connsiteX1455" fmla="*/ 3715368 w 5794893"/>
              <a:gd name="connsiteY1455" fmla="*/ 3610951 h 6858000"/>
              <a:gd name="connsiteX1456" fmla="*/ 3715368 w 5794893"/>
              <a:gd name="connsiteY1456" fmla="*/ 3613409 h 6858000"/>
              <a:gd name="connsiteX1457" fmla="*/ 3597381 w 5794893"/>
              <a:gd name="connsiteY1457" fmla="*/ 3610951 h 6858000"/>
              <a:gd name="connsiteX1458" fmla="*/ 3597381 w 5794893"/>
              <a:gd name="connsiteY1458" fmla="*/ 3614638 h 6858000"/>
              <a:gd name="connsiteX1459" fmla="*/ 3479394 w 5794893"/>
              <a:gd name="connsiteY1459" fmla="*/ 3610951 h 6858000"/>
              <a:gd name="connsiteX1460" fmla="*/ 3479394 w 5794893"/>
              <a:gd name="connsiteY1460" fmla="*/ 3617096 h 6858000"/>
              <a:gd name="connsiteX1461" fmla="*/ 3361406 w 5794893"/>
              <a:gd name="connsiteY1461" fmla="*/ 3610951 h 6858000"/>
              <a:gd name="connsiteX1462" fmla="*/ 3361406 w 5794893"/>
              <a:gd name="connsiteY1462" fmla="*/ 3619554 h 6858000"/>
              <a:gd name="connsiteX1463" fmla="*/ 3243419 w 5794893"/>
              <a:gd name="connsiteY1463" fmla="*/ 3610951 h 6858000"/>
              <a:gd name="connsiteX1464" fmla="*/ 3243419 w 5794893"/>
              <a:gd name="connsiteY1464" fmla="*/ 3622012 h 6858000"/>
              <a:gd name="connsiteX1465" fmla="*/ 3125432 w 5794893"/>
              <a:gd name="connsiteY1465" fmla="*/ 3610951 h 6858000"/>
              <a:gd name="connsiteX1466" fmla="*/ 3124204 w 5794893"/>
              <a:gd name="connsiteY1466" fmla="*/ 3625700 h 6858000"/>
              <a:gd name="connsiteX1467" fmla="*/ 3006216 w 5794893"/>
              <a:gd name="connsiteY1467" fmla="*/ 3610951 h 6858000"/>
              <a:gd name="connsiteX1468" fmla="*/ 3004987 w 5794893"/>
              <a:gd name="connsiteY1468" fmla="*/ 3628158 h 6858000"/>
              <a:gd name="connsiteX1469" fmla="*/ 2888229 w 5794893"/>
              <a:gd name="connsiteY1469" fmla="*/ 3610951 h 6858000"/>
              <a:gd name="connsiteX1470" fmla="*/ 2885771 w 5794893"/>
              <a:gd name="connsiteY1470" fmla="*/ 3631844 h 6858000"/>
              <a:gd name="connsiteX1471" fmla="*/ 2770242 w 5794893"/>
              <a:gd name="connsiteY1471" fmla="*/ 3610951 h 6858000"/>
              <a:gd name="connsiteX1472" fmla="*/ 2766554 w 5794893"/>
              <a:gd name="connsiteY1472" fmla="*/ 3635532 h 6858000"/>
              <a:gd name="connsiteX1473" fmla="*/ 2652255 w 5794893"/>
              <a:gd name="connsiteY1473" fmla="*/ 3610951 h 6858000"/>
              <a:gd name="connsiteX1474" fmla="*/ 2647339 w 5794893"/>
              <a:gd name="connsiteY1474" fmla="*/ 3637990 h 6858000"/>
              <a:gd name="connsiteX1475" fmla="*/ 2534268 w 5794893"/>
              <a:gd name="connsiteY1475" fmla="*/ 3610951 h 6858000"/>
              <a:gd name="connsiteX1476" fmla="*/ 2528122 w 5794893"/>
              <a:gd name="connsiteY1476" fmla="*/ 3642906 h 6858000"/>
              <a:gd name="connsiteX1477" fmla="*/ 2416280 w 5794893"/>
              <a:gd name="connsiteY1477" fmla="*/ 3610951 h 6858000"/>
              <a:gd name="connsiteX1478" fmla="*/ 2408906 w 5794893"/>
              <a:gd name="connsiteY1478" fmla="*/ 3646593 h 6858000"/>
              <a:gd name="connsiteX1479" fmla="*/ 2298293 w 5794893"/>
              <a:gd name="connsiteY1479" fmla="*/ 3610951 h 6858000"/>
              <a:gd name="connsiteX1480" fmla="*/ 2288461 w 5794893"/>
              <a:gd name="connsiteY1480" fmla="*/ 3650280 h 6858000"/>
              <a:gd name="connsiteX1481" fmla="*/ 2180306 w 5794893"/>
              <a:gd name="connsiteY1481" fmla="*/ 3610951 h 6858000"/>
              <a:gd name="connsiteX1482" fmla="*/ 2168015 w 5794893"/>
              <a:gd name="connsiteY1482" fmla="*/ 3655197 h 6858000"/>
              <a:gd name="connsiteX1483" fmla="*/ 2062319 w 5794893"/>
              <a:gd name="connsiteY1483" fmla="*/ 3610951 h 6858000"/>
              <a:gd name="connsiteX1484" fmla="*/ 2046340 w 5794893"/>
              <a:gd name="connsiteY1484" fmla="*/ 3660113 h 6858000"/>
              <a:gd name="connsiteX1485" fmla="*/ 1944331 w 5794893"/>
              <a:gd name="connsiteY1485" fmla="*/ 3610951 h 6858000"/>
              <a:gd name="connsiteX1486" fmla="*/ 1924667 w 5794893"/>
              <a:gd name="connsiteY1486" fmla="*/ 3663799 h 6858000"/>
              <a:gd name="connsiteX1487" fmla="*/ 1826344 w 5794893"/>
              <a:gd name="connsiteY1487" fmla="*/ 3610951 h 6858000"/>
              <a:gd name="connsiteX1488" fmla="*/ 1801763 w 5794893"/>
              <a:gd name="connsiteY1488" fmla="*/ 3668715 h 6858000"/>
              <a:gd name="connsiteX1489" fmla="*/ 1708357 w 5794893"/>
              <a:gd name="connsiteY1489" fmla="*/ 3610951 h 6858000"/>
              <a:gd name="connsiteX1490" fmla="*/ 1678860 w 5794893"/>
              <a:gd name="connsiteY1490" fmla="*/ 3673631 h 6858000"/>
              <a:gd name="connsiteX1491" fmla="*/ 1590370 w 5794893"/>
              <a:gd name="connsiteY1491" fmla="*/ 3610951 h 6858000"/>
              <a:gd name="connsiteX1492" fmla="*/ 1556054 w 5794893"/>
              <a:gd name="connsiteY1492" fmla="*/ 3672481 h 6858000"/>
              <a:gd name="connsiteX1493" fmla="*/ 1476069 w 5794893"/>
              <a:gd name="connsiteY1493" fmla="*/ 3608493 h 6858000"/>
              <a:gd name="connsiteX1494" fmla="*/ 1439198 w 5794893"/>
              <a:gd name="connsiteY1494" fmla="*/ 3667487 h 6858000"/>
              <a:gd name="connsiteX1495" fmla="*/ 1555957 w 5794893"/>
              <a:gd name="connsiteY1495" fmla="*/ 3760894 h 6858000"/>
              <a:gd name="connsiteX1496" fmla="*/ 1592828 w 5794893"/>
              <a:gd name="connsiteY1496" fmla="*/ 3701900 h 6858000"/>
              <a:gd name="connsiteX1497" fmla="*/ 1588815 w 5794893"/>
              <a:gd name="connsiteY1497" fmla="*/ 3698689 h 6858000"/>
              <a:gd name="connsiteX1498" fmla="*/ 1681318 w 5794893"/>
              <a:gd name="connsiteY1498" fmla="*/ 3763352 h 6858000"/>
              <a:gd name="connsiteX1499" fmla="*/ 1714501 w 5794893"/>
              <a:gd name="connsiteY1499" fmla="*/ 3703128 h 6858000"/>
              <a:gd name="connsiteX1500" fmla="*/ 1811596 w 5794893"/>
              <a:gd name="connsiteY1500" fmla="*/ 3763352 h 6858000"/>
              <a:gd name="connsiteX1501" fmla="*/ 1838634 w 5794893"/>
              <a:gd name="connsiteY1501" fmla="*/ 3708044 h 6858000"/>
              <a:gd name="connsiteX1502" fmla="*/ 1941873 w 5794893"/>
              <a:gd name="connsiteY1502" fmla="*/ 3763352 h 6858000"/>
              <a:gd name="connsiteX1503" fmla="*/ 1963996 w 5794893"/>
              <a:gd name="connsiteY1503" fmla="*/ 3711732 h 6858000"/>
              <a:gd name="connsiteX1504" fmla="*/ 2072151 w 5794893"/>
              <a:gd name="connsiteY1504" fmla="*/ 3763352 h 6858000"/>
              <a:gd name="connsiteX1505" fmla="*/ 2089357 w 5794893"/>
              <a:gd name="connsiteY1505" fmla="*/ 3716648 h 6858000"/>
              <a:gd name="connsiteX1506" fmla="*/ 2201199 w 5794893"/>
              <a:gd name="connsiteY1506" fmla="*/ 3763352 h 6858000"/>
              <a:gd name="connsiteX1507" fmla="*/ 2214719 w 5794893"/>
              <a:gd name="connsiteY1507" fmla="*/ 3720335 h 6858000"/>
              <a:gd name="connsiteX1508" fmla="*/ 2330248 w 5794893"/>
              <a:gd name="connsiteY1508" fmla="*/ 3763352 h 6858000"/>
              <a:gd name="connsiteX1509" fmla="*/ 2341309 w 5794893"/>
              <a:gd name="connsiteY1509" fmla="*/ 3725251 h 6858000"/>
              <a:gd name="connsiteX1510" fmla="*/ 2460525 w 5794893"/>
              <a:gd name="connsiteY1510" fmla="*/ 3763352 h 6858000"/>
              <a:gd name="connsiteX1511" fmla="*/ 2469128 w 5794893"/>
              <a:gd name="connsiteY1511" fmla="*/ 3728939 h 6858000"/>
              <a:gd name="connsiteX1512" fmla="*/ 2590803 w 5794893"/>
              <a:gd name="connsiteY1512" fmla="*/ 3763352 h 6858000"/>
              <a:gd name="connsiteX1513" fmla="*/ 2596948 w 5794893"/>
              <a:gd name="connsiteY1513" fmla="*/ 3733855 h 6858000"/>
              <a:gd name="connsiteX1514" fmla="*/ 2719851 w 5794893"/>
              <a:gd name="connsiteY1514" fmla="*/ 3763352 h 6858000"/>
              <a:gd name="connsiteX1515" fmla="*/ 2724767 w 5794893"/>
              <a:gd name="connsiteY1515" fmla="*/ 3737541 h 6858000"/>
              <a:gd name="connsiteX1516" fmla="*/ 2850129 w 5794893"/>
              <a:gd name="connsiteY1516" fmla="*/ 3763352 h 6858000"/>
              <a:gd name="connsiteX1517" fmla="*/ 2853816 w 5794893"/>
              <a:gd name="connsiteY1517" fmla="*/ 3741229 h 6858000"/>
              <a:gd name="connsiteX1518" fmla="*/ 2980406 w 5794893"/>
              <a:gd name="connsiteY1518" fmla="*/ 3763352 h 6858000"/>
              <a:gd name="connsiteX1519" fmla="*/ 2982864 w 5794893"/>
              <a:gd name="connsiteY1519" fmla="*/ 3744915 h 6858000"/>
              <a:gd name="connsiteX1520" fmla="*/ 3109455 w 5794893"/>
              <a:gd name="connsiteY1520" fmla="*/ 3763352 h 6858000"/>
              <a:gd name="connsiteX1521" fmla="*/ 3110684 w 5794893"/>
              <a:gd name="connsiteY1521" fmla="*/ 3747373 h 6858000"/>
              <a:gd name="connsiteX1522" fmla="*/ 3238503 w 5794893"/>
              <a:gd name="connsiteY1522" fmla="*/ 3763352 h 6858000"/>
              <a:gd name="connsiteX1523" fmla="*/ 3239733 w 5794893"/>
              <a:gd name="connsiteY1523" fmla="*/ 3751061 h 6858000"/>
              <a:gd name="connsiteX1524" fmla="*/ 3368781 w 5794893"/>
              <a:gd name="connsiteY1524" fmla="*/ 3763352 h 6858000"/>
              <a:gd name="connsiteX1525" fmla="*/ 3370010 w 5794893"/>
              <a:gd name="connsiteY1525" fmla="*/ 3753519 h 6858000"/>
              <a:gd name="connsiteX1526" fmla="*/ 3499058 w 5794893"/>
              <a:gd name="connsiteY1526" fmla="*/ 3763352 h 6858000"/>
              <a:gd name="connsiteX1527" fmla="*/ 3499058 w 5794893"/>
              <a:gd name="connsiteY1527" fmla="*/ 3755977 h 6858000"/>
              <a:gd name="connsiteX1528" fmla="*/ 3628107 w 5794893"/>
              <a:gd name="connsiteY1528" fmla="*/ 3763352 h 6858000"/>
              <a:gd name="connsiteX1529" fmla="*/ 3628107 w 5794893"/>
              <a:gd name="connsiteY1529" fmla="*/ 3759664 h 6858000"/>
              <a:gd name="connsiteX1530" fmla="*/ 3636710 w 5794893"/>
              <a:gd name="connsiteY1530" fmla="*/ 3759664 h 6858000"/>
              <a:gd name="connsiteX1531" fmla="*/ 3716598 w 5794893"/>
              <a:gd name="connsiteY1531" fmla="*/ 3762122 h 6858000"/>
              <a:gd name="connsiteX1532" fmla="*/ 3716598 w 5794893"/>
              <a:gd name="connsiteY1532" fmla="*/ 3763352 h 6858000"/>
              <a:gd name="connsiteX1533" fmla="*/ 5577355 w 5794893"/>
              <a:gd name="connsiteY1533" fmla="*/ 3802681 h 6858000"/>
              <a:gd name="connsiteX1534" fmla="*/ 3716598 w 5794893"/>
              <a:gd name="connsiteY1534" fmla="*/ 3802681 h 6858000"/>
              <a:gd name="connsiteX1535" fmla="*/ 3717826 w 5794893"/>
              <a:gd name="connsiteY1535" fmla="*/ 3805139 h 6858000"/>
              <a:gd name="connsiteX1536" fmla="*/ 3599839 w 5794893"/>
              <a:gd name="connsiteY1536" fmla="*/ 3802681 h 6858000"/>
              <a:gd name="connsiteX1537" fmla="*/ 3599839 w 5794893"/>
              <a:gd name="connsiteY1537" fmla="*/ 3806367 h 6858000"/>
              <a:gd name="connsiteX1538" fmla="*/ 3481852 w 5794893"/>
              <a:gd name="connsiteY1538" fmla="*/ 3802681 h 6858000"/>
              <a:gd name="connsiteX1539" fmla="*/ 3481852 w 5794893"/>
              <a:gd name="connsiteY1539" fmla="*/ 3808825 h 6858000"/>
              <a:gd name="connsiteX1540" fmla="*/ 3363865 w 5794893"/>
              <a:gd name="connsiteY1540" fmla="*/ 3802681 h 6858000"/>
              <a:gd name="connsiteX1541" fmla="*/ 3363865 w 5794893"/>
              <a:gd name="connsiteY1541" fmla="*/ 3811283 h 6858000"/>
              <a:gd name="connsiteX1542" fmla="*/ 3245877 w 5794893"/>
              <a:gd name="connsiteY1542" fmla="*/ 3802681 h 6858000"/>
              <a:gd name="connsiteX1543" fmla="*/ 3245877 w 5794893"/>
              <a:gd name="connsiteY1543" fmla="*/ 3813741 h 6858000"/>
              <a:gd name="connsiteX1544" fmla="*/ 3127890 w 5794893"/>
              <a:gd name="connsiteY1544" fmla="*/ 3802681 h 6858000"/>
              <a:gd name="connsiteX1545" fmla="*/ 3126662 w 5794893"/>
              <a:gd name="connsiteY1545" fmla="*/ 3817429 h 6858000"/>
              <a:gd name="connsiteX1546" fmla="*/ 3008674 w 5794893"/>
              <a:gd name="connsiteY1546" fmla="*/ 3802681 h 6858000"/>
              <a:gd name="connsiteX1547" fmla="*/ 3007445 w 5794893"/>
              <a:gd name="connsiteY1547" fmla="*/ 3819887 h 6858000"/>
              <a:gd name="connsiteX1548" fmla="*/ 2890687 w 5794893"/>
              <a:gd name="connsiteY1548" fmla="*/ 3802681 h 6858000"/>
              <a:gd name="connsiteX1549" fmla="*/ 2888229 w 5794893"/>
              <a:gd name="connsiteY1549" fmla="*/ 3823574 h 6858000"/>
              <a:gd name="connsiteX1550" fmla="*/ 2772700 w 5794893"/>
              <a:gd name="connsiteY1550" fmla="*/ 3802681 h 6858000"/>
              <a:gd name="connsiteX1551" fmla="*/ 2769012 w 5794893"/>
              <a:gd name="connsiteY1551" fmla="*/ 3826032 h 6858000"/>
              <a:gd name="connsiteX1552" fmla="*/ 2654713 w 5794893"/>
              <a:gd name="connsiteY1552" fmla="*/ 3802681 h 6858000"/>
              <a:gd name="connsiteX1553" fmla="*/ 2649797 w 5794893"/>
              <a:gd name="connsiteY1553" fmla="*/ 3829719 h 6858000"/>
              <a:gd name="connsiteX1554" fmla="*/ 2536726 w 5794893"/>
              <a:gd name="connsiteY1554" fmla="*/ 3802681 h 6858000"/>
              <a:gd name="connsiteX1555" fmla="*/ 2530580 w 5794893"/>
              <a:gd name="connsiteY1555" fmla="*/ 3833406 h 6858000"/>
              <a:gd name="connsiteX1556" fmla="*/ 2418738 w 5794893"/>
              <a:gd name="connsiteY1556" fmla="*/ 3802681 h 6858000"/>
              <a:gd name="connsiteX1557" fmla="*/ 2411364 w 5794893"/>
              <a:gd name="connsiteY1557" fmla="*/ 3838322 h 6858000"/>
              <a:gd name="connsiteX1558" fmla="*/ 2300751 w 5794893"/>
              <a:gd name="connsiteY1558" fmla="*/ 3802681 h 6858000"/>
              <a:gd name="connsiteX1559" fmla="*/ 2290919 w 5794893"/>
              <a:gd name="connsiteY1559" fmla="*/ 3842010 h 6858000"/>
              <a:gd name="connsiteX1560" fmla="*/ 2182764 w 5794893"/>
              <a:gd name="connsiteY1560" fmla="*/ 3802681 h 6858000"/>
              <a:gd name="connsiteX1561" fmla="*/ 2170474 w 5794893"/>
              <a:gd name="connsiteY1561" fmla="*/ 3846926 h 6858000"/>
              <a:gd name="connsiteX1562" fmla="*/ 2064777 w 5794893"/>
              <a:gd name="connsiteY1562" fmla="*/ 3802681 h 6858000"/>
              <a:gd name="connsiteX1563" fmla="*/ 2048799 w 5794893"/>
              <a:gd name="connsiteY1563" fmla="*/ 3851842 h 6858000"/>
              <a:gd name="connsiteX1564" fmla="*/ 1946789 w 5794893"/>
              <a:gd name="connsiteY1564" fmla="*/ 3802681 h 6858000"/>
              <a:gd name="connsiteX1565" fmla="*/ 1927125 w 5794893"/>
              <a:gd name="connsiteY1565" fmla="*/ 3855528 h 6858000"/>
              <a:gd name="connsiteX1566" fmla="*/ 1828802 w 5794893"/>
              <a:gd name="connsiteY1566" fmla="*/ 3802681 h 6858000"/>
              <a:gd name="connsiteX1567" fmla="*/ 1804221 w 5794893"/>
              <a:gd name="connsiteY1567" fmla="*/ 3860445 h 6858000"/>
              <a:gd name="connsiteX1568" fmla="*/ 1710815 w 5794893"/>
              <a:gd name="connsiteY1568" fmla="*/ 3802681 h 6858000"/>
              <a:gd name="connsiteX1569" fmla="*/ 1681318 w 5794893"/>
              <a:gd name="connsiteY1569" fmla="*/ 3864132 h 6858000"/>
              <a:gd name="connsiteX1570" fmla="*/ 1592828 w 5794893"/>
              <a:gd name="connsiteY1570" fmla="*/ 3802681 h 6858000"/>
              <a:gd name="connsiteX1571" fmla="*/ 1557754 w 5794893"/>
              <a:gd name="connsiteY1571" fmla="*/ 3865570 h 6858000"/>
              <a:gd name="connsiteX1572" fmla="*/ 1476069 w 5794893"/>
              <a:gd name="connsiteY1572" fmla="*/ 3800223 h 6858000"/>
              <a:gd name="connsiteX1573" fmla="*/ 1439198 w 5794893"/>
              <a:gd name="connsiteY1573" fmla="*/ 3859216 h 6858000"/>
              <a:gd name="connsiteX1574" fmla="*/ 1555957 w 5794893"/>
              <a:gd name="connsiteY1574" fmla="*/ 3952623 h 6858000"/>
              <a:gd name="connsiteX1575" fmla="*/ 1592828 w 5794893"/>
              <a:gd name="connsiteY1575" fmla="*/ 3893629 h 6858000"/>
              <a:gd name="connsiteX1576" fmla="*/ 1571795 w 5794893"/>
              <a:gd name="connsiteY1576" fmla="*/ 3876803 h 6858000"/>
              <a:gd name="connsiteX1577" fmla="*/ 1683776 w 5794893"/>
              <a:gd name="connsiteY1577" fmla="*/ 3955081 h 6858000"/>
              <a:gd name="connsiteX1578" fmla="*/ 1716959 w 5794893"/>
              <a:gd name="connsiteY1578" fmla="*/ 3894858 h 6858000"/>
              <a:gd name="connsiteX1579" fmla="*/ 1814054 w 5794893"/>
              <a:gd name="connsiteY1579" fmla="*/ 3955081 h 6858000"/>
              <a:gd name="connsiteX1580" fmla="*/ 1841092 w 5794893"/>
              <a:gd name="connsiteY1580" fmla="*/ 3899774 h 6858000"/>
              <a:gd name="connsiteX1581" fmla="*/ 1944331 w 5794893"/>
              <a:gd name="connsiteY1581" fmla="*/ 3955081 h 6858000"/>
              <a:gd name="connsiteX1582" fmla="*/ 1966454 w 5794893"/>
              <a:gd name="connsiteY1582" fmla="*/ 3903461 h 6858000"/>
              <a:gd name="connsiteX1583" fmla="*/ 2074609 w 5794893"/>
              <a:gd name="connsiteY1583" fmla="*/ 3955081 h 6858000"/>
              <a:gd name="connsiteX1584" fmla="*/ 2091815 w 5794893"/>
              <a:gd name="connsiteY1584" fmla="*/ 3908378 h 6858000"/>
              <a:gd name="connsiteX1585" fmla="*/ 2203657 w 5794893"/>
              <a:gd name="connsiteY1585" fmla="*/ 3955081 h 6858000"/>
              <a:gd name="connsiteX1586" fmla="*/ 2217177 w 5794893"/>
              <a:gd name="connsiteY1586" fmla="*/ 3912064 h 6858000"/>
              <a:gd name="connsiteX1587" fmla="*/ 2332706 w 5794893"/>
              <a:gd name="connsiteY1587" fmla="*/ 3955081 h 6858000"/>
              <a:gd name="connsiteX1588" fmla="*/ 2343767 w 5794893"/>
              <a:gd name="connsiteY1588" fmla="*/ 3916980 h 6858000"/>
              <a:gd name="connsiteX1589" fmla="*/ 2462984 w 5794893"/>
              <a:gd name="connsiteY1589" fmla="*/ 3955081 h 6858000"/>
              <a:gd name="connsiteX1590" fmla="*/ 2471586 w 5794893"/>
              <a:gd name="connsiteY1590" fmla="*/ 3920668 h 6858000"/>
              <a:gd name="connsiteX1591" fmla="*/ 2593261 w 5794893"/>
              <a:gd name="connsiteY1591" fmla="*/ 3955081 h 6858000"/>
              <a:gd name="connsiteX1592" fmla="*/ 2599406 w 5794893"/>
              <a:gd name="connsiteY1592" fmla="*/ 3925584 h 6858000"/>
              <a:gd name="connsiteX1593" fmla="*/ 2722309 w 5794893"/>
              <a:gd name="connsiteY1593" fmla="*/ 3955081 h 6858000"/>
              <a:gd name="connsiteX1594" fmla="*/ 2727225 w 5794893"/>
              <a:gd name="connsiteY1594" fmla="*/ 3929270 h 6858000"/>
              <a:gd name="connsiteX1595" fmla="*/ 2851358 w 5794893"/>
              <a:gd name="connsiteY1595" fmla="*/ 3955081 h 6858000"/>
              <a:gd name="connsiteX1596" fmla="*/ 2855045 w 5794893"/>
              <a:gd name="connsiteY1596" fmla="*/ 3932958 h 6858000"/>
              <a:gd name="connsiteX1597" fmla="*/ 2981636 w 5794893"/>
              <a:gd name="connsiteY1597" fmla="*/ 3955081 h 6858000"/>
              <a:gd name="connsiteX1598" fmla="*/ 2984094 w 5794893"/>
              <a:gd name="connsiteY1598" fmla="*/ 3936645 h 6858000"/>
              <a:gd name="connsiteX1599" fmla="*/ 3110684 w 5794893"/>
              <a:gd name="connsiteY1599" fmla="*/ 3955081 h 6858000"/>
              <a:gd name="connsiteX1600" fmla="*/ 3111913 w 5794893"/>
              <a:gd name="connsiteY1600" fmla="*/ 3939103 h 6858000"/>
              <a:gd name="connsiteX1601" fmla="*/ 3239733 w 5794893"/>
              <a:gd name="connsiteY1601" fmla="*/ 3955081 h 6858000"/>
              <a:gd name="connsiteX1602" fmla="*/ 3240961 w 5794893"/>
              <a:gd name="connsiteY1602" fmla="*/ 3942790 h 6858000"/>
              <a:gd name="connsiteX1603" fmla="*/ 3370010 w 5794893"/>
              <a:gd name="connsiteY1603" fmla="*/ 3955081 h 6858000"/>
              <a:gd name="connsiteX1604" fmla="*/ 3371239 w 5794893"/>
              <a:gd name="connsiteY1604" fmla="*/ 3945249 h 6858000"/>
              <a:gd name="connsiteX1605" fmla="*/ 3500288 w 5794893"/>
              <a:gd name="connsiteY1605" fmla="*/ 3955081 h 6858000"/>
              <a:gd name="connsiteX1606" fmla="*/ 3500288 w 5794893"/>
              <a:gd name="connsiteY1606" fmla="*/ 3947707 h 6858000"/>
              <a:gd name="connsiteX1607" fmla="*/ 3629336 w 5794893"/>
              <a:gd name="connsiteY1607" fmla="*/ 3955081 h 6858000"/>
              <a:gd name="connsiteX1608" fmla="*/ 3629336 w 5794893"/>
              <a:gd name="connsiteY1608" fmla="*/ 3950165 h 6858000"/>
              <a:gd name="connsiteX1609" fmla="*/ 3637940 w 5794893"/>
              <a:gd name="connsiteY1609" fmla="*/ 3950165 h 6858000"/>
              <a:gd name="connsiteX1610" fmla="*/ 3717826 w 5794893"/>
              <a:gd name="connsiteY1610" fmla="*/ 3952623 h 6858000"/>
              <a:gd name="connsiteX1611" fmla="*/ 3717826 w 5794893"/>
              <a:gd name="connsiteY1611" fmla="*/ 3953851 h 6858000"/>
              <a:gd name="connsiteX1612" fmla="*/ 5794893 w 5794893"/>
              <a:gd name="connsiteY1612" fmla="*/ 3996868 h 6858000"/>
              <a:gd name="connsiteX1613" fmla="*/ 3719056 w 5794893"/>
              <a:gd name="connsiteY1613" fmla="*/ 3996868 h 6858000"/>
              <a:gd name="connsiteX1614" fmla="*/ 3719056 w 5794893"/>
              <a:gd name="connsiteY1614" fmla="*/ 3999326 h 6858000"/>
              <a:gd name="connsiteX1615" fmla="*/ 3601069 w 5794893"/>
              <a:gd name="connsiteY1615" fmla="*/ 3996868 h 6858000"/>
              <a:gd name="connsiteX1616" fmla="*/ 3601069 w 5794893"/>
              <a:gd name="connsiteY1616" fmla="*/ 4000554 h 6858000"/>
              <a:gd name="connsiteX1617" fmla="*/ 3483081 w 5794893"/>
              <a:gd name="connsiteY1617" fmla="*/ 3996868 h 6858000"/>
              <a:gd name="connsiteX1618" fmla="*/ 3483081 w 5794893"/>
              <a:gd name="connsiteY1618" fmla="*/ 4003012 h 6858000"/>
              <a:gd name="connsiteX1619" fmla="*/ 3365094 w 5794893"/>
              <a:gd name="connsiteY1619" fmla="*/ 3996868 h 6858000"/>
              <a:gd name="connsiteX1620" fmla="*/ 3365094 w 5794893"/>
              <a:gd name="connsiteY1620" fmla="*/ 4005471 h 6858000"/>
              <a:gd name="connsiteX1621" fmla="*/ 3247107 w 5794893"/>
              <a:gd name="connsiteY1621" fmla="*/ 3996868 h 6858000"/>
              <a:gd name="connsiteX1622" fmla="*/ 3247107 w 5794893"/>
              <a:gd name="connsiteY1622" fmla="*/ 4007929 h 6858000"/>
              <a:gd name="connsiteX1623" fmla="*/ 3129120 w 5794893"/>
              <a:gd name="connsiteY1623" fmla="*/ 3996868 h 6858000"/>
              <a:gd name="connsiteX1624" fmla="*/ 3127890 w 5794893"/>
              <a:gd name="connsiteY1624" fmla="*/ 4011616 h 6858000"/>
              <a:gd name="connsiteX1625" fmla="*/ 3009903 w 5794893"/>
              <a:gd name="connsiteY1625" fmla="*/ 3998096 h 6858000"/>
              <a:gd name="connsiteX1626" fmla="*/ 3008674 w 5794893"/>
              <a:gd name="connsiteY1626" fmla="*/ 4015303 h 6858000"/>
              <a:gd name="connsiteX1627" fmla="*/ 2891916 w 5794893"/>
              <a:gd name="connsiteY1627" fmla="*/ 3998096 h 6858000"/>
              <a:gd name="connsiteX1628" fmla="*/ 2889458 w 5794893"/>
              <a:gd name="connsiteY1628" fmla="*/ 4018991 h 6858000"/>
              <a:gd name="connsiteX1629" fmla="*/ 2773928 w 5794893"/>
              <a:gd name="connsiteY1629" fmla="*/ 3998096 h 6858000"/>
              <a:gd name="connsiteX1630" fmla="*/ 2770242 w 5794893"/>
              <a:gd name="connsiteY1630" fmla="*/ 4022677 h 6858000"/>
              <a:gd name="connsiteX1631" fmla="*/ 2655941 w 5794893"/>
              <a:gd name="connsiteY1631" fmla="*/ 3998096 h 6858000"/>
              <a:gd name="connsiteX1632" fmla="*/ 2651025 w 5794893"/>
              <a:gd name="connsiteY1632" fmla="*/ 4025135 h 6858000"/>
              <a:gd name="connsiteX1633" fmla="*/ 2537954 w 5794893"/>
              <a:gd name="connsiteY1633" fmla="*/ 3998096 h 6858000"/>
              <a:gd name="connsiteX1634" fmla="*/ 2531809 w 5794893"/>
              <a:gd name="connsiteY1634" fmla="*/ 4028823 h 6858000"/>
              <a:gd name="connsiteX1635" fmla="*/ 2419967 w 5794893"/>
              <a:gd name="connsiteY1635" fmla="*/ 3998096 h 6858000"/>
              <a:gd name="connsiteX1636" fmla="*/ 2412593 w 5794893"/>
              <a:gd name="connsiteY1636" fmla="*/ 4033739 h 6858000"/>
              <a:gd name="connsiteX1637" fmla="*/ 2301980 w 5794893"/>
              <a:gd name="connsiteY1637" fmla="*/ 3998096 h 6858000"/>
              <a:gd name="connsiteX1638" fmla="*/ 2292147 w 5794893"/>
              <a:gd name="connsiteY1638" fmla="*/ 4037425 h 6858000"/>
              <a:gd name="connsiteX1639" fmla="*/ 2183992 w 5794893"/>
              <a:gd name="connsiteY1639" fmla="*/ 3998096 h 6858000"/>
              <a:gd name="connsiteX1640" fmla="*/ 2171702 w 5794893"/>
              <a:gd name="connsiteY1640" fmla="*/ 4042342 h 6858000"/>
              <a:gd name="connsiteX1641" fmla="*/ 2066005 w 5794893"/>
              <a:gd name="connsiteY1641" fmla="*/ 3998096 h 6858000"/>
              <a:gd name="connsiteX1642" fmla="*/ 2050028 w 5794893"/>
              <a:gd name="connsiteY1642" fmla="*/ 4047258 h 6858000"/>
              <a:gd name="connsiteX1643" fmla="*/ 1948018 w 5794893"/>
              <a:gd name="connsiteY1643" fmla="*/ 3998096 h 6858000"/>
              <a:gd name="connsiteX1644" fmla="*/ 1928353 w 5794893"/>
              <a:gd name="connsiteY1644" fmla="*/ 4050945 h 6858000"/>
              <a:gd name="connsiteX1645" fmla="*/ 1830031 w 5794893"/>
              <a:gd name="connsiteY1645" fmla="*/ 3998096 h 6858000"/>
              <a:gd name="connsiteX1646" fmla="*/ 1805450 w 5794893"/>
              <a:gd name="connsiteY1646" fmla="*/ 4055862 h 6858000"/>
              <a:gd name="connsiteX1647" fmla="*/ 1712043 w 5794893"/>
              <a:gd name="connsiteY1647" fmla="*/ 3998096 h 6858000"/>
              <a:gd name="connsiteX1648" fmla="*/ 1682547 w 5794893"/>
              <a:gd name="connsiteY1648" fmla="*/ 4060778 h 6858000"/>
              <a:gd name="connsiteX1649" fmla="*/ 1594056 w 5794893"/>
              <a:gd name="connsiteY1649" fmla="*/ 3998096 h 6858000"/>
              <a:gd name="connsiteX1650" fmla="*/ 1559643 w 5794893"/>
              <a:gd name="connsiteY1650" fmla="*/ 4060778 h 6858000"/>
              <a:gd name="connsiteX1651" fmla="*/ 1476069 w 5794893"/>
              <a:gd name="connsiteY1651" fmla="*/ 3993180 h 6858000"/>
              <a:gd name="connsiteX1652" fmla="*/ 1439198 w 5794893"/>
              <a:gd name="connsiteY1652" fmla="*/ 4052174 h 6858000"/>
              <a:gd name="connsiteX1653" fmla="*/ 1441656 w 5794893"/>
              <a:gd name="connsiteY1653" fmla="*/ 4054632 h 6858000"/>
              <a:gd name="connsiteX1654" fmla="*/ 1440428 w 5794893"/>
              <a:gd name="connsiteY1654" fmla="*/ 4057090 h 6858000"/>
              <a:gd name="connsiteX1655" fmla="*/ 1557185 w 5794893"/>
              <a:gd name="connsiteY1655" fmla="*/ 4150497 h 6858000"/>
              <a:gd name="connsiteX1656" fmla="*/ 1594056 w 5794893"/>
              <a:gd name="connsiteY1656" fmla="*/ 4091503 h 6858000"/>
              <a:gd name="connsiteX1657" fmla="*/ 1591598 w 5794893"/>
              <a:gd name="connsiteY1657" fmla="*/ 4090275 h 6858000"/>
              <a:gd name="connsiteX1658" fmla="*/ 1592828 w 5794893"/>
              <a:gd name="connsiteY1658" fmla="*/ 4087816 h 6858000"/>
              <a:gd name="connsiteX1659" fmla="*/ 1580537 w 5794893"/>
              <a:gd name="connsiteY1659" fmla="*/ 4077984 h 6858000"/>
              <a:gd name="connsiteX1660" fmla="*/ 1686234 w 5794893"/>
              <a:gd name="connsiteY1660" fmla="*/ 4151726 h 6858000"/>
              <a:gd name="connsiteX1661" fmla="*/ 1719418 w 5794893"/>
              <a:gd name="connsiteY1661" fmla="*/ 4091503 h 6858000"/>
              <a:gd name="connsiteX1662" fmla="*/ 1816512 w 5794893"/>
              <a:gd name="connsiteY1662" fmla="*/ 4151726 h 6858000"/>
              <a:gd name="connsiteX1663" fmla="*/ 1843551 w 5794893"/>
              <a:gd name="connsiteY1663" fmla="*/ 4096419 h 6858000"/>
              <a:gd name="connsiteX1664" fmla="*/ 1946789 w 5794893"/>
              <a:gd name="connsiteY1664" fmla="*/ 4151726 h 6858000"/>
              <a:gd name="connsiteX1665" fmla="*/ 1968912 w 5794893"/>
              <a:gd name="connsiteY1665" fmla="*/ 4100107 h 6858000"/>
              <a:gd name="connsiteX1666" fmla="*/ 2077067 w 5794893"/>
              <a:gd name="connsiteY1666" fmla="*/ 4151726 h 6858000"/>
              <a:gd name="connsiteX1667" fmla="*/ 2094273 w 5794893"/>
              <a:gd name="connsiteY1667" fmla="*/ 4105023 h 6858000"/>
              <a:gd name="connsiteX1668" fmla="*/ 2206115 w 5794893"/>
              <a:gd name="connsiteY1668" fmla="*/ 4151726 h 6858000"/>
              <a:gd name="connsiteX1669" fmla="*/ 2219635 w 5794893"/>
              <a:gd name="connsiteY1669" fmla="*/ 4108709 h 6858000"/>
              <a:gd name="connsiteX1670" fmla="*/ 2335164 w 5794893"/>
              <a:gd name="connsiteY1670" fmla="*/ 4151726 h 6858000"/>
              <a:gd name="connsiteX1671" fmla="*/ 2346225 w 5794893"/>
              <a:gd name="connsiteY1671" fmla="*/ 4113625 h 6858000"/>
              <a:gd name="connsiteX1672" fmla="*/ 2465442 w 5794893"/>
              <a:gd name="connsiteY1672" fmla="*/ 4151726 h 6858000"/>
              <a:gd name="connsiteX1673" fmla="*/ 2474044 w 5794893"/>
              <a:gd name="connsiteY1673" fmla="*/ 4117313 h 6858000"/>
              <a:gd name="connsiteX1674" fmla="*/ 2595719 w 5794893"/>
              <a:gd name="connsiteY1674" fmla="*/ 4151726 h 6858000"/>
              <a:gd name="connsiteX1675" fmla="*/ 2601864 w 5794893"/>
              <a:gd name="connsiteY1675" fmla="*/ 4122229 h 6858000"/>
              <a:gd name="connsiteX1676" fmla="*/ 2724767 w 5794893"/>
              <a:gd name="connsiteY1676" fmla="*/ 4151726 h 6858000"/>
              <a:gd name="connsiteX1677" fmla="*/ 2729683 w 5794893"/>
              <a:gd name="connsiteY1677" fmla="*/ 4125916 h 6858000"/>
              <a:gd name="connsiteX1678" fmla="*/ 2853816 w 5794893"/>
              <a:gd name="connsiteY1678" fmla="*/ 4151726 h 6858000"/>
              <a:gd name="connsiteX1679" fmla="*/ 2857503 w 5794893"/>
              <a:gd name="connsiteY1679" fmla="*/ 4129604 h 6858000"/>
              <a:gd name="connsiteX1680" fmla="*/ 2984094 w 5794893"/>
              <a:gd name="connsiteY1680" fmla="*/ 4151726 h 6858000"/>
              <a:gd name="connsiteX1681" fmla="*/ 2986552 w 5794893"/>
              <a:gd name="connsiteY1681" fmla="*/ 4133290 h 6858000"/>
              <a:gd name="connsiteX1682" fmla="*/ 3113142 w 5794893"/>
              <a:gd name="connsiteY1682" fmla="*/ 4151726 h 6858000"/>
              <a:gd name="connsiteX1683" fmla="*/ 3114371 w 5794893"/>
              <a:gd name="connsiteY1683" fmla="*/ 4135748 h 6858000"/>
              <a:gd name="connsiteX1684" fmla="*/ 3242191 w 5794893"/>
              <a:gd name="connsiteY1684" fmla="*/ 4151726 h 6858000"/>
              <a:gd name="connsiteX1685" fmla="*/ 3243419 w 5794893"/>
              <a:gd name="connsiteY1685" fmla="*/ 4139436 h 6858000"/>
              <a:gd name="connsiteX1686" fmla="*/ 3372468 w 5794893"/>
              <a:gd name="connsiteY1686" fmla="*/ 4151726 h 6858000"/>
              <a:gd name="connsiteX1687" fmla="*/ 3373697 w 5794893"/>
              <a:gd name="connsiteY1687" fmla="*/ 4141894 h 6858000"/>
              <a:gd name="connsiteX1688" fmla="*/ 3502746 w 5794893"/>
              <a:gd name="connsiteY1688" fmla="*/ 4151726 h 6858000"/>
              <a:gd name="connsiteX1689" fmla="*/ 3502746 w 5794893"/>
              <a:gd name="connsiteY1689" fmla="*/ 4144352 h 6858000"/>
              <a:gd name="connsiteX1690" fmla="*/ 3631794 w 5794893"/>
              <a:gd name="connsiteY1690" fmla="*/ 4151726 h 6858000"/>
              <a:gd name="connsiteX1691" fmla="*/ 3631794 w 5794893"/>
              <a:gd name="connsiteY1691" fmla="*/ 4146810 h 6858000"/>
              <a:gd name="connsiteX1692" fmla="*/ 3640398 w 5794893"/>
              <a:gd name="connsiteY1692" fmla="*/ 4146810 h 6858000"/>
              <a:gd name="connsiteX1693" fmla="*/ 3720284 w 5794893"/>
              <a:gd name="connsiteY1693" fmla="*/ 4149268 h 6858000"/>
              <a:gd name="connsiteX1694" fmla="*/ 3720284 w 5794893"/>
              <a:gd name="connsiteY1694" fmla="*/ 4150497 h 6858000"/>
              <a:gd name="connsiteX1695" fmla="*/ 5696570 w 5794893"/>
              <a:gd name="connsiteY1695" fmla="*/ 4195972 h 6858000"/>
              <a:gd name="connsiteX1696" fmla="*/ 3720284 w 5794893"/>
              <a:gd name="connsiteY1696" fmla="*/ 4191055 h 6858000"/>
              <a:gd name="connsiteX1697" fmla="*/ 3720284 w 5794893"/>
              <a:gd name="connsiteY1697" fmla="*/ 4193513 h 6858000"/>
              <a:gd name="connsiteX1698" fmla="*/ 3602297 w 5794893"/>
              <a:gd name="connsiteY1698" fmla="*/ 4191055 h 6858000"/>
              <a:gd name="connsiteX1699" fmla="*/ 3602297 w 5794893"/>
              <a:gd name="connsiteY1699" fmla="*/ 4194742 h 6858000"/>
              <a:gd name="connsiteX1700" fmla="*/ 3484310 w 5794893"/>
              <a:gd name="connsiteY1700" fmla="*/ 4191055 h 6858000"/>
              <a:gd name="connsiteX1701" fmla="*/ 3484310 w 5794893"/>
              <a:gd name="connsiteY1701" fmla="*/ 4197200 h 6858000"/>
              <a:gd name="connsiteX1702" fmla="*/ 3366323 w 5794893"/>
              <a:gd name="connsiteY1702" fmla="*/ 4191055 h 6858000"/>
              <a:gd name="connsiteX1703" fmla="*/ 3366323 w 5794893"/>
              <a:gd name="connsiteY1703" fmla="*/ 4199658 h 6858000"/>
              <a:gd name="connsiteX1704" fmla="*/ 3248335 w 5794893"/>
              <a:gd name="connsiteY1704" fmla="*/ 4191055 h 6858000"/>
              <a:gd name="connsiteX1705" fmla="*/ 3248335 w 5794893"/>
              <a:gd name="connsiteY1705" fmla="*/ 4202116 h 6858000"/>
              <a:gd name="connsiteX1706" fmla="*/ 3130348 w 5794893"/>
              <a:gd name="connsiteY1706" fmla="*/ 4191055 h 6858000"/>
              <a:gd name="connsiteX1707" fmla="*/ 3129120 w 5794893"/>
              <a:gd name="connsiteY1707" fmla="*/ 4205804 h 6858000"/>
              <a:gd name="connsiteX1708" fmla="*/ 3011133 w 5794893"/>
              <a:gd name="connsiteY1708" fmla="*/ 4191055 h 6858000"/>
              <a:gd name="connsiteX1709" fmla="*/ 3009903 w 5794893"/>
              <a:gd name="connsiteY1709" fmla="*/ 4208262 h 6858000"/>
              <a:gd name="connsiteX1710" fmla="*/ 2893145 w 5794893"/>
              <a:gd name="connsiteY1710" fmla="*/ 4191055 h 6858000"/>
              <a:gd name="connsiteX1711" fmla="*/ 2890687 w 5794893"/>
              <a:gd name="connsiteY1711" fmla="*/ 4211948 h 6858000"/>
              <a:gd name="connsiteX1712" fmla="*/ 2775158 w 5794893"/>
              <a:gd name="connsiteY1712" fmla="*/ 4191055 h 6858000"/>
              <a:gd name="connsiteX1713" fmla="*/ 2771470 w 5794893"/>
              <a:gd name="connsiteY1713" fmla="*/ 4215636 h 6858000"/>
              <a:gd name="connsiteX1714" fmla="*/ 2657171 w 5794893"/>
              <a:gd name="connsiteY1714" fmla="*/ 4191055 h 6858000"/>
              <a:gd name="connsiteX1715" fmla="*/ 2652255 w 5794893"/>
              <a:gd name="connsiteY1715" fmla="*/ 4218094 h 6858000"/>
              <a:gd name="connsiteX1716" fmla="*/ 2539184 w 5794893"/>
              <a:gd name="connsiteY1716" fmla="*/ 4191055 h 6858000"/>
              <a:gd name="connsiteX1717" fmla="*/ 2533038 w 5794893"/>
              <a:gd name="connsiteY1717" fmla="*/ 4223010 h 6858000"/>
              <a:gd name="connsiteX1718" fmla="*/ 2421196 w 5794893"/>
              <a:gd name="connsiteY1718" fmla="*/ 4191055 h 6858000"/>
              <a:gd name="connsiteX1719" fmla="*/ 2413822 w 5794893"/>
              <a:gd name="connsiteY1719" fmla="*/ 4226697 h 6858000"/>
              <a:gd name="connsiteX1720" fmla="*/ 2303209 w 5794893"/>
              <a:gd name="connsiteY1720" fmla="*/ 4191055 h 6858000"/>
              <a:gd name="connsiteX1721" fmla="*/ 2293377 w 5794893"/>
              <a:gd name="connsiteY1721" fmla="*/ 4230384 h 6858000"/>
              <a:gd name="connsiteX1722" fmla="*/ 2185222 w 5794893"/>
              <a:gd name="connsiteY1722" fmla="*/ 4191055 h 6858000"/>
              <a:gd name="connsiteX1723" fmla="*/ 2172932 w 5794893"/>
              <a:gd name="connsiteY1723" fmla="*/ 4235301 h 6858000"/>
              <a:gd name="connsiteX1724" fmla="*/ 2067235 w 5794893"/>
              <a:gd name="connsiteY1724" fmla="*/ 4191055 h 6858000"/>
              <a:gd name="connsiteX1725" fmla="*/ 2051257 w 5794893"/>
              <a:gd name="connsiteY1725" fmla="*/ 4240217 h 6858000"/>
              <a:gd name="connsiteX1726" fmla="*/ 1949247 w 5794893"/>
              <a:gd name="connsiteY1726" fmla="*/ 4191055 h 6858000"/>
              <a:gd name="connsiteX1727" fmla="*/ 1929583 w 5794893"/>
              <a:gd name="connsiteY1727" fmla="*/ 4243903 h 6858000"/>
              <a:gd name="connsiteX1728" fmla="*/ 1831260 w 5794893"/>
              <a:gd name="connsiteY1728" fmla="*/ 4191055 h 6858000"/>
              <a:gd name="connsiteX1729" fmla="*/ 1806680 w 5794893"/>
              <a:gd name="connsiteY1729" fmla="*/ 4248819 h 6858000"/>
              <a:gd name="connsiteX1730" fmla="*/ 1713273 w 5794893"/>
              <a:gd name="connsiteY1730" fmla="*/ 4191055 h 6858000"/>
              <a:gd name="connsiteX1731" fmla="*/ 1683776 w 5794893"/>
              <a:gd name="connsiteY1731" fmla="*/ 4253735 h 6858000"/>
              <a:gd name="connsiteX1732" fmla="*/ 1595286 w 5794893"/>
              <a:gd name="connsiteY1732" fmla="*/ 4191055 h 6858000"/>
              <a:gd name="connsiteX1733" fmla="*/ 1559643 w 5794893"/>
              <a:gd name="connsiteY1733" fmla="*/ 4254965 h 6858000"/>
              <a:gd name="connsiteX1734" fmla="*/ 1685005 w 5794893"/>
              <a:gd name="connsiteY1734" fmla="*/ 4343456 h 6858000"/>
              <a:gd name="connsiteX1735" fmla="*/ 1718189 w 5794893"/>
              <a:gd name="connsiteY1735" fmla="*/ 4283232 h 6858000"/>
              <a:gd name="connsiteX1736" fmla="*/ 1815282 w 5794893"/>
              <a:gd name="connsiteY1736" fmla="*/ 4343456 h 6858000"/>
              <a:gd name="connsiteX1737" fmla="*/ 1842321 w 5794893"/>
              <a:gd name="connsiteY1737" fmla="*/ 4288148 h 6858000"/>
              <a:gd name="connsiteX1738" fmla="*/ 1945560 w 5794893"/>
              <a:gd name="connsiteY1738" fmla="*/ 4343456 h 6858000"/>
              <a:gd name="connsiteX1739" fmla="*/ 1967682 w 5794893"/>
              <a:gd name="connsiteY1739" fmla="*/ 4291836 h 6858000"/>
              <a:gd name="connsiteX1740" fmla="*/ 2075837 w 5794893"/>
              <a:gd name="connsiteY1740" fmla="*/ 4343456 h 6858000"/>
              <a:gd name="connsiteX1741" fmla="*/ 2093044 w 5794893"/>
              <a:gd name="connsiteY1741" fmla="*/ 4296752 h 6858000"/>
              <a:gd name="connsiteX1742" fmla="*/ 2204887 w 5794893"/>
              <a:gd name="connsiteY1742" fmla="*/ 4343456 h 6858000"/>
              <a:gd name="connsiteX1743" fmla="*/ 2218405 w 5794893"/>
              <a:gd name="connsiteY1743" fmla="*/ 4300439 h 6858000"/>
              <a:gd name="connsiteX1744" fmla="*/ 2333934 w 5794893"/>
              <a:gd name="connsiteY1744" fmla="*/ 4343456 h 6858000"/>
              <a:gd name="connsiteX1745" fmla="*/ 2344996 w 5794893"/>
              <a:gd name="connsiteY1745" fmla="*/ 4305355 h 6858000"/>
              <a:gd name="connsiteX1746" fmla="*/ 2464212 w 5794893"/>
              <a:gd name="connsiteY1746" fmla="*/ 4343456 h 6858000"/>
              <a:gd name="connsiteX1747" fmla="*/ 2472816 w 5794893"/>
              <a:gd name="connsiteY1747" fmla="*/ 4309043 h 6858000"/>
              <a:gd name="connsiteX1748" fmla="*/ 2593261 w 5794893"/>
              <a:gd name="connsiteY1748" fmla="*/ 4343456 h 6858000"/>
              <a:gd name="connsiteX1749" fmla="*/ 2598177 w 5794893"/>
              <a:gd name="connsiteY1749" fmla="*/ 4315187 h 6858000"/>
              <a:gd name="connsiteX1750" fmla="*/ 2721081 w 5794893"/>
              <a:gd name="connsiteY1750" fmla="*/ 4344684 h 6858000"/>
              <a:gd name="connsiteX1751" fmla="*/ 2725997 w 5794893"/>
              <a:gd name="connsiteY1751" fmla="*/ 4318875 h 6858000"/>
              <a:gd name="connsiteX1752" fmla="*/ 2851358 w 5794893"/>
              <a:gd name="connsiteY1752" fmla="*/ 4344684 h 6858000"/>
              <a:gd name="connsiteX1753" fmla="*/ 2855045 w 5794893"/>
              <a:gd name="connsiteY1753" fmla="*/ 4322561 h 6858000"/>
              <a:gd name="connsiteX1754" fmla="*/ 2981636 w 5794893"/>
              <a:gd name="connsiteY1754" fmla="*/ 4344684 h 6858000"/>
              <a:gd name="connsiteX1755" fmla="*/ 2984094 w 5794893"/>
              <a:gd name="connsiteY1755" fmla="*/ 4326249 h 6858000"/>
              <a:gd name="connsiteX1756" fmla="*/ 3110684 w 5794893"/>
              <a:gd name="connsiteY1756" fmla="*/ 4344684 h 6858000"/>
              <a:gd name="connsiteX1757" fmla="*/ 3113142 w 5794893"/>
              <a:gd name="connsiteY1757" fmla="*/ 4328707 h 6858000"/>
              <a:gd name="connsiteX1758" fmla="*/ 3240961 w 5794893"/>
              <a:gd name="connsiteY1758" fmla="*/ 4344684 h 6858000"/>
              <a:gd name="connsiteX1759" fmla="*/ 3242191 w 5794893"/>
              <a:gd name="connsiteY1759" fmla="*/ 4332394 h 6858000"/>
              <a:gd name="connsiteX1760" fmla="*/ 3371239 w 5794893"/>
              <a:gd name="connsiteY1760" fmla="*/ 4344684 h 6858000"/>
              <a:gd name="connsiteX1761" fmla="*/ 3372468 w 5794893"/>
              <a:gd name="connsiteY1761" fmla="*/ 4334852 h 6858000"/>
              <a:gd name="connsiteX1762" fmla="*/ 3501516 w 5794893"/>
              <a:gd name="connsiteY1762" fmla="*/ 4344684 h 6858000"/>
              <a:gd name="connsiteX1763" fmla="*/ 3501516 w 5794893"/>
              <a:gd name="connsiteY1763" fmla="*/ 4337310 h 6858000"/>
              <a:gd name="connsiteX1764" fmla="*/ 3630565 w 5794893"/>
              <a:gd name="connsiteY1764" fmla="*/ 4344684 h 6858000"/>
              <a:gd name="connsiteX1765" fmla="*/ 3630565 w 5794893"/>
              <a:gd name="connsiteY1765" fmla="*/ 4339768 h 6858000"/>
              <a:gd name="connsiteX1766" fmla="*/ 3639168 w 5794893"/>
              <a:gd name="connsiteY1766" fmla="*/ 4339768 h 6858000"/>
              <a:gd name="connsiteX1767" fmla="*/ 3719056 w 5794893"/>
              <a:gd name="connsiteY1767" fmla="*/ 4342226 h 6858000"/>
              <a:gd name="connsiteX1768" fmla="*/ 3719056 w 5794893"/>
              <a:gd name="connsiteY1768" fmla="*/ 4343456 h 6858000"/>
              <a:gd name="connsiteX1769" fmla="*/ 5728527 w 5794893"/>
              <a:gd name="connsiteY1769" fmla="*/ 4387701 h 6858000"/>
              <a:gd name="connsiteX1770" fmla="*/ 3712910 w 5794893"/>
              <a:gd name="connsiteY1770" fmla="*/ 4387701 h 6858000"/>
              <a:gd name="connsiteX1771" fmla="*/ 3712910 w 5794893"/>
              <a:gd name="connsiteY1771" fmla="*/ 4388929 h 6858000"/>
              <a:gd name="connsiteX1772" fmla="*/ 3594923 w 5794893"/>
              <a:gd name="connsiteY1772" fmla="*/ 4386471 h 6858000"/>
              <a:gd name="connsiteX1773" fmla="*/ 3594923 w 5794893"/>
              <a:gd name="connsiteY1773" fmla="*/ 4390159 h 6858000"/>
              <a:gd name="connsiteX1774" fmla="*/ 3476936 w 5794893"/>
              <a:gd name="connsiteY1774" fmla="*/ 4386471 h 6858000"/>
              <a:gd name="connsiteX1775" fmla="*/ 3476936 w 5794893"/>
              <a:gd name="connsiteY1775" fmla="*/ 4392617 h 6858000"/>
              <a:gd name="connsiteX1776" fmla="*/ 3358948 w 5794893"/>
              <a:gd name="connsiteY1776" fmla="*/ 4386471 h 6858000"/>
              <a:gd name="connsiteX1777" fmla="*/ 3358948 w 5794893"/>
              <a:gd name="connsiteY1777" fmla="*/ 4395075 h 6858000"/>
              <a:gd name="connsiteX1778" fmla="*/ 3240961 w 5794893"/>
              <a:gd name="connsiteY1778" fmla="*/ 4386471 h 6858000"/>
              <a:gd name="connsiteX1779" fmla="*/ 3240961 w 5794893"/>
              <a:gd name="connsiteY1779" fmla="*/ 4397533 h 6858000"/>
              <a:gd name="connsiteX1780" fmla="*/ 3122974 w 5794893"/>
              <a:gd name="connsiteY1780" fmla="*/ 4386471 h 6858000"/>
              <a:gd name="connsiteX1781" fmla="*/ 3121746 w 5794893"/>
              <a:gd name="connsiteY1781" fmla="*/ 4401219 h 6858000"/>
              <a:gd name="connsiteX1782" fmla="*/ 3003758 w 5794893"/>
              <a:gd name="connsiteY1782" fmla="*/ 4386471 h 6858000"/>
              <a:gd name="connsiteX1783" fmla="*/ 3002529 w 5794893"/>
              <a:gd name="connsiteY1783" fmla="*/ 4403678 h 6858000"/>
              <a:gd name="connsiteX1784" fmla="*/ 2885771 w 5794893"/>
              <a:gd name="connsiteY1784" fmla="*/ 4386471 h 6858000"/>
              <a:gd name="connsiteX1785" fmla="*/ 2883313 w 5794893"/>
              <a:gd name="connsiteY1785" fmla="*/ 4407365 h 6858000"/>
              <a:gd name="connsiteX1786" fmla="*/ 2767784 w 5794893"/>
              <a:gd name="connsiteY1786" fmla="*/ 4386471 h 6858000"/>
              <a:gd name="connsiteX1787" fmla="*/ 2764096 w 5794893"/>
              <a:gd name="connsiteY1787" fmla="*/ 4409823 h 6858000"/>
              <a:gd name="connsiteX1788" fmla="*/ 2649797 w 5794893"/>
              <a:gd name="connsiteY1788" fmla="*/ 4386471 h 6858000"/>
              <a:gd name="connsiteX1789" fmla="*/ 2644881 w 5794893"/>
              <a:gd name="connsiteY1789" fmla="*/ 4413510 h 6858000"/>
              <a:gd name="connsiteX1790" fmla="*/ 2531809 w 5794893"/>
              <a:gd name="connsiteY1790" fmla="*/ 4386471 h 6858000"/>
              <a:gd name="connsiteX1791" fmla="*/ 2525664 w 5794893"/>
              <a:gd name="connsiteY1791" fmla="*/ 4417198 h 6858000"/>
              <a:gd name="connsiteX1792" fmla="*/ 2413822 w 5794893"/>
              <a:gd name="connsiteY1792" fmla="*/ 4386471 h 6858000"/>
              <a:gd name="connsiteX1793" fmla="*/ 2406448 w 5794893"/>
              <a:gd name="connsiteY1793" fmla="*/ 4422114 h 6858000"/>
              <a:gd name="connsiteX1794" fmla="*/ 2295835 w 5794893"/>
              <a:gd name="connsiteY1794" fmla="*/ 4386471 h 6858000"/>
              <a:gd name="connsiteX1795" fmla="*/ 2286003 w 5794893"/>
              <a:gd name="connsiteY1795" fmla="*/ 4425800 h 6858000"/>
              <a:gd name="connsiteX1796" fmla="*/ 2177848 w 5794893"/>
              <a:gd name="connsiteY1796" fmla="*/ 4386471 h 6858000"/>
              <a:gd name="connsiteX1797" fmla="*/ 2165557 w 5794893"/>
              <a:gd name="connsiteY1797" fmla="*/ 4430716 h 6858000"/>
              <a:gd name="connsiteX1798" fmla="*/ 2059860 w 5794893"/>
              <a:gd name="connsiteY1798" fmla="*/ 4386471 h 6858000"/>
              <a:gd name="connsiteX1799" fmla="*/ 2043882 w 5794893"/>
              <a:gd name="connsiteY1799" fmla="*/ 4435632 h 6858000"/>
              <a:gd name="connsiteX1800" fmla="*/ 1941873 w 5794893"/>
              <a:gd name="connsiteY1800" fmla="*/ 4386471 h 6858000"/>
              <a:gd name="connsiteX1801" fmla="*/ 1922209 w 5794893"/>
              <a:gd name="connsiteY1801" fmla="*/ 4439320 h 6858000"/>
              <a:gd name="connsiteX1802" fmla="*/ 1823886 w 5794893"/>
              <a:gd name="connsiteY1802" fmla="*/ 4386471 h 6858000"/>
              <a:gd name="connsiteX1803" fmla="*/ 1799305 w 5794893"/>
              <a:gd name="connsiteY1803" fmla="*/ 4444236 h 6858000"/>
              <a:gd name="connsiteX1804" fmla="*/ 1705899 w 5794893"/>
              <a:gd name="connsiteY1804" fmla="*/ 4386471 h 6858000"/>
              <a:gd name="connsiteX1805" fmla="*/ 1676402 w 5794893"/>
              <a:gd name="connsiteY1805" fmla="*/ 4447923 h 6858000"/>
              <a:gd name="connsiteX1806" fmla="*/ 1587912 w 5794893"/>
              <a:gd name="connsiteY1806" fmla="*/ 4386471 h 6858000"/>
              <a:gd name="connsiteX1807" fmla="*/ 1554260 w 5794893"/>
              <a:gd name="connsiteY1807" fmla="*/ 4446812 h 6858000"/>
              <a:gd name="connsiteX1808" fmla="*/ 1477299 w 5794893"/>
              <a:gd name="connsiteY1808" fmla="*/ 4385243 h 6858000"/>
              <a:gd name="connsiteX1809" fmla="*/ 1440428 w 5794893"/>
              <a:gd name="connsiteY1809" fmla="*/ 4444236 h 6858000"/>
              <a:gd name="connsiteX1810" fmla="*/ 1557185 w 5794893"/>
              <a:gd name="connsiteY1810" fmla="*/ 4537643 h 6858000"/>
              <a:gd name="connsiteX1811" fmla="*/ 1593646 w 5794893"/>
              <a:gd name="connsiteY1811" fmla="*/ 4479305 h 6858000"/>
              <a:gd name="connsiteX1812" fmla="*/ 1678860 w 5794893"/>
              <a:gd name="connsiteY1812" fmla="*/ 4538871 h 6858000"/>
              <a:gd name="connsiteX1813" fmla="*/ 1712043 w 5794893"/>
              <a:gd name="connsiteY1813" fmla="*/ 4478649 h 6858000"/>
              <a:gd name="connsiteX1814" fmla="*/ 1809138 w 5794893"/>
              <a:gd name="connsiteY1814" fmla="*/ 4538871 h 6858000"/>
              <a:gd name="connsiteX1815" fmla="*/ 1836176 w 5794893"/>
              <a:gd name="connsiteY1815" fmla="*/ 4483565 h 6858000"/>
              <a:gd name="connsiteX1816" fmla="*/ 1939415 w 5794893"/>
              <a:gd name="connsiteY1816" fmla="*/ 4538871 h 6858000"/>
              <a:gd name="connsiteX1817" fmla="*/ 1961538 w 5794893"/>
              <a:gd name="connsiteY1817" fmla="*/ 4487252 h 6858000"/>
              <a:gd name="connsiteX1818" fmla="*/ 2069693 w 5794893"/>
              <a:gd name="connsiteY1818" fmla="*/ 4538871 h 6858000"/>
              <a:gd name="connsiteX1819" fmla="*/ 2086899 w 5794893"/>
              <a:gd name="connsiteY1819" fmla="*/ 4492168 h 6858000"/>
              <a:gd name="connsiteX1820" fmla="*/ 2198741 w 5794893"/>
              <a:gd name="connsiteY1820" fmla="*/ 4538871 h 6858000"/>
              <a:gd name="connsiteX1821" fmla="*/ 2212261 w 5794893"/>
              <a:gd name="connsiteY1821" fmla="*/ 4495856 h 6858000"/>
              <a:gd name="connsiteX1822" fmla="*/ 2327790 w 5794893"/>
              <a:gd name="connsiteY1822" fmla="*/ 4538871 h 6858000"/>
              <a:gd name="connsiteX1823" fmla="*/ 2338851 w 5794893"/>
              <a:gd name="connsiteY1823" fmla="*/ 4500772 h 6858000"/>
              <a:gd name="connsiteX1824" fmla="*/ 2458067 w 5794893"/>
              <a:gd name="connsiteY1824" fmla="*/ 4538871 h 6858000"/>
              <a:gd name="connsiteX1825" fmla="*/ 2466670 w 5794893"/>
              <a:gd name="connsiteY1825" fmla="*/ 4504458 h 6858000"/>
              <a:gd name="connsiteX1826" fmla="*/ 2588345 w 5794893"/>
              <a:gd name="connsiteY1826" fmla="*/ 4538871 h 6858000"/>
              <a:gd name="connsiteX1827" fmla="*/ 2594490 w 5794893"/>
              <a:gd name="connsiteY1827" fmla="*/ 4509374 h 6858000"/>
              <a:gd name="connsiteX1828" fmla="*/ 2717393 w 5794893"/>
              <a:gd name="connsiteY1828" fmla="*/ 4538871 h 6858000"/>
              <a:gd name="connsiteX1829" fmla="*/ 2722309 w 5794893"/>
              <a:gd name="connsiteY1829" fmla="*/ 4513062 h 6858000"/>
              <a:gd name="connsiteX1830" fmla="*/ 2847670 w 5794893"/>
              <a:gd name="connsiteY1830" fmla="*/ 4538871 h 6858000"/>
              <a:gd name="connsiteX1831" fmla="*/ 2851358 w 5794893"/>
              <a:gd name="connsiteY1831" fmla="*/ 4516749 h 6858000"/>
              <a:gd name="connsiteX1832" fmla="*/ 2977948 w 5794893"/>
              <a:gd name="connsiteY1832" fmla="*/ 4538871 h 6858000"/>
              <a:gd name="connsiteX1833" fmla="*/ 2980406 w 5794893"/>
              <a:gd name="connsiteY1833" fmla="*/ 4520436 h 6858000"/>
              <a:gd name="connsiteX1834" fmla="*/ 3106997 w 5794893"/>
              <a:gd name="connsiteY1834" fmla="*/ 4538871 h 6858000"/>
              <a:gd name="connsiteX1835" fmla="*/ 3108226 w 5794893"/>
              <a:gd name="connsiteY1835" fmla="*/ 4522894 h 6858000"/>
              <a:gd name="connsiteX1836" fmla="*/ 3236045 w 5794893"/>
              <a:gd name="connsiteY1836" fmla="*/ 4538871 h 6858000"/>
              <a:gd name="connsiteX1837" fmla="*/ 3237275 w 5794893"/>
              <a:gd name="connsiteY1837" fmla="*/ 4526581 h 6858000"/>
              <a:gd name="connsiteX1838" fmla="*/ 3366323 w 5794893"/>
              <a:gd name="connsiteY1838" fmla="*/ 4538871 h 6858000"/>
              <a:gd name="connsiteX1839" fmla="*/ 3367552 w 5794893"/>
              <a:gd name="connsiteY1839" fmla="*/ 4529039 h 6858000"/>
              <a:gd name="connsiteX1840" fmla="*/ 3496600 w 5794893"/>
              <a:gd name="connsiteY1840" fmla="*/ 4538871 h 6858000"/>
              <a:gd name="connsiteX1841" fmla="*/ 3496600 w 5794893"/>
              <a:gd name="connsiteY1841" fmla="*/ 4531497 h 6858000"/>
              <a:gd name="connsiteX1842" fmla="*/ 3625649 w 5794893"/>
              <a:gd name="connsiteY1842" fmla="*/ 4538871 h 6858000"/>
              <a:gd name="connsiteX1843" fmla="*/ 3625649 w 5794893"/>
              <a:gd name="connsiteY1843" fmla="*/ 4533955 h 6858000"/>
              <a:gd name="connsiteX1844" fmla="*/ 3634252 w 5794893"/>
              <a:gd name="connsiteY1844" fmla="*/ 4533955 h 6858000"/>
              <a:gd name="connsiteX1845" fmla="*/ 3714140 w 5794893"/>
              <a:gd name="connsiteY1845" fmla="*/ 4536413 h 6858000"/>
              <a:gd name="connsiteX1846" fmla="*/ 3714140 w 5794893"/>
              <a:gd name="connsiteY1846" fmla="*/ 4537643 h 6858000"/>
              <a:gd name="connsiteX1847" fmla="*/ 5699030 w 5794893"/>
              <a:gd name="connsiteY1847" fmla="*/ 4579430 h 6858000"/>
              <a:gd name="connsiteX1848" fmla="*/ 3714140 w 5794893"/>
              <a:gd name="connsiteY1848" fmla="*/ 4579430 h 6858000"/>
              <a:gd name="connsiteX1849" fmla="*/ 3714140 w 5794893"/>
              <a:gd name="connsiteY1849" fmla="*/ 4581888 h 6858000"/>
              <a:gd name="connsiteX1850" fmla="*/ 3596153 w 5794893"/>
              <a:gd name="connsiteY1850" fmla="*/ 4579430 h 6858000"/>
              <a:gd name="connsiteX1851" fmla="*/ 3596153 w 5794893"/>
              <a:gd name="connsiteY1851" fmla="*/ 4583116 h 6858000"/>
              <a:gd name="connsiteX1852" fmla="*/ 3478165 w 5794893"/>
              <a:gd name="connsiteY1852" fmla="*/ 4579430 h 6858000"/>
              <a:gd name="connsiteX1853" fmla="*/ 3478165 w 5794893"/>
              <a:gd name="connsiteY1853" fmla="*/ 4585575 h 6858000"/>
              <a:gd name="connsiteX1854" fmla="*/ 3360178 w 5794893"/>
              <a:gd name="connsiteY1854" fmla="*/ 4579430 h 6858000"/>
              <a:gd name="connsiteX1855" fmla="*/ 3360178 w 5794893"/>
              <a:gd name="connsiteY1855" fmla="*/ 4588033 h 6858000"/>
              <a:gd name="connsiteX1856" fmla="*/ 3242191 w 5794893"/>
              <a:gd name="connsiteY1856" fmla="*/ 4579430 h 6858000"/>
              <a:gd name="connsiteX1857" fmla="*/ 3242191 w 5794893"/>
              <a:gd name="connsiteY1857" fmla="*/ 4590491 h 6858000"/>
              <a:gd name="connsiteX1858" fmla="*/ 3124204 w 5794893"/>
              <a:gd name="connsiteY1858" fmla="*/ 4579430 h 6858000"/>
              <a:gd name="connsiteX1859" fmla="*/ 3122974 w 5794893"/>
              <a:gd name="connsiteY1859" fmla="*/ 4594178 h 6858000"/>
              <a:gd name="connsiteX1860" fmla="*/ 3004987 w 5794893"/>
              <a:gd name="connsiteY1860" fmla="*/ 4579430 h 6858000"/>
              <a:gd name="connsiteX1861" fmla="*/ 3003758 w 5794893"/>
              <a:gd name="connsiteY1861" fmla="*/ 4596636 h 6858000"/>
              <a:gd name="connsiteX1862" fmla="*/ 2887000 w 5794893"/>
              <a:gd name="connsiteY1862" fmla="*/ 4579430 h 6858000"/>
              <a:gd name="connsiteX1863" fmla="*/ 2884541 w 5794893"/>
              <a:gd name="connsiteY1863" fmla="*/ 4600323 h 6858000"/>
              <a:gd name="connsiteX1864" fmla="*/ 2769012 w 5794893"/>
              <a:gd name="connsiteY1864" fmla="*/ 4579430 h 6858000"/>
              <a:gd name="connsiteX1865" fmla="*/ 2765326 w 5794893"/>
              <a:gd name="connsiteY1865" fmla="*/ 4602781 h 6858000"/>
              <a:gd name="connsiteX1866" fmla="*/ 2651025 w 5794893"/>
              <a:gd name="connsiteY1866" fmla="*/ 4579430 h 6858000"/>
              <a:gd name="connsiteX1867" fmla="*/ 2646109 w 5794893"/>
              <a:gd name="connsiteY1867" fmla="*/ 4606469 h 6858000"/>
              <a:gd name="connsiteX1868" fmla="*/ 2533038 w 5794893"/>
              <a:gd name="connsiteY1868" fmla="*/ 4579430 h 6858000"/>
              <a:gd name="connsiteX1869" fmla="*/ 2526893 w 5794893"/>
              <a:gd name="connsiteY1869" fmla="*/ 4610155 h 6858000"/>
              <a:gd name="connsiteX1870" fmla="*/ 2415051 w 5794893"/>
              <a:gd name="connsiteY1870" fmla="*/ 4579430 h 6858000"/>
              <a:gd name="connsiteX1871" fmla="*/ 2407676 w 5794893"/>
              <a:gd name="connsiteY1871" fmla="*/ 4615071 h 6858000"/>
              <a:gd name="connsiteX1872" fmla="*/ 2297063 w 5794893"/>
              <a:gd name="connsiteY1872" fmla="*/ 4579430 h 6858000"/>
              <a:gd name="connsiteX1873" fmla="*/ 2287231 w 5794893"/>
              <a:gd name="connsiteY1873" fmla="*/ 4618759 h 6858000"/>
              <a:gd name="connsiteX1874" fmla="*/ 2179076 w 5794893"/>
              <a:gd name="connsiteY1874" fmla="*/ 4579430 h 6858000"/>
              <a:gd name="connsiteX1875" fmla="*/ 2166786 w 5794893"/>
              <a:gd name="connsiteY1875" fmla="*/ 4623675 h 6858000"/>
              <a:gd name="connsiteX1876" fmla="*/ 2061089 w 5794893"/>
              <a:gd name="connsiteY1876" fmla="*/ 4579430 h 6858000"/>
              <a:gd name="connsiteX1877" fmla="*/ 2045112 w 5794893"/>
              <a:gd name="connsiteY1877" fmla="*/ 4628591 h 6858000"/>
              <a:gd name="connsiteX1878" fmla="*/ 1943102 w 5794893"/>
              <a:gd name="connsiteY1878" fmla="*/ 4579430 h 6858000"/>
              <a:gd name="connsiteX1879" fmla="*/ 1923437 w 5794893"/>
              <a:gd name="connsiteY1879" fmla="*/ 4632278 h 6858000"/>
              <a:gd name="connsiteX1880" fmla="*/ 1825114 w 5794893"/>
              <a:gd name="connsiteY1880" fmla="*/ 4579430 h 6858000"/>
              <a:gd name="connsiteX1881" fmla="*/ 1800534 w 5794893"/>
              <a:gd name="connsiteY1881" fmla="*/ 4637194 h 6858000"/>
              <a:gd name="connsiteX1882" fmla="*/ 1707127 w 5794893"/>
              <a:gd name="connsiteY1882" fmla="*/ 4579430 h 6858000"/>
              <a:gd name="connsiteX1883" fmla="*/ 1677630 w 5794893"/>
              <a:gd name="connsiteY1883" fmla="*/ 4642110 h 6858000"/>
              <a:gd name="connsiteX1884" fmla="*/ 1589140 w 5794893"/>
              <a:gd name="connsiteY1884" fmla="*/ 4580658 h 6858000"/>
              <a:gd name="connsiteX1885" fmla="*/ 1554636 w 5794893"/>
              <a:gd name="connsiteY1885" fmla="*/ 4642529 h 6858000"/>
              <a:gd name="connsiteX1886" fmla="*/ 1477299 w 5794893"/>
              <a:gd name="connsiteY1886" fmla="*/ 4580658 h 6858000"/>
              <a:gd name="connsiteX1887" fmla="*/ 1440428 w 5794893"/>
              <a:gd name="connsiteY1887" fmla="*/ 4639652 h 6858000"/>
              <a:gd name="connsiteX1888" fmla="*/ 1557185 w 5794893"/>
              <a:gd name="connsiteY1888" fmla="*/ 4733059 h 6858000"/>
              <a:gd name="connsiteX1889" fmla="*/ 1594056 w 5794893"/>
              <a:gd name="connsiteY1889" fmla="*/ 4674065 h 6858000"/>
              <a:gd name="connsiteX1890" fmla="*/ 1582707 w 5794893"/>
              <a:gd name="connsiteY1890" fmla="*/ 4664986 h 6858000"/>
              <a:gd name="connsiteX1891" fmla="*/ 1680088 w 5794893"/>
              <a:gd name="connsiteY1891" fmla="*/ 4733059 h 6858000"/>
              <a:gd name="connsiteX1892" fmla="*/ 1713273 w 5794893"/>
              <a:gd name="connsiteY1892" fmla="*/ 4672837 h 6858000"/>
              <a:gd name="connsiteX1893" fmla="*/ 1810366 w 5794893"/>
              <a:gd name="connsiteY1893" fmla="*/ 4733059 h 6858000"/>
              <a:gd name="connsiteX1894" fmla="*/ 1837405 w 5794893"/>
              <a:gd name="connsiteY1894" fmla="*/ 4677753 h 6858000"/>
              <a:gd name="connsiteX1895" fmla="*/ 1940644 w 5794893"/>
              <a:gd name="connsiteY1895" fmla="*/ 4733059 h 6858000"/>
              <a:gd name="connsiteX1896" fmla="*/ 1962766 w 5794893"/>
              <a:gd name="connsiteY1896" fmla="*/ 4681439 h 6858000"/>
              <a:gd name="connsiteX1897" fmla="*/ 2070921 w 5794893"/>
              <a:gd name="connsiteY1897" fmla="*/ 4733059 h 6858000"/>
              <a:gd name="connsiteX1898" fmla="*/ 2088128 w 5794893"/>
              <a:gd name="connsiteY1898" fmla="*/ 4686355 h 6858000"/>
              <a:gd name="connsiteX1899" fmla="*/ 2199970 w 5794893"/>
              <a:gd name="connsiteY1899" fmla="*/ 4733059 h 6858000"/>
              <a:gd name="connsiteX1900" fmla="*/ 2213489 w 5794893"/>
              <a:gd name="connsiteY1900" fmla="*/ 4690043 h 6858000"/>
              <a:gd name="connsiteX1901" fmla="*/ 2329018 w 5794893"/>
              <a:gd name="connsiteY1901" fmla="*/ 4733059 h 6858000"/>
              <a:gd name="connsiteX1902" fmla="*/ 2340080 w 5794893"/>
              <a:gd name="connsiteY1902" fmla="*/ 4694959 h 6858000"/>
              <a:gd name="connsiteX1903" fmla="*/ 2459296 w 5794893"/>
              <a:gd name="connsiteY1903" fmla="*/ 4733059 h 6858000"/>
              <a:gd name="connsiteX1904" fmla="*/ 2467900 w 5794893"/>
              <a:gd name="connsiteY1904" fmla="*/ 4698646 h 6858000"/>
              <a:gd name="connsiteX1905" fmla="*/ 2589573 w 5794893"/>
              <a:gd name="connsiteY1905" fmla="*/ 4733059 h 6858000"/>
              <a:gd name="connsiteX1906" fmla="*/ 2595719 w 5794893"/>
              <a:gd name="connsiteY1906" fmla="*/ 4703562 h 6858000"/>
              <a:gd name="connsiteX1907" fmla="*/ 2718623 w 5794893"/>
              <a:gd name="connsiteY1907" fmla="*/ 4733059 h 6858000"/>
              <a:gd name="connsiteX1908" fmla="*/ 2723539 w 5794893"/>
              <a:gd name="connsiteY1908" fmla="*/ 4707249 h 6858000"/>
              <a:gd name="connsiteX1909" fmla="*/ 2848900 w 5794893"/>
              <a:gd name="connsiteY1909" fmla="*/ 4733059 h 6858000"/>
              <a:gd name="connsiteX1910" fmla="*/ 2852587 w 5794893"/>
              <a:gd name="connsiteY1910" fmla="*/ 4710936 h 6858000"/>
              <a:gd name="connsiteX1911" fmla="*/ 2979178 w 5794893"/>
              <a:gd name="connsiteY1911" fmla="*/ 4733059 h 6858000"/>
              <a:gd name="connsiteX1912" fmla="*/ 2981636 w 5794893"/>
              <a:gd name="connsiteY1912" fmla="*/ 4714624 h 6858000"/>
              <a:gd name="connsiteX1913" fmla="*/ 3108226 w 5794893"/>
              <a:gd name="connsiteY1913" fmla="*/ 4733059 h 6858000"/>
              <a:gd name="connsiteX1914" fmla="*/ 3109455 w 5794893"/>
              <a:gd name="connsiteY1914" fmla="*/ 4717082 h 6858000"/>
              <a:gd name="connsiteX1915" fmla="*/ 3237275 w 5794893"/>
              <a:gd name="connsiteY1915" fmla="*/ 4733059 h 6858000"/>
              <a:gd name="connsiteX1916" fmla="*/ 3238503 w 5794893"/>
              <a:gd name="connsiteY1916" fmla="*/ 4720768 h 6858000"/>
              <a:gd name="connsiteX1917" fmla="*/ 3367552 w 5794893"/>
              <a:gd name="connsiteY1917" fmla="*/ 4733059 h 6858000"/>
              <a:gd name="connsiteX1918" fmla="*/ 3368781 w 5794893"/>
              <a:gd name="connsiteY1918" fmla="*/ 4723226 h 6858000"/>
              <a:gd name="connsiteX1919" fmla="*/ 3497830 w 5794893"/>
              <a:gd name="connsiteY1919" fmla="*/ 4733059 h 6858000"/>
              <a:gd name="connsiteX1920" fmla="*/ 3497830 w 5794893"/>
              <a:gd name="connsiteY1920" fmla="*/ 4725684 h 6858000"/>
              <a:gd name="connsiteX1921" fmla="*/ 3626878 w 5794893"/>
              <a:gd name="connsiteY1921" fmla="*/ 4733059 h 6858000"/>
              <a:gd name="connsiteX1922" fmla="*/ 3626878 w 5794893"/>
              <a:gd name="connsiteY1922" fmla="*/ 4728142 h 6858000"/>
              <a:gd name="connsiteX1923" fmla="*/ 3635482 w 5794893"/>
              <a:gd name="connsiteY1923" fmla="*/ 4728142 h 6858000"/>
              <a:gd name="connsiteX1924" fmla="*/ 3715368 w 5794893"/>
              <a:gd name="connsiteY1924" fmla="*/ 4730600 h 6858000"/>
              <a:gd name="connsiteX1925" fmla="*/ 3715368 w 5794893"/>
              <a:gd name="connsiteY1925" fmla="*/ 4731830 h 6858000"/>
              <a:gd name="connsiteX1926" fmla="*/ 5694112 w 5794893"/>
              <a:gd name="connsiteY1926" fmla="*/ 4773617 h 6858000"/>
              <a:gd name="connsiteX1927" fmla="*/ 3715368 w 5794893"/>
              <a:gd name="connsiteY1927" fmla="*/ 4773617 h 6858000"/>
              <a:gd name="connsiteX1928" fmla="*/ 3715368 w 5794893"/>
              <a:gd name="connsiteY1928" fmla="*/ 4776075 h 6858000"/>
              <a:gd name="connsiteX1929" fmla="*/ 3597381 w 5794893"/>
              <a:gd name="connsiteY1929" fmla="*/ 4773617 h 6858000"/>
              <a:gd name="connsiteX1930" fmla="*/ 3597381 w 5794893"/>
              <a:gd name="connsiteY1930" fmla="*/ 4777304 h 6858000"/>
              <a:gd name="connsiteX1931" fmla="*/ 3479394 w 5794893"/>
              <a:gd name="connsiteY1931" fmla="*/ 4773617 h 6858000"/>
              <a:gd name="connsiteX1932" fmla="*/ 3479394 w 5794893"/>
              <a:gd name="connsiteY1932" fmla="*/ 4779762 h 6858000"/>
              <a:gd name="connsiteX1933" fmla="*/ 3361406 w 5794893"/>
              <a:gd name="connsiteY1933" fmla="*/ 4773617 h 6858000"/>
              <a:gd name="connsiteX1934" fmla="*/ 3361406 w 5794893"/>
              <a:gd name="connsiteY1934" fmla="*/ 4782220 h 6858000"/>
              <a:gd name="connsiteX1935" fmla="*/ 3243419 w 5794893"/>
              <a:gd name="connsiteY1935" fmla="*/ 4773617 h 6858000"/>
              <a:gd name="connsiteX1936" fmla="*/ 3243419 w 5794893"/>
              <a:gd name="connsiteY1936" fmla="*/ 4789594 h 6858000"/>
              <a:gd name="connsiteX1937" fmla="*/ 3126662 w 5794893"/>
              <a:gd name="connsiteY1937" fmla="*/ 4778533 h 6858000"/>
              <a:gd name="connsiteX1938" fmla="*/ 3125432 w 5794893"/>
              <a:gd name="connsiteY1938" fmla="*/ 4793282 h 6858000"/>
              <a:gd name="connsiteX1939" fmla="*/ 3007445 w 5794893"/>
              <a:gd name="connsiteY1939" fmla="*/ 4778533 h 6858000"/>
              <a:gd name="connsiteX1940" fmla="*/ 3006216 w 5794893"/>
              <a:gd name="connsiteY1940" fmla="*/ 4795740 h 6858000"/>
              <a:gd name="connsiteX1941" fmla="*/ 2889458 w 5794893"/>
              <a:gd name="connsiteY1941" fmla="*/ 4778533 h 6858000"/>
              <a:gd name="connsiteX1942" fmla="*/ 2887000 w 5794893"/>
              <a:gd name="connsiteY1942" fmla="*/ 4799426 h 6858000"/>
              <a:gd name="connsiteX1943" fmla="*/ 2771470 w 5794893"/>
              <a:gd name="connsiteY1943" fmla="*/ 4778533 h 6858000"/>
              <a:gd name="connsiteX1944" fmla="*/ 2767784 w 5794893"/>
              <a:gd name="connsiteY1944" fmla="*/ 4801884 h 6858000"/>
              <a:gd name="connsiteX1945" fmla="*/ 2653483 w 5794893"/>
              <a:gd name="connsiteY1945" fmla="*/ 4778533 h 6858000"/>
              <a:gd name="connsiteX1946" fmla="*/ 2648567 w 5794893"/>
              <a:gd name="connsiteY1946" fmla="*/ 4805572 h 6858000"/>
              <a:gd name="connsiteX1947" fmla="*/ 2535496 w 5794893"/>
              <a:gd name="connsiteY1947" fmla="*/ 4778533 h 6858000"/>
              <a:gd name="connsiteX1948" fmla="*/ 2529351 w 5794893"/>
              <a:gd name="connsiteY1948" fmla="*/ 4809259 h 6858000"/>
              <a:gd name="connsiteX1949" fmla="*/ 2417509 w 5794893"/>
              <a:gd name="connsiteY1949" fmla="*/ 4778533 h 6858000"/>
              <a:gd name="connsiteX1950" fmla="*/ 2410134 w 5794893"/>
              <a:gd name="connsiteY1950" fmla="*/ 4814175 h 6858000"/>
              <a:gd name="connsiteX1951" fmla="*/ 2299521 w 5794893"/>
              <a:gd name="connsiteY1951" fmla="*/ 4778533 h 6858000"/>
              <a:gd name="connsiteX1952" fmla="*/ 2289689 w 5794893"/>
              <a:gd name="connsiteY1952" fmla="*/ 4817863 h 6858000"/>
              <a:gd name="connsiteX1953" fmla="*/ 2181534 w 5794893"/>
              <a:gd name="connsiteY1953" fmla="*/ 4778533 h 6858000"/>
              <a:gd name="connsiteX1954" fmla="*/ 2169244 w 5794893"/>
              <a:gd name="connsiteY1954" fmla="*/ 4822779 h 6858000"/>
              <a:gd name="connsiteX1955" fmla="*/ 2063547 w 5794893"/>
              <a:gd name="connsiteY1955" fmla="*/ 4778533 h 6858000"/>
              <a:gd name="connsiteX1956" fmla="*/ 2047570 w 5794893"/>
              <a:gd name="connsiteY1956" fmla="*/ 4827695 h 6858000"/>
              <a:gd name="connsiteX1957" fmla="*/ 1945560 w 5794893"/>
              <a:gd name="connsiteY1957" fmla="*/ 4778533 h 6858000"/>
              <a:gd name="connsiteX1958" fmla="*/ 1925895 w 5794893"/>
              <a:gd name="connsiteY1958" fmla="*/ 4832611 h 6858000"/>
              <a:gd name="connsiteX1959" fmla="*/ 1827572 w 5794893"/>
              <a:gd name="connsiteY1959" fmla="*/ 4778533 h 6858000"/>
              <a:gd name="connsiteX1960" fmla="*/ 1802992 w 5794893"/>
              <a:gd name="connsiteY1960" fmla="*/ 4836297 h 6858000"/>
              <a:gd name="connsiteX1961" fmla="*/ 1709585 w 5794893"/>
              <a:gd name="connsiteY1961" fmla="*/ 4778533 h 6858000"/>
              <a:gd name="connsiteX1962" fmla="*/ 1680088 w 5794893"/>
              <a:gd name="connsiteY1962" fmla="*/ 4841213 h 6858000"/>
              <a:gd name="connsiteX1963" fmla="*/ 1591598 w 5794893"/>
              <a:gd name="connsiteY1963" fmla="*/ 4778533 h 6858000"/>
              <a:gd name="connsiteX1964" fmla="*/ 1557758 w 5794893"/>
              <a:gd name="connsiteY1964" fmla="*/ 4839214 h 6858000"/>
              <a:gd name="connsiteX1965" fmla="*/ 1477299 w 5794893"/>
              <a:gd name="connsiteY1965" fmla="*/ 4774846 h 6858000"/>
              <a:gd name="connsiteX1966" fmla="*/ 1440428 w 5794893"/>
              <a:gd name="connsiteY1966" fmla="*/ 4833839 h 6858000"/>
              <a:gd name="connsiteX1967" fmla="*/ 1557185 w 5794893"/>
              <a:gd name="connsiteY1967" fmla="*/ 4927246 h 6858000"/>
              <a:gd name="connsiteX1968" fmla="*/ 1593698 w 5794893"/>
              <a:gd name="connsiteY1968" fmla="*/ 4868825 h 6858000"/>
              <a:gd name="connsiteX1969" fmla="*/ 1682547 w 5794893"/>
              <a:gd name="connsiteY1969" fmla="*/ 4930934 h 6858000"/>
              <a:gd name="connsiteX1970" fmla="*/ 1715731 w 5794893"/>
              <a:gd name="connsiteY1970" fmla="*/ 4870710 h 6858000"/>
              <a:gd name="connsiteX1971" fmla="*/ 1812824 w 5794893"/>
              <a:gd name="connsiteY1971" fmla="*/ 4930934 h 6858000"/>
              <a:gd name="connsiteX1972" fmla="*/ 1839863 w 5794893"/>
              <a:gd name="connsiteY1972" fmla="*/ 4875626 h 6858000"/>
              <a:gd name="connsiteX1973" fmla="*/ 1943102 w 5794893"/>
              <a:gd name="connsiteY1973" fmla="*/ 4930934 h 6858000"/>
              <a:gd name="connsiteX1974" fmla="*/ 1965224 w 5794893"/>
              <a:gd name="connsiteY1974" fmla="*/ 4879314 h 6858000"/>
              <a:gd name="connsiteX1975" fmla="*/ 2073379 w 5794893"/>
              <a:gd name="connsiteY1975" fmla="*/ 4930934 h 6858000"/>
              <a:gd name="connsiteX1976" fmla="*/ 2090586 w 5794893"/>
              <a:gd name="connsiteY1976" fmla="*/ 4884230 h 6858000"/>
              <a:gd name="connsiteX1977" fmla="*/ 2202428 w 5794893"/>
              <a:gd name="connsiteY1977" fmla="*/ 4930934 h 6858000"/>
              <a:gd name="connsiteX1978" fmla="*/ 2215947 w 5794893"/>
              <a:gd name="connsiteY1978" fmla="*/ 4887917 h 6858000"/>
              <a:gd name="connsiteX1979" fmla="*/ 2331476 w 5794893"/>
              <a:gd name="connsiteY1979" fmla="*/ 4930934 h 6858000"/>
              <a:gd name="connsiteX1980" fmla="*/ 2342538 w 5794893"/>
              <a:gd name="connsiteY1980" fmla="*/ 4892833 h 6858000"/>
              <a:gd name="connsiteX1981" fmla="*/ 2461754 w 5794893"/>
              <a:gd name="connsiteY1981" fmla="*/ 4930934 h 6858000"/>
              <a:gd name="connsiteX1982" fmla="*/ 2470358 w 5794893"/>
              <a:gd name="connsiteY1982" fmla="*/ 4896521 h 6858000"/>
              <a:gd name="connsiteX1983" fmla="*/ 2590803 w 5794893"/>
              <a:gd name="connsiteY1983" fmla="*/ 4930934 h 6858000"/>
              <a:gd name="connsiteX1984" fmla="*/ 2596948 w 5794893"/>
              <a:gd name="connsiteY1984" fmla="*/ 4901437 h 6858000"/>
              <a:gd name="connsiteX1985" fmla="*/ 2719851 w 5794893"/>
              <a:gd name="connsiteY1985" fmla="*/ 4930934 h 6858000"/>
              <a:gd name="connsiteX1986" fmla="*/ 2724767 w 5794893"/>
              <a:gd name="connsiteY1986" fmla="*/ 4905123 h 6858000"/>
              <a:gd name="connsiteX1987" fmla="*/ 2850129 w 5794893"/>
              <a:gd name="connsiteY1987" fmla="*/ 4930934 h 6858000"/>
              <a:gd name="connsiteX1988" fmla="*/ 2853816 w 5794893"/>
              <a:gd name="connsiteY1988" fmla="*/ 4908811 h 6858000"/>
              <a:gd name="connsiteX1989" fmla="*/ 2980406 w 5794893"/>
              <a:gd name="connsiteY1989" fmla="*/ 4930934 h 6858000"/>
              <a:gd name="connsiteX1990" fmla="*/ 2982864 w 5794893"/>
              <a:gd name="connsiteY1990" fmla="*/ 4912497 h 6858000"/>
              <a:gd name="connsiteX1991" fmla="*/ 3109455 w 5794893"/>
              <a:gd name="connsiteY1991" fmla="*/ 4930934 h 6858000"/>
              <a:gd name="connsiteX1992" fmla="*/ 3110684 w 5794893"/>
              <a:gd name="connsiteY1992" fmla="*/ 4914956 h 6858000"/>
              <a:gd name="connsiteX1993" fmla="*/ 3238503 w 5794893"/>
              <a:gd name="connsiteY1993" fmla="*/ 4930934 h 6858000"/>
              <a:gd name="connsiteX1994" fmla="*/ 3239733 w 5794893"/>
              <a:gd name="connsiteY1994" fmla="*/ 4918643 h 6858000"/>
              <a:gd name="connsiteX1995" fmla="*/ 3368781 w 5794893"/>
              <a:gd name="connsiteY1995" fmla="*/ 4930934 h 6858000"/>
              <a:gd name="connsiteX1996" fmla="*/ 3370010 w 5794893"/>
              <a:gd name="connsiteY1996" fmla="*/ 4921101 h 6858000"/>
              <a:gd name="connsiteX1997" fmla="*/ 3499058 w 5794893"/>
              <a:gd name="connsiteY1997" fmla="*/ 4930934 h 6858000"/>
              <a:gd name="connsiteX1998" fmla="*/ 3499058 w 5794893"/>
              <a:gd name="connsiteY1998" fmla="*/ 4923559 h 6858000"/>
              <a:gd name="connsiteX1999" fmla="*/ 3628107 w 5794893"/>
              <a:gd name="connsiteY1999" fmla="*/ 4930934 h 6858000"/>
              <a:gd name="connsiteX2000" fmla="*/ 3628107 w 5794893"/>
              <a:gd name="connsiteY2000" fmla="*/ 4926017 h 6858000"/>
              <a:gd name="connsiteX2001" fmla="*/ 3636710 w 5794893"/>
              <a:gd name="connsiteY2001" fmla="*/ 4926017 h 6858000"/>
              <a:gd name="connsiteX2002" fmla="*/ 3716598 w 5794893"/>
              <a:gd name="connsiteY2002" fmla="*/ 4928476 h 6858000"/>
              <a:gd name="connsiteX2003" fmla="*/ 3716598 w 5794893"/>
              <a:gd name="connsiteY2003" fmla="*/ 4929704 h 6858000"/>
              <a:gd name="connsiteX2004" fmla="*/ 5721151 w 5794893"/>
              <a:gd name="connsiteY2004" fmla="*/ 4971491 h 6858000"/>
              <a:gd name="connsiteX2005" fmla="*/ 3717826 w 5794893"/>
              <a:gd name="connsiteY2005" fmla="*/ 4971491 h 6858000"/>
              <a:gd name="connsiteX2006" fmla="*/ 3717826 w 5794893"/>
              <a:gd name="connsiteY2006" fmla="*/ 4972721 h 6858000"/>
              <a:gd name="connsiteX2007" fmla="*/ 3599839 w 5794893"/>
              <a:gd name="connsiteY2007" fmla="*/ 4970263 h 6858000"/>
              <a:gd name="connsiteX2008" fmla="*/ 3599839 w 5794893"/>
              <a:gd name="connsiteY2008" fmla="*/ 4973949 h 6858000"/>
              <a:gd name="connsiteX2009" fmla="*/ 3481852 w 5794893"/>
              <a:gd name="connsiteY2009" fmla="*/ 4970263 h 6858000"/>
              <a:gd name="connsiteX2010" fmla="*/ 3481852 w 5794893"/>
              <a:gd name="connsiteY2010" fmla="*/ 4976407 h 6858000"/>
              <a:gd name="connsiteX2011" fmla="*/ 3363865 w 5794893"/>
              <a:gd name="connsiteY2011" fmla="*/ 4970263 h 6858000"/>
              <a:gd name="connsiteX2012" fmla="*/ 3363865 w 5794893"/>
              <a:gd name="connsiteY2012" fmla="*/ 4978865 h 6858000"/>
              <a:gd name="connsiteX2013" fmla="*/ 3245877 w 5794893"/>
              <a:gd name="connsiteY2013" fmla="*/ 4970263 h 6858000"/>
              <a:gd name="connsiteX2014" fmla="*/ 3245877 w 5794893"/>
              <a:gd name="connsiteY2014" fmla="*/ 4981323 h 6858000"/>
              <a:gd name="connsiteX2015" fmla="*/ 3127890 w 5794893"/>
              <a:gd name="connsiteY2015" fmla="*/ 4970263 h 6858000"/>
              <a:gd name="connsiteX2016" fmla="*/ 3126662 w 5794893"/>
              <a:gd name="connsiteY2016" fmla="*/ 4985011 h 6858000"/>
              <a:gd name="connsiteX2017" fmla="*/ 3008674 w 5794893"/>
              <a:gd name="connsiteY2017" fmla="*/ 4970263 h 6858000"/>
              <a:gd name="connsiteX2018" fmla="*/ 3007445 w 5794893"/>
              <a:gd name="connsiteY2018" fmla="*/ 4987469 h 6858000"/>
              <a:gd name="connsiteX2019" fmla="*/ 2890687 w 5794893"/>
              <a:gd name="connsiteY2019" fmla="*/ 4970263 h 6858000"/>
              <a:gd name="connsiteX2020" fmla="*/ 2888229 w 5794893"/>
              <a:gd name="connsiteY2020" fmla="*/ 4991156 h 6858000"/>
              <a:gd name="connsiteX2021" fmla="*/ 2772700 w 5794893"/>
              <a:gd name="connsiteY2021" fmla="*/ 4970263 h 6858000"/>
              <a:gd name="connsiteX2022" fmla="*/ 2769012 w 5794893"/>
              <a:gd name="connsiteY2022" fmla="*/ 4994843 h 6858000"/>
              <a:gd name="connsiteX2023" fmla="*/ 2654713 w 5794893"/>
              <a:gd name="connsiteY2023" fmla="*/ 4970263 h 6858000"/>
              <a:gd name="connsiteX2024" fmla="*/ 2649797 w 5794893"/>
              <a:gd name="connsiteY2024" fmla="*/ 4997301 h 6858000"/>
              <a:gd name="connsiteX2025" fmla="*/ 2536726 w 5794893"/>
              <a:gd name="connsiteY2025" fmla="*/ 4970263 h 6858000"/>
              <a:gd name="connsiteX2026" fmla="*/ 2530580 w 5794893"/>
              <a:gd name="connsiteY2026" fmla="*/ 5002218 h 6858000"/>
              <a:gd name="connsiteX2027" fmla="*/ 2418738 w 5794893"/>
              <a:gd name="connsiteY2027" fmla="*/ 4970263 h 6858000"/>
              <a:gd name="connsiteX2028" fmla="*/ 2411364 w 5794893"/>
              <a:gd name="connsiteY2028" fmla="*/ 5005904 h 6858000"/>
              <a:gd name="connsiteX2029" fmla="*/ 2300751 w 5794893"/>
              <a:gd name="connsiteY2029" fmla="*/ 4970263 h 6858000"/>
              <a:gd name="connsiteX2030" fmla="*/ 2290919 w 5794893"/>
              <a:gd name="connsiteY2030" fmla="*/ 5009592 h 6858000"/>
              <a:gd name="connsiteX2031" fmla="*/ 2182764 w 5794893"/>
              <a:gd name="connsiteY2031" fmla="*/ 4970263 h 6858000"/>
              <a:gd name="connsiteX2032" fmla="*/ 2170474 w 5794893"/>
              <a:gd name="connsiteY2032" fmla="*/ 5014508 h 6858000"/>
              <a:gd name="connsiteX2033" fmla="*/ 2064777 w 5794893"/>
              <a:gd name="connsiteY2033" fmla="*/ 4970263 h 6858000"/>
              <a:gd name="connsiteX2034" fmla="*/ 2048799 w 5794893"/>
              <a:gd name="connsiteY2034" fmla="*/ 5019424 h 6858000"/>
              <a:gd name="connsiteX2035" fmla="*/ 1946789 w 5794893"/>
              <a:gd name="connsiteY2035" fmla="*/ 4970263 h 6858000"/>
              <a:gd name="connsiteX2036" fmla="*/ 1927125 w 5794893"/>
              <a:gd name="connsiteY2036" fmla="*/ 5023110 h 6858000"/>
              <a:gd name="connsiteX2037" fmla="*/ 1828802 w 5794893"/>
              <a:gd name="connsiteY2037" fmla="*/ 4970263 h 6858000"/>
              <a:gd name="connsiteX2038" fmla="*/ 1804221 w 5794893"/>
              <a:gd name="connsiteY2038" fmla="*/ 5028027 h 6858000"/>
              <a:gd name="connsiteX2039" fmla="*/ 1710815 w 5794893"/>
              <a:gd name="connsiteY2039" fmla="*/ 4970263 h 6858000"/>
              <a:gd name="connsiteX2040" fmla="*/ 1681318 w 5794893"/>
              <a:gd name="connsiteY2040" fmla="*/ 5032943 h 6858000"/>
              <a:gd name="connsiteX2041" fmla="*/ 1592828 w 5794893"/>
              <a:gd name="connsiteY2041" fmla="*/ 4970263 h 6858000"/>
              <a:gd name="connsiteX2042" fmla="*/ 1557659 w 5794893"/>
              <a:gd name="connsiteY2042" fmla="*/ 5033322 h 6858000"/>
              <a:gd name="connsiteX2043" fmla="*/ 1477299 w 5794893"/>
              <a:gd name="connsiteY2043" fmla="*/ 4969033 h 6858000"/>
              <a:gd name="connsiteX2044" fmla="*/ 1440428 w 5794893"/>
              <a:gd name="connsiteY2044" fmla="*/ 5028027 h 6858000"/>
              <a:gd name="connsiteX2045" fmla="*/ 1557185 w 5794893"/>
              <a:gd name="connsiteY2045" fmla="*/ 5121433 h 6858000"/>
              <a:gd name="connsiteX2046" fmla="*/ 1594056 w 5794893"/>
              <a:gd name="connsiteY2046" fmla="*/ 5062440 h 6858000"/>
              <a:gd name="connsiteX2047" fmla="*/ 1569358 w 5794893"/>
              <a:gd name="connsiteY2047" fmla="*/ 5042682 h 6858000"/>
              <a:gd name="connsiteX2048" fmla="*/ 1683776 w 5794893"/>
              <a:gd name="connsiteY2048" fmla="*/ 5122663 h 6858000"/>
              <a:gd name="connsiteX2049" fmla="*/ 1716959 w 5794893"/>
              <a:gd name="connsiteY2049" fmla="*/ 5062440 h 6858000"/>
              <a:gd name="connsiteX2050" fmla="*/ 1814054 w 5794893"/>
              <a:gd name="connsiteY2050" fmla="*/ 5122663 h 6858000"/>
              <a:gd name="connsiteX2051" fmla="*/ 1841092 w 5794893"/>
              <a:gd name="connsiteY2051" fmla="*/ 5067356 h 6858000"/>
              <a:gd name="connsiteX2052" fmla="*/ 1944331 w 5794893"/>
              <a:gd name="connsiteY2052" fmla="*/ 5122663 h 6858000"/>
              <a:gd name="connsiteX2053" fmla="*/ 1966454 w 5794893"/>
              <a:gd name="connsiteY2053" fmla="*/ 5071043 h 6858000"/>
              <a:gd name="connsiteX2054" fmla="*/ 2074609 w 5794893"/>
              <a:gd name="connsiteY2054" fmla="*/ 5122663 h 6858000"/>
              <a:gd name="connsiteX2055" fmla="*/ 2091815 w 5794893"/>
              <a:gd name="connsiteY2055" fmla="*/ 5075960 h 6858000"/>
              <a:gd name="connsiteX2056" fmla="*/ 2203657 w 5794893"/>
              <a:gd name="connsiteY2056" fmla="*/ 5122663 h 6858000"/>
              <a:gd name="connsiteX2057" fmla="*/ 2217177 w 5794893"/>
              <a:gd name="connsiteY2057" fmla="*/ 5079646 h 6858000"/>
              <a:gd name="connsiteX2058" fmla="*/ 2332706 w 5794893"/>
              <a:gd name="connsiteY2058" fmla="*/ 5122663 h 6858000"/>
              <a:gd name="connsiteX2059" fmla="*/ 2343767 w 5794893"/>
              <a:gd name="connsiteY2059" fmla="*/ 5084562 h 6858000"/>
              <a:gd name="connsiteX2060" fmla="*/ 2462984 w 5794893"/>
              <a:gd name="connsiteY2060" fmla="*/ 5122663 h 6858000"/>
              <a:gd name="connsiteX2061" fmla="*/ 2471586 w 5794893"/>
              <a:gd name="connsiteY2061" fmla="*/ 5088250 h 6858000"/>
              <a:gd name="connsiteX2062" fmla="*/ 2593261 w 5794893"/>
              <a:gd name="connsiteY2062" fmla="*/ 5122663 h 6858000"/>
              <a:gd name="connsiteX2063" fmla="*/ 2599406 w 5794893"/>
              <a:gd name="connsiteY2063" fmla="*/ 5093166 h 6858000"/>
              <a:gd name="connsiteX2064" fmla="*/ 2722309 w 5794893"/>
              <a:gd name="connsiteY2064" fmla="*/ 5122663 h 6858000"/>
              <a:gd name="connsiteX2065" fmla="*/ 2727225 w 5794893"/>
              <a:gd name="connsiteY2065" fmla="*/ 5096852 h 6858000"/>
              <a:gd name="connsiteX2066" fmla="*/ 2852587 w 5794893"/>
              <a:gd name="connsiteY2066" fmla="*/ 5122663 h 6858000"/>
              <a:gd name="connsiteX2067" fmla="*/ 2856274 w 5794893"/>
              <a:gd name="connsiteY2067" fmla="*/ 5100540 h 6858000"/>
              <a:gd name="connsiteX2068" fmla="*/ 2982864 w 5794893"/>
              <a:gd name="connsiteY2068" fmla="*/ 5122663 h 6858000"/>
              <a:gd name="connsiteX2069" fmla="*/ 2985322 w 5794893"/>
              <a:gd name="connsiteY2069" fmla="*/ 5104227 h 6858000"/>
              <a:gd name="connsiteX2070" fmla="*/ 3111913 w 5794893"/>
              <a:gd name="connsiteY2070" fmla="*/ 5122663 h 6858000"/>
              <a:gd name="connsiteX2071" fmla="*/ 3113142 w 5794893"/>
              <a:gd name="connsiteY2071" fmla="*/ 5106685 h 6858000"/>
              <a:gd name="connsiteX2072" fmla="*/ 3240961 w 5794893"/>
              <a:gd name="connsiteY2072" fmla="*/ 5122663 h 6858000"/>
              <a:gd name="connsiteX2073" fmla="*/ 3242191 w 5794893"/>
              <a:gd name="connsiteY2073" fmla="*/ 5110372 h 6858000"/>
              <a:gd name="connsiteX2074" fmla="*/ 3371239 w 5794893"/>
              <a:gd name="connsiteY2074" fmla="*/ 5122663 h 6858000"/>
              <a:gd name="connsiteX2075" fmla="*/ 3372468 w 5794893"/>
              <a:gd name="connsiteY2075" fmla="*/ 5112831 h 6858000"/>
              <a:gd name="connsiteX2076" fmla="*/ 3501516 w 5794893"/>
              <a:gd name="connsiteY2076" fmla="*/ 5122663 h 6858000"/>
              <a:gd name="connsiteX2077" fmla="*/ 3501516 w 5794893"/>
              <a:gd name="connsiteY2077" fmla="*/ 5115289 h 6858000"/>
              <a:gd name="connsiteX2078" fmla="*/ 3630565 w 5794893"/>
              <a:gd name="connsiteY2078" fmla="*/ 5122663 h 6858000"/>
              <a:gd name="connsiteX2079" fmla="*/ 3630565 w 5794893"/>
              <a:gd name="connsiteY2079" fmla="*/ 5117747 h 6858000"/>
              <a:gd name="connsiteX2080" fmla="*/ 3639168 w 5794893"/>
              <a:gd name="connsiteY2080" fmla="*/ 5117747 h 6858000"/>
              <a:gd name="connsiteX2081" fmla="*/ 3719056 w 5794893"/>
              <a:gd name="connsiteY2081" fmla="*/ 5120205 h 6858000"/>
              <a:gd name="connsiteX2082" fmla="*/ 3719056 w 5794893"/>
              <a:gd name="connsiteY2082" fmla="*/ 5121433 h 6858000"/>
              <a:gd name="connsiteX2083" fmla="*/ 5716236 w 5794893"/>
              <a:gd name="connsiteY2083" fmla="*/ 5163220 h 6858000"/>
              <a:gd name="connsiteX2084" fmla="*/ 3719056 w 5794893"/>
              <a:gd name="connsiteY2084" fmla="*/ 5163220 h 6858000"/>
              <a:gd name="connsiteX2085" fmla="*/ 3719056 w 5794893"/>
              <a:gd name="connsiteY2085" fmla="*/ 5165678 h 6858000"/>
              <a:gd name="connsiteX2086" fmla="*/ 3601069 w 5794893"/>
              <a:gd name="connsiteY2086" fmla="*/ 5163220 h 6858000"/>
              <a:gd name="connsiteX2087" fmla="*/ 3601069 w 5794893"/>
              <a:gd name="connsiteY2087" fmla="*/ 5166908 h 6858000"/>
              <a:gd name="connsiteX2088" fmla="*/ 3483081 w 5794893"/>
              <a:gd name="connsiteY2088" fmla="*/ 5163220 h 6858000"/>
              <a:gd name="connsiteX2089" fmla="*/ 3483081 w 5794893"/>
              <a:gd name="connsiteY2089" fmla="*/ 5169366 h 6858000"/>
              <a:gd name="connsiteX2090" fmla="*/ 3365094 w 5794893"/>
              <a:gd name="connsiteY2090" fmla="*/ 5163220 h 6858000"/>
              <a:gd name="connsiteX2091" fmla="*/ 3365094 w 5794893"/>
              <a:gd name="connsiteY2091" fmla="*/ 5171824 h 6858000"/>
              <a:gd name="connsiteX2092" fmla="*/ 3247107 w 5794893"/>
              <a:gd name="connsiteY2092" fmla="*/ 5163220 h 6858000"/>
              <a:gd name="connsiteX2093" fmla="*/ 3247107 w 5794893"/>
              <a:gd name="connsiteY2093" fmla="*/ 5174282 h 6858000"/>
              <a:gd name="connsiteX2094" fmla="*/ 3129120 w 5794893"/>
              <a:gd name="connsiteY2094" fmla="*/ 5163220 h 6858000"/>
              <a:gd name="connsiteX2095" fmla="*/ 3127890 w 5794893"/>
              <a:gd name="connsiteY2095" fmla="*/ 5177969 h 6858000"/>
              <a:gd name="connsiteX2096" fmla="*/ 3009903 w 5794893"/>
              <a:gd name="connsiteY2096" fmla="*/ 5163220 h 6858000"/>
              <a:gd name="connsiteX2097" fmla="*/ 3008674 w 5794893"/>
              <a:gd name="connsiteY2097" fmla="*/ 5180427 h 6858000"/>
              <a:gd name="connsiteX2098" fmla="*/ 2891916 w 5794893"/>
              <a:gd name="connsiteY2098" fmla="*/ 5163220 h 6858000"/>
              <a:gd name="connsiteX2099" fmla="*/ 2889458 w 5794893"/>
              <a:gd name="connsiteY2099" fmla="*/ 5184115 h 6858000"/>
              <a:gd name="connsiteX2100" fmla="*/ 2773928 w 5794893"/>
              <a:gd name="connsiteY2100" fmla="*/ 5163220 h 6858000"/>
              <a:gd name="connsiteX2101" fmla="*/ 2770242 w 5794893"/>
              <a:gd name="connsiteY2101" fmla="*/ 5187801 h 6858000"/>
              <a:gd name="connsiteX2102" fmla="*/ 2655941 w 5794893"/>
              <a:gd name="connsiteY2102" fmla="*/ 5163220 h 6858000"/>
              <a:gd name="connsiteX2103" fmla="*/ 2651025 w 5794893"/>
              <a:gd name="connsiteY2103" fmla="*/ 5190259 h 6858000"/>
              <a:gd name="connsiteX2104" fmla="*/ 2537954 w 5794893"/>
              <a:gd name="connsiteY2104" fmla="*/ 5163220 h 6858000"/>
              <a:gd name="connsiteX2105" fmla="*/ 2531809 w 5794893"/>
              <a:gd name="connsiteY2105" fmla="*/ 5195175 h 6858000"/>
              <a:gd name="connsiteX2106" fmla="*/ 2419967 w 5794893"/>
              <a:gd name="connsiteY2106" fmla="*/ 5163220 h 6858000"/>
              <a:gd name="connsiteX2107" fmla="*/ 2412593 w 5794893"/>
              <a:gd name="connsiteY2107" fmla="*/ 5198863 h 6858000"/>
              <a:gd name="connsiteX2108" fmla="*/ 2301980 w 5794893"/>
              <a:gd name="connsiteY2108" fmla="*/ 5163220 h 6858000"/>
              <a:gd name="connsiteX2109" fmla="*/ 2292147 w 5794893"/>
              <a:gd name="connsiteY2109" fmla="*/ 5202549 h 6858000"/>
              <a:gd name="connsiteX2110" fmla="*/ 2183992 w 5794893"/>
              <a:gd name="connsiteY2110" fmla="*/ 5163220 h 6858000"/>
              <a:gd name="connsiteX2111" fmla="*/ 2171702 w 5794893"/>
              <a:gd name="connsiteY2111" fmla="*/ 5207466 h 6858000"/>
              <a:gd name="connsiteX2112" fmla="*/ 2066005 w 5794893"/>
              <a:gd name="connsiteY2112" fmla="*/ 5163220 h 6858000"/>
              <a:gd name="connsiteX2113" fmla="*/ 2050028 w 5794893"/>
              <a:gd name="connsiteY2113" fmla="*/ 5212382 h 6858000"/>
              <a:gd name="connsiteX2114" fmla="*/ 1948018 w 5794893"/>
              <a:gd name="connsiteY2114" fmla="*/ 5163220 h 6858000"/>
              <a:gd name="connsiteX2115" fmla="*/ 1928353 w 5794893"/>
              <a:gd name="connsiteY2115" fmla="*/ 5216069 h 6858000"/>
              <a:gd name="connsiteX2116" fmla="*/ 1830031 w 5794893"/>
              <a:gd name="connsiteY2116" fmla="*/ 5163220 h 6858000"/>
              <a:gd name="connsiteX2117" fmla="*/ 1805450 w 5794893"/>
              <a:gd name="connsiteY2117" fmla="*/ 5220986 h 6858000"/>
              <a:gd name="connsiteX2118" fmla="*/ 1712043 w 5794893"/>
              <a:gd name="connsiteY2118" fmla="*/ 5163220 h 6858000"/>
              <a:gd name="connsiteX2119" fmla="*/ 1682547 w 5794893"/>
              <a:gd name="connsiteY2119" fmla="*/ 5225902 h 6858000"/>
              <a:gd name="connsiteX2120" fmla="*/ 1594056 w 5794893"/>
              <a:gd name="connsiteY2120" fmla="*/ 5163220 h 6858000"/>
              <a:gd name="connsiteX2121" fmla="*/ 1558415 w 5794893"/>
              <a:gd name="connsiteY2121" fmla="*/ 5227130 h 6858000"/>
              <a:gd name="connsiteX2122" fmla="*/ 1685005 w 5794893"/>
              <a:gd name="connsiteY2122" fmla="*/ 5315620 h 6858000"/>
              <a:gd name="connsiteX2123" fmla="*/ 1718189 w 5794893"/>
              <a:gd name="connsiteY2123" fmla="*/ 5255398 h 6858000"/>
              <a:gd name="connsiteX2124" fmla="*/ 1815282 w 5794893"/>
              <a:gd name="connsiteY2124" fmla="*/ 5315620 h 6858000"/>
              <a:gd name="connsiteX2125" fmla="*/ 1842321 w 5794893"/>
              <a:gd name="connsiteY2125" fmla="*/ 5260315 h 6858000"/>
              <a:gd name="connsiteX2126" fmla="*/ 1945560 w 5794893"/>
              <a:gd name="connsiteY2126" fmla="*/ 5315620 h 6858000"/>
              <a:gd name="connsiteX2127" fmla="*/ 1967682 w 5794893"/>
              <a:gd name="connsiteY2127" fmla="*/ 5264001 h 6858000"/>
              <a:gd name="connsiteX2128" fmla="*/ 2075837 w 5794893"/>
              <a:gd name="connsiteY2128" fmla="*/ 5315620 h 6858000"/>
              <a:gd name="connsiteX2129" fmla="*/ 2093044 w 5794893"/>
              <a:gd name="connsiteY2129" fmla="*/ 5268917 h 6858000"/>
              <a:gd name="connsiteX2130" fmla="*/ 2204887 w 5794893"/>
              <a:gd name="connsiteY2130" fmla="*/ 5315620 h 6858000"/>
              <a:gd name="connsiteX2131" fmla="*/ 2218405 w 5794893"/>
              <a:gd name="connsiteY2131" fmla="*/ 5272605 h 6858000"/>
              <a:gd name="connsiteX2132" fmla="*/ 2333934 w 5794893"/>
              <a:gd name="connsiteY2132" fmla="*/ 5315620 h 6858000"/>
              <a:gd name="connsiteX2133" fmla="*/ 2344996 w 5794893"/>
              <a:gd name="connsiteY2133" fmla="*/ 5277521 h 6858000"/>
              <a:gd name="connsiteX2134" fmla="*/ 2464212 w 5794893"/>
              <a:gd name="connsiteY2134" fmla="*/ 5315620 h 6858000"/>
              <a:gd name="connsiteX2135" fmla="*/ 2472816 w 5794893"/>
              <a:gd name="connsiteY2135" fmla="*/ 5281208 h 6858000"/>
              <a:gd name="connsiteX2136" fmla="*/ 2594490 w 5794893"/>
              <a:gd name="connsiteY2136" fmla="*/ 5315620 h 6858000"/>
              <a:gd name="connsiteX2137" fmla="*/ 2600635 w 5794893"/>
              <a:gd name="connsiteY2137" fmla="*/ 5286124 h 6858000"/>
              <a:gd name="connsiteX2138" fmla="*/ 2723539 w 5794893"/>
              <a:gd name="connsiteY2138" fmla="*/ 5315620 h 6858000"/>
              <a:gd name="connsiteX2139" fmla="*/ 2728455 w 5794893"/>
              <a:gd name="connsiteY2139" fmla="*/ 5289811 h 6858000"/>
              <a:gd name="connsiteX2140" fmla="*/ 2853816 w 5794893"/>
              <a:gd name="connsiteY2140" fmla="*/ 5316850 h 6858000"/>
              <a:gd name="connsiteX2141" fmla="*/ 2857503 w 5794893"/>
              <a:gd name="connsiteY2141" fmla="*/ 5294728 h 6858000"/>
              <a:gd name="connsiteX2142" fmla="*/ 2984094 w 5794893"/>
              <a:gd name="connsiteY2142" fmla="*/ 5316850 h 6858000"/>
              <a:gd name="connsiteX2143" fmla="*/ 2986552 w 5794893"/>
              <a:gd name="connsiteY2143" fmla="*/ 5298414 h 6858000"/>
              <a:gd name="connsiteX2144" fmla="*/ 3113142 w 5794893"/>
              <a:gd name="connsiteY2144" fmla="*/ 5316850 h 6858000"/>
              <a:gd name="connsiteX2145" fmla="*/ 3114371 w 5794893"/>
              <a:gd name="connsiteY2145" fmla="*/ 5300872 h 6858000"/>
              <a:gd name="connsiteX2146" fmla="*/ 3242191 w 5794893"/>
              <a:gd name="connsiteY2146" fmla="*/ 5316850 h 6858000"/>
              <a:gd name="connsiteX2147" fmla="*/ 3243419 w 5794893"/>
              <a:gd name="connsiteY2147" fmla="*/ 5304560 h 6858000"/>
              <a:gd name="connsiteX2148" fmla="*/ 3372468 w 5794893"/>
              <a:gd name="connsiteY2148" fmla="*/ 5316850 h 6858000"/>
              <a:gd name="connsiteX2149" fmla="*/ 3373697 w 5794893"/>
              <a:gd name="connsiteY2149" fmla="*/ 5307018 h 6858000"/>
              <a:gd name="connsiteX2150" fmla="*/ 3502746 w 5794893"/>
              <a:gd name="connsiteY2150" fmla="*/ 5316850 h 6858000"/>
              <a:gd name="connsiteX2151" fmla="*/ 3502746 w 5794893"/>
              <a:gd name="connsiteY2151" fmla="*/ 5309476 h 6858000"/>
              <a:gd name="connsiteX2152" fmla="*/ 3631794 w 5794893"/>
              <a:gd name="connsiteY2152" fmla="*/ 5316850 h 6858000"/>
              <a:gd name="connsiteX2153" fmla="*/ 3631794 w 5794893"/>
              <a:gd name="connsiteY2153" fmla="*/ 5311934 h 6858000"/>
              <a:gd name="connsiteX2154" fmla="*/ 3640398 w 5794893"/>
              <a:gd name="connsiteY2154" fmla="*/ 5311934 h 6858000"/>
              <a:gd name="connsiteX2155" fmla="*/ 3720284 w 5794893"/>
              <a:gd name="connsiteY2155" fmla="*/ 5314392 h 6858000"/>
              <a:gd name="connsiteX2156" fmla="*/ 3720284 w 5794893"/>
              <a:gd name="connsiteY2156" fmla="*/ 5318079 h 6858000"/>
              <a:gd name="connsiteX2157" fmla="*/ 5611768 w 5794893"/>
              <a:gd name="connsiteY2157" fmla="*/ 5353721 h 6858000"/>
              <a:gd name="connsiteX2158" fmla="*/ 3720284 w 5794893"/>
              <a:gd name="connsiteY2158" fmla="*/ 5353721 h 6858000"/>
              <a:gd name="connsiteX2159" fmla="*/ 3720284 w 5794893"/>
              <a:gd name="connsiteY2159" fmla="*/ 5354950 h 6858000"/>
              <a:gd name="connsiteX2160" fmla="*/ 3602297 w 5794893"/>
              <a:gd name="connsiteY2160" fmla="*/ 5352493 h 6858000"/>
              <a:gd name="connsiteX2161" fmla="*/ 3602297 w 5794893"/>
              <a:gd name="connsiteY2161" fmla="*/ 5356179 h 6858000"/>
              <a:gd name="connsiteX2162" fmla="*/ 3484310 w 5794893"/>
              <a:gd name="connsiteY2162" fmla="*/ 5352493 h 6858000"/>
              <a:gd name="connsiteX2163" fmla="*/ 3484310 w 5794893"/>
              <a:gd name="connsiteY2163" fmla="*/ 5358637 h 6858000"/>
              <a:gd name="connsiteX2164" fmla="*/ 3366323 w 5794893"/>
              <a:gd name="connsiteY2164" fmla="*/ 5352493 h 6858000"/>
              <a:gd name="connsiteX2165" fmla="*/ 3366323 w 5794893"/>
              <a:gd name="connsiteY2165" fmla="*/ 5361095 h 6858000"/>
              <a:gd name="connsiteX2166" fmla="*/ 3248335 w 5794893"/>
              <a:gd name="connsiteY2166" fmla="*/ 5352493 h 6858000"/>
              <a:gd name="connsiteX2167" fmla="*/ 3248335 w 5794893"/>
              <a:gd name="connsiteY2167" fmla="*/ 5363553 h 6858000"/>
              <a:gd name="connsiteX2168" fmla="*/ 3130348 w 5794893"/>
              <a:gd name="connsiteY2168" fmla="*/ 5352493 h 6858000"/>
              <a:gd name="connsiteX2169" fmla="*/ 3129120 w 5794893"/>
              <a:gd name="connsiteY2169" fmla="*/ 5367240 h 6858000"/>
              <a:gd name="connsiteX2170" fmla="*/ 3011133 w 5794893"/>
              <a:gd name="connsiteY2170" fmla="*/ 5352493 h 6858000"/>
              <a:gd name="connsiteX2171" fmla="*/ 3009903 w 5794893"/>
              <a:gd name="connsiteY2171" fmla="*/ 5369698 h 6858000"/>
              <a:gd name="connsiteX2172" fmla="*/ 2893145 w 5794893"/>
              <a:gd name="connsiteY2172" fmla="*/ 5352493 h 6858000"/>
              <a:gd name="connsiteX2173" fmla="*/ 2890687 w 5794893"/>
              <a:gd name="connsiteY2173" fmla="*/ 5373386 h 6858000"/>
              <a:gd name="connsiteX2174" fmla="*/ 2775158 w 5794893"/>
              <a:gd name="connsiteY2174" fmla="*/ 5352493 h 6858000"/>
              <a:gd name="connsiteX2175" fmla="*/ 2771470 w 5794893"/>
              <a:gd name="connsiteY2175" fmla="*/ 5375844 h 6858000"/>
              <a:gd name="connsiteX2176" fmla="*/ 2657171 w 5794893"/>
              <a:gd name="connsiteY2176" fmla="*/ 5352493 h 6858000"/>
              <a:gd name="connsiteX2177" fmla="*/ 2652255 w 5794893"/>
              <a:gd name="connsiteY2177" fmla="*/ 5379530 h 6858000"/>
              <a:gd name="connsiteX2178" fmla="*/ 2539184 w 5794893"/>
              <a:gd name="connsiteY2178" fmla="*/ 5352493 h 6858000"/>
              <a:gd name="connsiteX2179" fmla="*/ 2533038 w 5794893"/>
              <a:gd name="connsiteY2179" fmla="*/ 5383218 h 6858000"/>
              <a:gd name="connsiteX2180" fmla="*/ 2421196 w 5794893"/>
              <a:gd name="connsiteY2180" fmla="*/ 5352493 h 6858000"/>
              <a:gd name="connsiteX2181" fmla="*/ 2413822 w 5794893"/>
              <a:gd name="connsiteY2181" fmla="*/ 5388134 h 6858000"/>
              <a:gd name="connsiteX2182" fmla="*/ 2303209 w 5794893"/>
              <a:gd name="connsiteY2182" fmla="*/ 5352493 h 6858000"/>
              <a:gd name="connsiteX2183" fmla="*/ 2293377 w 5794893"/>
              <a:gd name="connsiteY2183" fmla="*/ 5391821 h 6858000"/>
              <a:gd name="connsiteX2184" fmla="*/ 2185222 w 5794893"/>
              <a:gd name="connsiteY2184" fmla="*/ 5352493 h 6858000"/>
              <a:gd name="connsiteX2185" fmla="*/ 2172932 w 5794893"/>
              <a:gd name="connsiteY2185" fmla="*/ 5396738 h 6858000"/>
              <a:gd name="connsiteX2186" fmla="*/ 2067235 w 5794893"/>
              <a:gd name="connsiteY2186" fmla="*/ 5352493 h 6858000"/>
              <a:gd name="connsiteX2187" fmla="*/ 2051257 w 5794893"/>
              <a:gd name="connsiteY2187" fmla="*/ 5401654 h 6858000"/>
              <a:gd name="connsiteX2188" fmla="*/ 1949247 w 5794893"/>
              <a:gd name="connsiteY2188" fmla="*/ 5352493 h 6858000"/>
              <a:gd name="connsiteX2189" fmla="*/ 1929583 w 5794893"/>
              <a:gd name="connsiteY2189" fmla="*/ 5405341 h 6858000"/>
              <a:gd name="connsiteX2190" fmla="*/ 1831260 w 5794893"/>
              <a:gd name="connsiteY2190" fmla="*/ 5352493 h 6858000"/>
              <a:gd name="connsiteX2191" fmla="*/ 1806680 w 5794893"/>
              <a:gd name="connsiteY2191" fmla="*/ 5410257 h 6858000"/>
              <a:gd name="connsiteX2192" fmla="*/ 1713273 w 5794893"/>
              <a:gd name="connsiteY2192" fmla="*/ 5352493 h 6858000"/>
              <a:gd name="connsiteX2193" fmla="*/ 1683776 w 5794893"/>
              <a:gd name="connsiteY2193" fmla="*/ 5415173 h 6858000"/>
              <a:gd name="connsiteX2194" fmla="*/ 1595286 w 5794893"/>
              <a:gd name="connsiteY2194" fmla="*/ 5353721 h 6858000"/>
              <a:gd name="connsiteX2195" fmla="*/ 1559643 w 5794893"/>
              <a:gd name="connsiteY2195" fmla="*/ 5417631 h 6858000"/>
              <a:gd name="connsiteX2196" fmla="*/ 1686234 w 5794893"/>
              <a:gd name="connsiteY2196" fmla="*/ 5506121 h 6858000"/>
              <a:gd name="connsiteX2197" fmla="*/ 1719418 w 5794893"/>
              <a:gd name="connsiteY2197" fmla="*/ 5445899 h 6858000"/>
              <a:gd name="connsiteX2198" fmla="*/ 1816512 w 5794893"/>
              <a:gd name="connsiteY2198" fmla="*/ 5506121 h 6858000"/>
              <a:gd name="connsiteX2199" fmla="*/ 1843551 w 5794893"/>
              <a:gd name="connsiteY2199" fmla="*/ 5450815 h 6858000"/>
              <a:gd name="connsiteX2200" fmla="*/ 1946789 w 5794893"/>
              <a:gd name="connsiteY2200" fmla="*/ 5506121 h 6858000"/>
              <a:gd name="connsiteX2201" fmla="*/ 1968912 w 5794893"/>
              <a:gd name="connsiteY2201" fmla="*/ 5454502 h 6858000"/>
              <a:gd name="connsiteX2202" fmla="*/ 2077067 w 5794893"/>
              <a:gd name="connsiteY2202" fmla="*/ 5506121 h 6858000"/>
              <a:gd name="connsiteX2203" fmla="*/ 2094273 w 5794893"/>
              <a:gd name="connsiteY2203" fmla="*/ 5459418 h 6858000"/>
              <a:gd name="connsiteX2204" fmla="*/ 2206115 w 5794893"/>
              <a:gd name="connsiteY2204" fmla="*/ 5506121 h 6858000"/>
              <a:gd name="connsiteX2205" fmla="*/ 2219635 w 5794893"/>
              <a:gd name="connsiteY2205" fmla="*/ 5463106 h 6858000"/>
              <a:gd name="connsiteX2206" fmla="*/ 2335164 w 5794893"/>
              <a:gd name="connsiteY2206" fmla="*/ 5506121 h 6858000"/>
              <a:gd name="connsiteX2207" fmla="*/ 2346225 w 5794893"/>
              <a:gd name="connsiteY2207" fmla="*/ 5468021 h 6858000"/>
              <a:gd name="connsiteX2208" fmla="*/ 2465442 w 5794893"/>
              <a:gd name="connsiteY2208" fmla="*/ 5506121 h 6858000"/>
              <a:gd name="connsiteX2209" fmla="*/ 2474044 w 5794893"/>
              <a:gd name="connsiteY2209" fmla="*/ 5471708 h 6858000"/>
              <a:gd name="connsiteX2210" fmla="*/ 2595719 w 5794893"/>
              <a:gd name="connsiteY2210" fmla="*/ 5506121 h 6858000"/>
              <a:gd name="connsiteX2211" fmla="*/ 2601864 w 5794893"/>
              <a:gd name="connsiteY2211" fmla="*/ 5476625 h 6858000"/>
              <a:gd name="connsiteX2212" fmla="*/ 2724767 w 5794893"/>
              <a:gd name="connsiteY2212" fmla="*/ 5506121 h 6858000"/>
              <a:gd name="connsiteX2213" fmla="*/ 2729683 w 5794893"/>
              <a:gd name="connsiteY2213" fmla="*/ 5480311 h 6858000"/>
              <a:gd name="connsiteX2214" fmla="*/ 2855045 w 5794893"/>
              <a:gd name="connsiteY2214" fmla="*/ 5506121 h 6858000"/>
              <a:gd name="connsiteX2215" fmla="*/ 2858732 w 5794893"/>
              <a:gd name="connsiteY2215" fmla="*/ 5483999 h 6858000"/>
              <a:gd name="connsiteX2216" fmla="*/ 2985322 w 5794893"/>
              <a:gd name="connsiteY2216" fmla="*/ 5506121 h 6858000"/>
              <a:gd name="connsiteX2217" fmla="*/ 2987780 w 5794893"/>
              <a:gd name="connsiteY2217" fmla="*/ 5487686 h 6858000"/>
              <a:gd name="connsiteX2218" fmla="*/ 3114371 w 5794893"/>
              <a:gd name="connsiteY2218" fmla="*/ 5506121 h 6858000"/>
              <a:gd name="connsiteX2219" fmla="*/ 3115600 w 5794893"/>
              <a:gd name="connsiteY2219" fmla="*/ 5490143 h 6858000"/>
              <a:gd name="connsiteX2220" fmla="*/ 3243419 w 5794893"/>
              <a:gd name="connsiteY2220" fmla="*/ 5506121 h 6858000"/>
              <a:gd name="connsiteX2221" fmla="*/ 3244649 w 5794893"/>
              <a:gd name="connsiteY2221" fmla="*/ 5493831 h 6858000"/>
              <a:gd name="connsiteX2222" fmla="*/ 3373697 w 5794893"/>
              <a:gd name="connsiteY2222" fmla="*/ 5506121 h 6858000"/>
              <a:gd name="connsiteX2223" fmla="*/ 3374927 w 5794893"/>
              <a:gd name="connsiteY2223" fmla="*/ 5496289 h 6858000"/>
              <a:gd name="connsiteX2224" fmla="*/ 3503974 w 5794893"/>
              <a:gd name="connsiteY2224" fmla="*/ 5506121 h 6858000"/>
              <a:gd name="connsiteX2225" fmla="*/ 3503974 w 5794893"/>
              <a:gd name="connsiteY2225" fmla="*/ 5498747 h 6858000"/>
              <a:gd name="connsiteX2226" fmla="*/ 3633024 w 5794893"/>
              <a:gd name="connsiteY2226" fmla="*/ 5506121 h 6858000"/>
              <a:gd name="connsiteX2227" fmla="*/ 3633024 w 5794893"/>
              <a:gd name="connsiteY2227" fmla="*/ 5501205 h 6858000"/>
              <a:gd name="connsiteX2228" fmla="*/ 3641626 w 5794893"/>
              <a:gd name="connsiteY2228" fmla="*/ 5501205 h 6858000"/>
              <a:gd name="connsiteX2229" fmla="*/ 3721514 w 5794893"/>
              <a:gd name="connsiteY2229" fmla="*/ 5503663 h 6858000"/>
              <a:gd name="connsiteX2230" fmla="*/ 3721514 w 5794893"/>
              <a:gd name="connsiteY2230" fmla="*/ 5504892 h 6858000"/>
              <a:gd name="connsiteX2231" fmla="*/ 5766626 w 5794893"/>
              <a:gd name="connsiteY2231" fmla="*/ 5542992 h 6858000"/>
              <a:gd name="connsiteX2232" fmla="*/ 3720284 w 5794893"/>
              <a:gd name="connsiteY2232" fmla="*/ 5542992 h 6858000"/>
              <a:gd name="connsiteX2233" fmla="*/ 3720284 w 5794893"/>
              <a:gd name="connsiteY2233" fmla="*/ 5545450 h 6858000"/>
              <a:gd name="connsiteX2234" fmla="*/ 3602297 w 5794893"/>
              <a:gd name="connsiteY2234" fmla="*/ 5542992 h 6858000"/>
              <a:gd name="connsiteX2235" fmla="*/ 3602297 w 5794893"/>
              <a:gd name="connsiteY2235" fmla="*/ 5546679 h 6858000"/>
              <a:gd name="connsiteX2236" fmla="*/ 3484310 w 5794893"/>
              <a:gd name="connsiteY2236" fmla="*/ 5542992 h 6858000"/>
              <a:gd name="connsiteX2237" fmla="*/ 3484310 w 5794893"/>
              <a:gd name="connsiteY2237" fmla="*/ 5549138 h 6858000"/>
              <a:gd name="connsiteX2238" fmla="*/ 3366323 w 5794893"/>
              <a:gd name="connsiteY2238" fmla="*/ 5542992 h 6858000"/>
              <a:gd name="connsiteX2239" fmla="*/ 3366323 w 5794893"/>
              <a:gd name="connsiteY2239" fmla="*/ 5551595 h 6858000"/>
              <a:gd name="connsiteX2240" fmla="*/ 3248335 w 5794893"/>
              <a:gd name="connsiteY2240" fmla="*/ 5542992 h 6858000"/>
              <a:gd name="connsiteX2241" fmla="*/ 3248335 w 5794893"/>
              <a:gd name="connsiteY2241" fmla="*/ 5554053 h 6858000"/>
              <a:gd name="connsiteX2242" fmla="*/ 3130348 w 5794893"/>
              <a:gd name="connsiteY2242" fmla="*/ 5542992 h 6858000"/>
              <a:gd name="connsiteX2243" fmla="*/ 3129120 w 5794893"/>
              <a:gd name="connsiteY2243" fmla="*/ 5557741 h 6858000"/>
              <a:gd name="connsiteX2244" fmla="*/ 3011133 w 5794893"/>
              <a:gd name="connsiteY2244" fmla="*/ 5542992 h 6858000"/>
              <a:gd name="connsiteX2245" fmla="*/ 3009903 w 5794893"/>
              <a:gd name="connsiteY2245" fmla="*/ 5560199 h 6858000"/>
              <a:gd name="connsiteX2246" fmla="*/ 2893145 w 5794893"/>
              <a:gd name="connsiteY2246" fmla="*/ 5542992 h 6858000"/>
              <a:gd name="connsiteX2247" fmla="*/ 2890687 w 5794893"/>
              <a:gd name="connsiteY2247" fmla="*/ 5563885 h 6858000"/>
              <a:gd name="connsiteX2248" fmla="*/ 2775158 w 5794893"/>
              <a:gd name="connsiteY2248" fmla="*/ 5542992 h 6858000"/>
              <a:gd name="connsiteX2249" fmla="*/ 2771470 w 5794893"/>
              <a:gd name="connsiteY2249" fmla="*/ 5567573 h 6858000"/>
              <a:gd name="connsiteX2250" fmla="*/ 2657171 w 5794893"/>
              <a:gd name="connsiteY2250" fmla="*/ 5542992 h 6858000"/>
              <a:gd name="connsiteX2251" fmla="*/ 2652255 w 5794893"/>
              <a:gd name="connsiteY2251" fmla="*/ 5570031 h 6858000"/>
              <a:gd name="connsiteX2252" fmla="*/ 2539184 w 5794893"/>
              <a:gd name="connsiteY2252" fmla="*/ 5542992 h 6858000"/>
              <a:gd name="connsiteX2253" fmla="*/ 2533038 w 5794893"/>
              <a:gd name="connsiteY2253" fmla="*/ 5574947 h 6858000"/>
              <a:gd name="connsiteX2254" fmla="*/ 2421196 w 5794893"/>
              <a:gd name="connsiteY2254" fmla="*/ 5542992 h 6858000"/>
              <a:gd name="connsiteX2255" fmla="*/ 2413822 w 5794893"/>
              <a:gd name="connsiteY2255" fmla="*/ 5578634 h 6858000"/>
              <a:gd name="connsiteX2256" fmla="*/ 2303209 w 5794893"/>
              <a:gd name="connsiteY2256" fmla="*/ 5542992 h 6858000"/>
              <a:gd name="connsiteX2257" fmla="*/ 2293377 w 5794893"/>
              <a:gd name="connsiteY2257" fmla="*/ 5582321 h 6858000"/>
              <a:gd name="connsiteX2258" fmla="*/ 2185222 w 5794893"/>
              <a:gd name="connsiteY2258" fmla="*/ 5542992 h 6858000"/>
              <a:gd name="connsiteX2259" fmla="*/ 2172932 w 5794893"/>
              <a:gd name="connsiteY2259" fmla="*/ 5587238 h 6858000"/>
              <a:gd name="connsiteX2260" fmla="*/ 2067235 w 5794893"/>
              <a:gd name="connsiteY2260" fmla="*/ 5542992 h 6858000"/>
              <a:gd name="connsiteX2261" fmla="*/ 2051257 w 5794893"/>
              <a:gd name="connsiteY2261" fmla="*/ 5592154 h 6858000"/>
              <a:gd name="connsiteX2262" fmla="*/ 1949247 w 5794893"/>
              <a:gd name="connsiteY2262" fmla="*/ 5542992 h 6858000"/>
              <a:gd name="connsiteX2263" fmla="*/ 1929583 w 5794893"/>
              <a:gd name="connsiteY2263" fmla="*/ 5595840 h 6858000"/>
              <a:gd name="connsiteX2264" fmla="*/ 1831260 w 5794893"/>
              <a:gd name="connsiteY2264" fmla="*/ 5542992 h 6858000"/>
              <a:gd name="connsiteX2265" fmla="*/ 1806680 w 5794893"/>
              <a:gd name="connsiteY2265" fmla="*/ 5600756 h 6858000"/>
              <a:gd name="connsiteX2266" fmla="*/ 1713273 w 5794893"/>
              <a:gd name="connsiteY2266" fmla="*/ 5542992 h 6858000"/>
              <a:gd name="connsiteX2267" fmla="*/ 1683776 w 5794893"/>
              <a:gd name="connsiteY2267" fmla="*/ 5605674 h 6858000"/>
              <a:gd name="connsiteX2268" fmla="*/ 1595286 w 5794893"/>
              <a:gd name="connsiteY2268" fmla="*/ 5542992 h 6858000"/>
              <a:gd name="connsiteX2269" fmla="*/ 1559643 w 5794893"/>
              <a:gd name="connsiteY2269" fmla="*/ 5606902 h 6858000"/>
              <a:gd name="connsiteX2270" fmla="*/ 1685005 w 5794893"/>
              <a:gd name="connsiteY2270" fmla="*/ 5695392 h 6858000"/>
              <a:gd name="connsiteX2271" fmla="*/ 1718189 w 5794893"/>
              <a:gd name="connsiteY2271" fmla="*/ 5635170 h 6858000"/>
              <a:gd name="connsiteX2272" fmla="*/ 1815282 w 5794893"/>
              <a:gd name="connsiteY2272" fmla="*/ 5695392 h 6858000"/>
              <a:gd name="connsiteX2273" fmla="*/ 1842321 w 5794893"/>
              <a:gd name="connsiteY2273" fmla="*/ 5640085 h 6858000"/>
              <a:gd name="connsiteX2274" fmla="*/ 1945560 w 5794893"/>
              <a:gd name="connsiteY2274" fmla="*/ 5695392 h 6858000"/>
              <a:gd name="connsiteX2275" fmla="*/ 1967682 w 5794893"/>
              <a:gd name="connsiteY2275" fmla="*/ 5643773 h 6858000"/>
              <a:gd name="connsiteX2276" fmla="*/ 2075837 w 5794893"/>
              <a:gd name="connsiteY2276" fmla="*/ 5695392 h 6858000"/>
              <a:gd name="connsiteX2277" fmla="*/ 2093044 w 5794893"/>
              <a:gd name="connsiteY2277" fmla="*/ 5648689 h 6858000"/>
              <a:gd name="connsiteX2278" fmla="*/ 2204887 w 5794893"/>
              <a:gd name="connsiteY2278" fmla="*/ 5695392 h 6858000"/>
              <a:gd name="connsiteX2279" fmla="*/ 2218405 w 5794893"/>
              <a:gd name="connsiteY2279" fmla="*/ 5652376 h 6858000"/>
              <a:gd name="connsiteX2280" fmla="*/ 2333934 w 5794893"/>
              <a:gd name="connsiteY2280" fmla="*/ 5695392 h 6858000"/>
              <a:gd name="connsiteX2281" fmla="*/ 2344996 w 5794893"/>
              <a:gd name="connsiteY2281" fmla="*/ 5657292 h 6858000"/>
              <a:gd name="connsiteX2282" fmla="*/ 2464212 w 5794893"/>
              <a:gd name="connsiteY2282" fmla="*/ 5695392 h 6858000"/>
              <a:gd name="connsiteX2283" fmla="*/ 2472816 w 5794893"/>
              <a:gd name="connsiteY2283" fmla="*/ 5660980 h 6858000"/>
              <a:gd name="connsiteX2284" fmla="*/ 2593261 w 5794893"/>
              <a:gd name="connsiteY2284" fmla="*/ 5695392 h 6858000"/>
              <a:gd name="connsiteX2285" fmla="*/ 2598177 w 5794893"/>
              <a:gd name="connsiteY2285" fmla="*/ 5667125 h 6858000"/>
              <a:gd name="connsiteX2286" fmla="*/ 2721081 w 5794893"/>
              <a:gd name="connsiteY2286" fmla="*/ 5696622 h 6858000"/>
              <a:gd name="connsiteX2287" fmla="*/ 2725997 w 5794893"/>
              <a:gd name="connsiteY2287" fmla="*/ 5670812 h 6858000"/>
              <a:gd name="connsiteX2288" fmla="*/ 2851358 w 5794893"/>
              <a:gd name="connsiteY2288" fmla="*/ 5696622 h 6858000"/>
              <a:gd name="connsiteX2289" fmla="*/ 2855045 w 5794893"/>
              <a:gd name="connsiteY2289" fmla="*/ 5674498 h 6858000"/>
              <a:gd name="connsiteX2290" fmla="*/ 2981636 w 5794893"/>
              <a:gd name="connsiteY2290" fmla="*/ 5696622 h 6858000"/>
              <a:gd name="connsiteX2291" fmla="*/ 2984094 w 5794893"/>
              <a:gd name="connsiteY2291" fmla="*/ 5678186 h 6858000"/>
              <a:gd name="connsiteX2292" fmla="*/ 3110684 w 5794893"/>
              <a:gd name="connsiteY2292" fmla="*/ 5696622 h 6858000"/>
              <a:gd name="connsiteX2293" fmla="*/ 3113142 w 5794893"/>
              <a:gd name="connsiteY2293" fmla="*/ 5680644 h 6858000"/>
              <a:gd name="connsiteX2294" fmla="*/ 3240961 w 5794893"/>
              <a:gd name="connsiteY2294" fmla="*/ 5696622 h 6858000"/>
              <a:gd name="connsiteX2295" fmla="*/ 3242191 w 5794893"/>
              <a:gd name="connsiteY2295" fmla="*/ 5684332 h 6858000"/>
              <a:gd name="connsiteX2296" fmla="*/ 3371239 w 5794893"/>
              <a:gd name="connsiteY2296" fmla="*/ 5696622 h 6858000"/>
              <a:gd name="connsiteX2297" fmla="*/ 3372468 w 5794893"/>
              <a:gd name="connsiteY2297" fmla="*/ 5686789 h 6858000"/>
              <a:gd name="connsiteX2298" fmla="*/ 3501516 w 5794893"/>
              <a:gd name="connsiteY2298" fmla="*/ 5696622 h 6858000"/>
              <a:gd name="connsiteX2299" fmla="*/ 3501516 w 5794893"/>
              <a:gd name="connsiteY2299" fmla="*/ 5689247 h 6858000"/>
              <a:gd name="connsiteX2300" fmla="*/ 3630565 w 5794893"/>
              <a:gd name="connsiteY2300" fmla="*/ 5696622 h 6858000"/>
              <a:gd name="connsiteX2301" fmla="*/ 3630565 w 5794893"/>
              <a:gd name="connsiteY2301" fmla="*/ 5691706 h 6858000"/>
              <a:gd name="connsiteX2302" fmla="*/ 3639168 w 5794893"/>
              <a:gd name="connsiteY2302" fmla="*/ 5691706 h 6858000"/>
              <a:gd name="connsiteX2303" fmla="*/ 3719056 w 5794893"/>
              <a:gd name="connsiteY2303" fmla="*/ 5694163 h 6858000"/>
              <a:gd name="connsiteX2304" fmla="*/ 3719056 w 5794893"/>
              <a:gd name="connsiteY2304" fmla="*/ 5695392 h 6858000"/>
              <a:gd name="connsiteX2305" fmla="*/ 5581043 w 5794893"/>
              <a:gd name="connsiteY2305" fmla="*/ 5739638 h 6858000"/>
              <a:gd name="connsiteX2306" fmla="*/ 3715368 w 5794893"/>
              <a:gd name="connsiteY2306" fmla="*/ 5739638 h 6858000"/>
              <a:gd name="connsiteX2307" fmla="*/ 3715368 w 5794893"/>
              <a:gd name="connsiteY2307" fmla="*/ 5742096 h 6858000"/>
              <a:gd name="connsiteX2308" fmla="*/ 3597381 w 5794893"/>
              <a:gd name="connsiteY2308" fmla="*/ 5739638 h 6858000"/>
              <a:gd name="connsiteX2309" fmla="*/ 3597381 w 5794893"/>
              <a:gd name="connsiteY2309" fmla="*/ 5743324 h 6858000"/>
              <a:gd name="connsiteX2310" fmla="*/ 3479394 w 5794893"/>
              <a:gd name="connsiteY2310" fmla="*/ 5739638 h 6858000"/>
              <a:gd name="connsiteX2311" fmla="*/ 3479394 w 5794893"/>
              <a:gd name="connsiteY2311" fmla="*/ 5745784 h 6858000"/>
              <a:gd name="connsiteX2312" fmla="*/ 3361406 w 5794893"/>
              <a:gd name="connsiteY2312" fmla="*/ 5739638 h 6858000"/>
              <a:gd name="connsiteX2313" fmla="*/ 3361406 w 5794893"/>
              <a:gd name="connsiteY2313" fmla="*/ 5748240 h 6858000"/>
              <a:gd name="connsiteX2314" fmla="*/ 3243419 w 5794893"/>
              <a:gd name="connsiteY2314" fmla="*/ 5739638 h 6858000"/>
              <a:gd name="connsiteX2315" fmla="*/ 3243419 w 5794893"/>
              <a:gd name="connsiteY2315" fmla="*/ 5750698 h 6858000"/>
              <a:gd name="connsiteX2316" fmla="*/ 3125432 w 5794893"/>
              <a:gd name="connsiteY2316" fmla="*/ 5739638 h 6858000"/>
              <a:gd name="connsiteX2317" fmla="*/ 3124204 w 5794893"/>
              <a:gd name="connsiteY2317" fmla="*/ 5754386 h 6858000"/>
              <a:gd name="connsiteX2318" fmla="*/ 3006216 w 5794893"/>
              <a:gd name="connsiteY2318" fmla="*/ 5739638 h 6858000"/>
              <a:gd name="connsiteX2319" fmla="*/ 3004987 w 5794893"/>
              <a:gd name="connsiteY2319" fmla="*/ 5756844 h 6858000"/>
              <a:gd name="connsiteX2320" fmla="*/ 2888229 w 5794893"/>
              <a:gd name="connsiteY2320" fmla="*/ 5739638 h 6858000"/>
              <a:gd name="connsiteX2321" fmla="*/ 2885771 w 5794893"/>
              <a:gd name="connsiteY2321" fmla="*/ 5760531 h 6858000"/>
              <a:gd name="connsiteX2322" fmla="*/ 2770242 w 5794893"/>
              <a:gd name="connsiteY2322" fmla="*/ 5739638 h 6858000"/>
              <a:gd name="connsiteX2323" fmla="*/ 2766554 w 5794893"/>
              <a:gd name="connsiteY2323" fmla="*/ 5762989 h 6858000"/>
              <a:gd name="connsiteX2324" fmla="*/ 2652255 w 5794893"/>
              <a:gd name="connsiteY2324" fmla="*/ 5739638 h 6858000"/>
              <a:gd name="connsiteX2325" fmla="*/ 2647339 w 5794893"/>
              <a:gd name="connsiteY2325" fmla="*/ 5766676 h 6858000"/>
              <a:gd name="connsiteX2326" fmla="*/ 2534268 w 5794893"/>
              <a:gd name="connsiteY2326" fmla="*/ 5739638 h 6858000"/>
              <a:gd name="connsiteX2327" fmla="*/ 2528122 w 5794893"/>
              <a:gd name="connsiteY2327" fmla="*/ 5770364 h 6858000"/>
              <a:gd name="connsiteX2328" fmla="*/ 2416280 w 5794893"/>
              <a:gd name="connsiteY2328" fmla="*/ 5739638 h 6858000"/>
              <a:gd name="connsiteX2329" fmla="*/ 2408906 w 5794893"/>
              <a:gd name="connsiteY2329" fmla="*/ 5775279 h 6858000"/>
              <a:gd name="connsiteX2330" fmla="*/ 2298293 w 5794893"/>
              <a:gd name="connsiteY2330" fmla="*/ 5739638 h 6858000"/>
              <a:gd name="connsiteX2331" fmla="*/ 2288461 w 5794893"/>
              <a:gd name="connsiteY2331" fmla="*/ 5778967 h 6858000"/>
              <a:gd name="connsiteX2332" fmla="*/ 2180306 w 5794893"/>
              <a:gd name="connsiteY2332" fmla="*/ 5739638 h 6858000"/>
              <a:gd name="connsiteX2333" fmla="*/ 2168015 w 5794893"/>
              <a:gd name="connsiteY2333" fmla="*/ 5783883 h 6858000"/>
              <a:gd name="connsiteX2334" fmla="*/ 2062319 w 5794893"/>
              <a:gd name="connsiteY2334" fmla="*/ 5739638 h 6858000"/>
              <a:gd name="connsiteX2335" fmla="*/ 2046340 w 5794893"/>
              <a:gd name="connsiteY2335" fmla="*/ 5788799 h 6858000"/>
              <a:gd name="connsiteX2336" fmla="*/ 1944331 w 5794893"/>
              <a:gd name="connsiteY2336" fmla="*/ 5739638 h 6858000"/>
              <a:gd name="connsiteX2337" fmla="*/ 1924667 w 5794893"/>
              <a:gd name="connsiteY2337" fmla="*/ 5792485 h 6858000"/>
              <a:gd name="connsiteX2338" fmla="*/ 1826344 w 5794893"/>
              <a:gd name="connsiteY2338" fmla="*/ 5739638 h 6858000"/>
              <a:gd name="connsiteX2339" fmla="*/ 1801763 w 5794893"/>
              <a:gd name="connsiteY2339" fmla="*/ 5797402 h 6858000"/>
              <a:gd name="connsiteX2340" fmla="*/ 1708357 w 5794893"/>
              <a:gd name="connsiteY2340" fmla="*/ 5739638 h 6858000"/>
              <a:gd name="connsiteX2341" fmla="*/ 1678860 w 5794893"/>
              <a:gd name="connsiteY2341" fmla="*/ 5801089 h 6858000"/>
              <a:gd name="connsiteX2342" fmla="*/ 1590370 w 5794893"/>
              <a:gd name="connsiteY2342" fmla="*/ 5739638 h 6858000"/>
              <a:gd name="connsiteX2343" fmla="*/ 1557002 w 5794893"/>
              <a:gd name="connsiteY2343" fmla="*/ 5799468 h 6858000"/>
              <a:gd name="connsiteX2344" fmla="*/ 1476069 w 5794893"/>
              <a:gd name="connsiteY2344" fmla="*/ 5734722 h 6858000"/>
              <a:gd name="connsiteX2345" fmla="*/ 1439198 w 5794893"/>
              <a:gd name="connsiteY2345" fmla="*/ 5793715 h 6858000"/>
              <a:gd name="connsiteX2346" fmla="*/ 1555957 w 5794893"/>
              <a:gd name="connsiteY2346" fmla="*/ 5887122 h 6858000"/>
              <a:gd name="connsiteX2347" fmla="*/ 1591935 w 5794893"/>
              <a:gd name="connsiteY2347" fmla="*/ 5829557 h 6858000"/>
              <a:gd name="connsiteX2348" fmla="*/ 1681318 w 5794893"/>
              <a:gd name="connsiteY2348" fmla="*/ 5892038 h 6858000"/>
              <a:gd name="connsiteX2349" fmla="*/ 1714501 w 5794893"/>
              <a:gd name="connsiteY2349" fmla="*/ 5831816 h 6858000"/>
              <a:gd name="connsiteX2350" fmla="*/ 1811596 w 5794893"/>
              <a:gd name="connsiteY2350" fmla="*/ 5892038 h 6858000"/>
              <a:gd name="connsiteX2351" fmla="*/ 1838634 w 5794893"/>
              <a:gd name="connsiteY2351" fmla="*/ 5836731 h 6858000"/>
              <a:gd name="connsiteX2352" fmla="*/ 1941873 w 5794893"/>
              <a:gd name="connsiteY2352" fmla="*/ 5892038 h 6858000"/>
              <a:gd name="connsiteX2353" fmla="*/ 1963996 w 5794893"/>
              <a:gd name="connsiteY2353" fmla="*/ 5840418 h 6858000"/>
              <a:gd name="connsiteX2354" fmla="*/ 2072151 w 5794893"/>
              <a:gd name="connsiteY2354" fmla="*/ 5892038 h 6858000"/>
              <a:gd name="connsiteX2355" fmla="*/ 2089357 w 5794893"/>
              <a:gd name="connsiteY2355" fmla="*/ 5845335 h 6858000"/>
              <a:gd name="connsiteX2356" fmla="*/ 2201199 w 5794893"/>
              <a:gd name="connsiteY2356" fmla="*/ 5892038 h 6858000"/>
              <a:gd name="connsiteX2357" fmla="*/ 2214719 w 5794893"/>
              <a:gd name="connsiteY2357" fmla="*/ 5849021 h 6858000"/>
              <a:gd name="connsiteX2358" fmla="*/ 2330248 w 5794893"/>
              <a:gd name="connsiteY2358" fmla="*/ 5892038 h 6858000"/>
              <a:gd name="connsiteX2359" fmla="*/ 2341309 w 5794893"/>
              <a:gd name="connsiteY2359" fmla="*/ 5853937 h 6858000"/>
              <a:gd name="connsiteX2360" fmla="*/ 2460525 w 5794893"/>
              <a:gd name="connsiteY2360" fmla="*/ 5892038 h 6858000"/>
              <a:gd name="connsiteX2361" fmla="*/ 2469128 w 5794893"/>
              <a:gd name="connsiteY2361" fmla="*/ 5857625 h 6858000"/>
              <a:gd name="connsiteX2362" fmla="*/ 2590803 w 5794893"/>
              <a:gd name="connsiteY2362" fmla="*/ 5892038 h 6858000"/>
              <a:gd name="connsiteX2363" fmla="*/ 2596948 w 5794893"/>
              <a:gd name="connsiteY2363" fmla="*/ 5862541 h 6858000"/>
              <a:gd name="connsiteX2364" fmla="*/ 2719851 w 5794893"/>
              <a:gd name="connsiteY2364" fmla="*/ 5892038 h 6858000"/>
              <a:gd name="connsiteX2365" fmla="*/ 2724767 w 5794893"/>
              <a:gd name="connsiteY2365" fmla="*/ 5866228 h 6858000"/>
              <a:gd name="connsiteX2366" fmla="*/ 2850129 w 5794893"/>
              <a:gd name="connsiteY2366" fmla="*/ 5892038 h 6858000"/>
              <a:gd name="connsiteX2367" fmla="*/ 2853816 w 5794893"/>
              <a:gd name="connsiteY2367" fmla="*/ 5869915 h 6858000"/>
              <a:gd name="connsiteX2368" fmla="*/ 2980406 w 5794893"/>
              <a:gd name="connsiteY2368" fmla="*/ 5892038 h 6858000"/>
              <a:gd name="connsiteX2369" fmla="*/ 2982864 w 5794893"/>
              <a:gd name="connsiteY2369" fmla="*/ 5873602 h 6858000"/>
              <a:gd name="connsiteX2370" fmla="*/ 3109455 w 5794893"/>
              <a:gd name="connsiteY2370" fmla="*/ 5892038 h 6858000"/>
              <a:gd name="connsiteX2371" fmla="*/ 3110684 w 5794893"/>
              <a:gd name="connsiteY2371" fmla="*/ 5876061 h 6858000"/>
              <a:gd name="connsiteX2372" fmla="*/ 3238503 w 5794893"/>
              <a:gd name="connsiteY2372" fmla="*/ 5892038 h 6858000"/>
              <a:gd name="connsiteX2373" fmla="*/ 3239733 w 5794893"/>
              <a:gd name="connsiteY2373" fmla="*/ 5879748 h 6858000"/>
              <a:gd name="connsiteX2374" fmla="*/ 3368781 w 5794893"/>
              <a:gd name="connsiteY2374" fmla="*/ 5892038 h 6858000"/>
              <a:gd name="connsiteX2375" fmla="*/ 3370010 w 5794893"/>
              <a:gd name="connsiteY2375" fmla="*/ 5882206 h 6858000"/>
              <a:gd name="connsiteX2376" fmla="*/ 3499058 w 5794893"/>
              <a:gd name="connsiteY2376" fmla="*/ 5892038 h 6858000"/>
              <a:gd name="connsiteX2377" fmla="*/ 3499058 w 5794893"/>
              <a:gd name="connsiteY2377" fmla="*/ 5884664 h 6858000"/>
              <a:gd name="connsiteX2378" fmla="*/ 3628107 w 5794893"/>
              <a:gd name="connsiteY2378" fmla="*/ 5892038 h 6858000"/>
              <a:gd name="connsiteX2379" fmla="*/ 3628107 w 5794893"/>
              <a:gd name="connsiteY2379" fmla="*/ 5887122 h 6858000"/>
              <a:gd name="connsiteX2380" fmla="*/ 3636710 w 5794893"/>
              <a:gd name="connsiteY2380" fmla="*/ 5887122 h 6858000"/>
              <a:gd name="connsiteX2381" fmla="*/ 3716598 w 5794893"/>
              <a:gd name="connsiteY2381" fmla="*/ 5889580 h 6858000"/>
              <a:gd name="connsiteX2382" fmla="*/ 3716598 w 5794893"/>
              <a:gd name="connsiteY2382" fmla="*/ 5890808 h 6858000"/>
              <a:gd name="connsiteX2383" fmla="*/ 5568752 w 5794893"/>
              <a:gd name="connsiteY2383" fmla="*/ 5928909 h 6858000"/>
              <a:gd name="connsiteX2384" fmla="*/ 3716598 w 5794893"/>
              <a:gd name="connsiteY2384" fmla="*/ 5928909 h 6858000"/>
              <a:gd name="connsiteX2385" fmla="*/ 3717826 w 5794893"/>
              <a:gd name="connsiteY2385" fmla="*/ 5931367 h 6858000"/>
              <a:gd name="connsiteX2386" fmla="*/ 3599839 w 5794893"/>
              <a:gd name="connsiteY2386" fmla="*/ 5928909 h 6858000"/>
              <a:gd name="connsiteX2387" fmla="*/ 3599839 w 5794893"/>
              <a:gd name="connsiteY2387" fmla="*/ 5932595 h 6858000"/>
              <a:gd name="connsiteX2388" fmla="*/ 3481852 w 5794893"/>
              <a:gd name="connsiteY2388" fmla="*/ 5928909 h 6858000"/>
              <a:gd name="connsiteX2389" fmla="*/ 3481852 w 5794893"/>
              <a:gd name="connsiteY2389" fmla="*/ 5935053 h 6858000"/>
              <a:gd name="connsiteX2390" fmla="*/ 3363865 w 5794893"/>
              <a:gd name="connsiteY2390" fmla="*/ 5928909 h 6858000"/>
              <a:gd name="connsiteX2391" fmla="*/ 3363865 w 5794893"/>
              <a:gd name="connsiteY2391" fmla="*/ 5937513 h 6858000"/>
              <a:gd name="connsiteX2392" fmla="*/ 3245877 w 5794893"/>
              <a:gd name="connsiteY2392" fmla="*/ 5928909 h 6858000"/>
              <a:gd name="connsiteX2393" fmla="*/ 3245877 w 5794893"/>
              <a:gd name="connsiteY2393" fmla="*/ 5939970 h 6858000"/>
              <a:gd name="connsiteX2394" fmla="*/ 3127890 w 5794893"/>
              <a:gd name="connsiteY2394" fmla="*/ 5928909 h 6858000"/>
              <a:gd name="connsiteX2395" fmla="*/ 3126662 w 5794893"/>
              <a:gd name="connsiteY2395" fmla="*/ 5943657 h 6858000"/>
              <a:gd name="connsiteX2396" fmla="*/ 3008674 w 5794893"/>
              <a:gd name="connsiteY2396" fmla="*/ 5928909 h 6858000"/>
              <a:gd name="connsiteX2397" fmla="*/ 3007445 w 5794893"/>
              <a:gd name="connsiteY2397" fmla="*/ 5946115 h 6858000"/>
              <a:gd name="connsiteX2398" fmla="*/ 2890687 w 5794893"/>
              <a:gd name="connsiteY2398" fmla="*/ 5928909 h 6858000"/>
              <a:gd name="connsiteX2399" fmla="*/ 2888229 w 5794893"/>
              <a:gd name="connsiteY2399" fmla="*/ 5949803 h 6858000"/>
              <a:gd name="connsiteX2400" fmla="*/ 2772700 w 5794893"/>
              <a:gd name="connsiteY2400" fmla="*/ 5928909 h 6858000"/>
              <a:gd name="connsiteX2401" fmla="*/ 2769012 w 5794893"/>
              <a:gd name="connsiteY2401" fmla="*/ 5953490 h 6858000"/>
              <a:gd name="connsiteX2402" fmla="*/ 2654713 w 5794893"/>
              <a:gd name="connsiteY2402" fmla="*/ 5928909 h 6858000"/>
              <a:gd name="connsiteX2403" fmla="*/ 2649797 w 5794893"/>
              <a:gd name="connsiteY2403" fmla="*/ 5955948 h 6858000"/>
              <a:gd name="connsiteX2404" fmla="*/ 2536726 w 5794893"/>
              <a:gd name="connsiteY2404" fmla="*/ 5928909 h 6858000"/>
              <a:gd name="connsiteX2405" fmla="*/ 2530580 w 5794893"/>
              <a:gd name="connsiteY2405" fmla="*/ 5960864 h 6858000"/>
              <a:gd name="connsiteX2406" fmla="*/ 2418738 w 5794893"/>
              <a:gd name="connsiteY2406" fmla="*/ 5928909 h 6858000"/>
              <a:gd name="connsiteX2407" fmla="*/ 2411364 w 5794893"/>
              <a:gd name="connsiteY2407" fmla="*/ 5964550 h 6858000"/>
              <a:gd name="connsiteX2408" fmla="*/ 2300751 w 5794893"/>
              <a:gd name="connsiteY2408" fmla="*/ 5928909 h 6858000"/>
              <a:gd name="connsiteX2409" fmla="*/ 2290919 w 5794893"/>
              <a:gd name="connsiteY2409" fmla="*/ 5968238 h 6858000"/>
              <a:gd name="connsiteX2410" fmla="*/ 2182764 w 5794893"/>
              <a:gd name="connsiteY2410" fmla="*/ 5928909 h 6858000"/>
              <a:gd name="connsiteX2411" fmla="*/ 2170474 w 5794893"/>
              <a:gd name="connsiteY2411" fmla="*/ 5973154 h 6858000"/>
              <a:gd name="connsiteX2412" fmla="*/ 2064777 w 5794893"/>
              <a:gd name="connsiteY2412" fmla="*/ 5928909 h 6858000"/>
              <a:gd name="connsiteX2413" fmla="*/ 2048799 w 5794893"/>
              <a:gd name="connsiteY2413" fmla="*/ 5978070 h 6858000"/>
              <a:gd name="connsiteX2414" fmla="*/ 1946789 w 5794893"/>
              <a:gd name="connsiteY2414" fmla="*/ 5928909 h 6858000"/>
              <a:gd name="connsiteX2415" fmla="*/ 1927125 w 5794893"/>
              <a:gd name="connsiteY2415" fmla="*/ 5981757 h 6858000"/>
              <a:gd name="connsiteX2416" fmla="*/ 1828802 w 5794893"/>
              <a:gd name="connsiteY2416" fmla="*/ 5928909 h 6858000"/>
              <a:gd name="connsiteX2417" fmla="*/ 1804221 w 5794893"/>
              <a:gd name="connsiteY2417" fmla="*/ 5986674 h 6858000"/>
              <a:gd name="connsiteX2418" fmla="*/ 1710815 w 5794893"/>
              <a:gd name="connsiteY2418" fmla="*/ 5928909 h 6858000"/>
              <a:gd name="connsiteX2419" fmla="*/ 1681318 w 5794893"/>
              <a:gd name="connsiteY2419" fmla="*/ 5991590 h 6858000"/>
              <a:gd name="connsiteX2420" fmla="*/ 1592828 w 5794893"/>
              <a:gd name="connsiteY2420" fmla="*/ 5928909 h 6858000"/>
              <a:gd name="connsiteX2421" fmla="*/ 1557754 w 5794893"/>
              <a:gd name="connsiteY2421" fmla="*/ 5991799 h 6858000"/>
              <a:gd name="connsiteX2422" fmla="*/ 1476069 w 5794893"/>
              <a:gd name="connsiteY2422" fmla="*/ 5926451 h 6858000"/>
              <a:gd name="connsiteX2423" fmla="*/ 1439198 w 5794893"/>
              <a:gd name="connsiteY2423" fmla="*/ 5985444 h 6858000"/>
              <a:gd name="connsiteX2424" fmla="*/ 1555957 w 5794893"/>
              <a:gd name="connsiteY2424" fmla="*/ 6078851 h 6858000"/>
              <a:gd name="connsiteX2425" fmla="*/ 1592828 w 5794893"/>
              <a:gd name="connsiteY2425" fmla="*/ 6019857 h 6858000"/>
              <a:gd name="connsiteX2426" fmla="*/ 1571804 w 5794893"/>
              <a:gd name="connsiteY2426" fmla="*/ 6003038 h 6858000"/>
              <a:gd name="connsiteX2427" fmla="*/ 1683776 w 5794893"/>
              <a:gd name="connsiteY2427" fmla="*/ 6081309 h 6858000"/>
              <a:gd name="connsiteX2428" fmla="*/ 1716959 w 5794893"/>
              <a:gd name="connsiteY2428" fmla="*/ 6021086 h 6858000"/>
              <a:gd name="connsiteX2429" fmla="*/ 1814054 w 5794893"/>
              <a:gd name="connsiteY2429" fmla="*/ 6081309 h 6858000"/>
              <a:gd name="connsiteX2430" fmla="*/ 1841092 w 5794893"/>
              <a:gd name="connsiteY2430" fmla="*/ 6026002 h 6858000"/>
              <a:gd name="connsiteX2431" fmla="*/ 1944331 w 5794893"/>
              <a:gd name="connsiteY2431" fmla="*/ 6081309 h 6858000"/>
              <a:gd name="connsiteX2432" fmla="*/ 1966454 w 5794893"/>
              <a:gd name="connsiteY2432" fmla="*/ 6029690 h 6858000"/>
              <a:gd name="connsiteX2433" fmla="*/ 2074609 w 5794893"/>
              <a:gd name="connsiteY2433" fmla="*/ 6081309 h 6858000"/>
              <a:gd name="connsiteX2434" fmla="*/ 2091815 w 5794893"/>
              <a:gd name="connsiteY2434" fmla="*/ 6034606 h 6858000"/>
              <a:gd name="connsiteX2435" fmla="*/ 2203657 w 5794893"/>
              <a:gd name="connsiteY2435" fmla="*/ 6081309 h 6858000"/>
              <a:gd name="connsiteX2436" fmla="*/ 2217177 w 5794893"/>
              <a:gd name="connsiteY2436" fmla="*/ 6038292 h 6858000"/>
              <a:gd name="connsiteX2437" fmla="*/ 2332706 w 5794893"/>
              <a:gd name="connsiteY2437" fmla="*/ 6081309 h 6858000"/>
              <a:gd name="connsiteX2438" fmla="*/ 2343767 w 5794893"/>
              <a:gd name="connsiteY2438" fmla="*/ 6043208 h 6858000"/>
              <a:gd name="connsiteX2439" fmla="*/ 2462984 w 5794893"/>
              <a:gd name="connsiteY2439" fmla="*/ 6081309 h 6858000"/>
              <a:gd name="connsiteX2440" fmla="*/ 2471586 w 5794893"/>
              <a:gd name="connsiteY2440" fmla="*/ 6046896 h 6858000"/>
              <a:gd name="connsiteX2441" fmla="*/ 2593261 w 5794893"/>
              <a:gd name="connsiteY2441" fmla="*/ 6081309 h 6858000"/>
              <a:gd name="connsiteX2442" fmla="*/ 2599406 w 5794893"/>
              <a:gd name="connsiteY2442" fmla="*/ 6051812 h 6858000"/>
              <a:gd name="connsiteX2443" fmla="*/ 2722309 w 5794893"/>
              <a:gd name="connsiteY2443" fmla="*/ 6081309 h 6858000"/>
              <a:gd name="connsiteX2444" fmla="*/ 2727225 w 5794893"/>
              <a:gd name="connsiteY2444" fmla="*/ 6055499 h 6858000"/>
              <a:gd name="connsiteX2445" fmla="*/ 2851358 w 5794893"/>
              <a:gd name="connsiteY2445" fmla="*/ 6081309 h 6858000"/>
              <a:gd name="connsiteX2446" fmla="*/ 2855045 w 5794893"/>
              <a:gd name="connsiteY2446" fmla="*/ 6059186 h 6858000"/>
              <a:gd name="connsiteX2447" fmla="*/ 2981636 w 5794893"/>
              <a:gd name="connsiteY2447" fmla="*/ 6081309 h 6858000"/>
              <a:gd name="connsiteX2448" fmla="*/ 2984094 w 5794893"/>
              <a:gd name="connsiteY2448" fmla="*/ 6062873 h 6858000"/>
              <a:gd name="connsiteX2449" fmla="*/ 3110684 w 5794893"/>
              <a:gd name="connsiteY2449" fmla="*/ 6081309 h 6858000"/>
              <a:gd name="connsiteX2450" fmla="*/ 3111913 w 5794893"/>
              <a:gd name="connsiteY2450" fmla="*/ 6065332 h 6858000"/>
              <a:gd name="connsiteX2451" fmla="*/ 3239733 w 5794893"/>
              <a:gd name="connsiteY2451" fmla="*/ 6081309 h 6858000"/>
              <a:gd name="connsiteX2452" fmla="*/ 3240961 w 5794893"/>
              <a:gd name="connsiteY2452" fmla="*/ 6069019 h 6858000"/>
              <a:gd name="connsiteX2453" fmla="*/ 3370010 w 5794893"/>
              <a:gd name="connsiteY2453" fmla="*/ 6081309 h 6858000"/>
              <a:gd name="connsiteX2454" fmla="*/ 3371239 w 5794893"/>
              <a:gd name="connsiteY2454" fmla="*/ 6071477 h 6858000"/>
              <a:gd name="connsiteX2455" fmla="*/ 3500288 w 5794893"/>
              <a:gd name="connsiteY2455" fmla="*/ 6081309 h 6858000"/>
              <a:gd name="connsiteX2456" fmla="*/ 3500288 w 5794893"/>
              <a:gd name="connsiteY2456" fmla="*/ 6073935 h 6858000"/>
              <a:gd name="connsiteX2457" fmla="*/ 3629336 w 5794893"/>
              <a:gd name="connsiteY2457" fmla="*/ 6081309 h 6858000"/>
              <a:gd name="connsiteX2458" fmla="*/ 3629336 w 5794893"/>
              <a:gd name="connsiteY2458" fmla="*/ 6076393 h 6858000"/>
              <a:gd name="connsiteX2459" fmla="*/ 3637940 w 5794893"/>
              <a:gd name="connsiteY2459" fmla="*/ 6076393 h 6858000"/>
              <a:gd name="connsiteX2460" fmla="*/ 3717826 w 5794893"/>
              <a:gd name="connsiteY2460" fmla="*/ 6078851 h 6858000"/>
              <a:gd name="connsiteX2461" fmla="*/ 3717826 w 5794893"/>
              <a:gd name="connsiteY2461" fmla="*/ 6080079 h 6858000"/>
              <a:gd name="connsiteX2462" fmla="*/ 5534338 w 5794893"/>
              <a:gd name="connsiteY2462" fmla="*/ 6118180 h 6858000"/>
              <a:gd name="connsiteX2463" fmla="*/ 3719056 w 5794893"/>
              <a:gd name="connsiteY2463" fmla="*/ 6118180 h 6858000"/>
              <a:gd name="connsiteX2464" fmla="*/ 3719056 w 5794893"/>
              <a:gd name="connsiteY2464" fmla="*/ 6119408 h 6858000"/>
              <a:gd name="connsiteX2465" fmla="*/ 3601069 w 5794893"/>
              <a:gd name="connsiteY2465" fmla="*/ 6116950 h 6858000"/>
              <a:gd name="connsiteX2466" fmla="*/ 3601069 w 5794893"/>
              <a:gd name="connsiteY2466" fmla="*/ 6120638 h 6858000"/>
              <a:gd name="connsiteX2467" fmla="*/ 3483081 w 5794893"/>
              <a:gd name="connsiteY2467" fmla="*/ 6116950 h 6858000"/>
              <a:gd name="connsiteX2468" fmla="*/ 3483081 w 5794893"/>
              <a:gd name="connsiteY2468" fmla="*/ 6123096 h 6858000"/>
              <a:gd name="connsiteX2469" fmla="*/ 3365094 w 5794893"/>
              <a:gd name="connsiteY2469" fmla="*/ 6116950 h 6858000"/>
              <a:gd name="connsiteX2470" fmla="*/ 3365094 w 5794893"/>
              <a:gd name="connsiteY2470" fmla="*/ 6125554 h 6858000"/>
              <a:gd name="connsiteX2471" fmla="*/ 3247107 w 5794893"/>
              <a:gd name="connsiteY2471" fmla="*/ 6116950 h 6858000"/>
              <a:gd name="connsiteX2472" fmla="*/ 3247107 w 5794893"/>
              <a:gd name="connsiteY2472" fmla="*/ 6128012 h 6858000"/>
              <a:gd name="connsiteX2473" fmla="*/ 3129120 w 5794893"/>
              <a:gd name="connsiteY2473" fmla="*/ 6116950 h 6858000"/>
              <a:gd name="connsiteX2474" fmla="*/ 3127890 w 5794893"/>
              <a:gd name="connsiteY2474" fmla="*/ 6131699 h 6858000"/>
              <a:gd name="connsiteX2475" fmla="*/ 3009903 w 5794893"/>
              <a:gd name="connsiteY2475" fmla="*/ 6116950 h 6858000"/>
              <a:gd name="connsiteX2476" fmla="*/ 3008674 w 5794893"/>
              <a:gd name="connsiteY2476" fmla="*/ 6134158 h 6858000"/>
              <a:gd name="connsiteX2477" fmla="*/ 2891916 w 5794893"/>
              <a:gd name="connsiteY2477" fmla="*/ 6116950 h 6858000"/>
              <a:gd name="connsiteX2478" fmla="*/ 2889458 w 5794893"/>
              <a:gd name="connsiteY2478" fmla="*/ 6137845 h 6858000"/>
              <a:gd name="connsiteX2479" fmla="*/ 2773928 w 5794893"/>
              <a:gd name="connsiteY2479" fmla="*/ 6116950 h 6858000"/>
              <a:gd name="connsiteX2480" fmla="*/ 2770242 w 5794893"/>
              <a:gd name="connsiteY2480" fmla="*/ 6140303 h 6858000"/>
              <a:gd name="connsiteX2481" fmla="*/ 2655941 w 5794893"/>
              <a:gd name="connsiteY2481" fmla="*/ 6116950 h 6858000"/>
              <a:gd name="connsiteX2482" fmla="*/ 2651025 w 5794893"/>
              <a:gd name="connsiteY2482" fmla="*/ 6143989 h 6858000"/>
              <a:gd name="connsiteX2483" fmla="*/ 2537954 w 5794893"/>
              <a:gd name="connsiteY2483" fmla="*/ 6116950 h 6858000"/>
              <a:gd name="connsiteX2484" fmla="*/ 2531809 w 5794893"/>
              <a:gd name="connsiteY2484" fmla="*/ 6147677 h 6858000"/>
              <a:gd name="connsiteX2485" fmla="*/ 2419967 w 5794893"/>
              <a:gd name="connsiteY2485" fmla="*/ 6116950 h 6858000"/>
              <a:gd name="connsiteX2486" fmla="*/ 2412593 w 5794893"/>
              <a:gd name="connsiteY2486" fmla="*/ 6152593 h 6858000"/>
              <a:gd name="connsiteX2487" fmla="*/ 2301980 w 5794893"/>
              <a:gd name="connsiteY2487" fmla="*/ 6116950 h 6858000"/>
              <a:gd name="connsiteX2488" fmla="*/ 2292147 w 5794893"/>
              <a:gd name="connsiteY2488" fmla="*/ 6156279 h 6858000"/>
              <a:gd name="connsiteX2489" fmla="*/ 2183992 w 5794893"/>
              <a:gd name="connsiteY2489" fmla="*/ 6116950 h 6858000"/>
              <a:gd name="connsiteX2490" fmla="*/ 2171702 w 5794893"/>
              <a:gd name="connsiteY2490" fmla="*/ 6161196 h 6858000"/>
              <a:gd name="connsiteX2491" fmla="*/ 2066005 w 5794893"/>
              <a:gd name="connsiteY2491" fmla="*/ 6116950 h 6858000"/>
              <a:gd name="connsiteX2492" fmla="*/ 2050028 w 5794893"/>
              <a:gd name="connsiteY2492" fmla="*/ 6166112 h 6858000"/>
              <a:gd name="connsiteX2493" fmla="*/ 1948018 w 5794893"/>
              <a:gd name="connsiteY2493" fmla="*/ 6116950 h 6858000"/>
              <a:gd name="connsiteX2494" fmla="*/ 1928353 w 5794893"/>
              <a:gd name="connsiteY2494" fmla="*/ 6169799 h 6858000"/>
              <a:gd name="connsiteX2495" fmla="*/ 1830031 w 5794893"/>
              <a:gd name="connsiteY2495" fmla="*/ 6116950 h 6858000"/>
              <a:gd name="connsiteX2496" fmla="*/ 1805450 w 5794893"/>
              <a:gd name="connsiteY2496" fmla="*/ 6174716 h 6858000"/>
              <a:gd name="connsiteX2497" fmla="*/ 1712043 w 5794893"/>
              <a:gd name="connsiteY2497" fmla="*/ 6116950 h 6858000"/>
              <a:gd name="connsiteX2498" fmla="*/ 1682547 w 5794893"/>
              <a:gd name="connsiteY2498" fmla="*/ 6179632 h 6858000"/>
              <a:gd name="connsiteX2499" fmla="*/ 1594056 w 5794893"/>
              <a:gd name="connsiteY2499" fmla="*/ 6118180 h 6858000"/>
              <a:gd name="connsiteX2500" fmla="*/ 1558415 w 5794893"/>
              <a:gd name="connsiteY2500" fmla="*/ 6182090 h 6858000"/>
              <a:gd name="connsiteX2501" fmla="*/ 1685005 w 5794893"/>
              <a:gd name="connsiteY2501" fmla="*/ 6270580 h 6858000"/>
              <a:gd name="connsiteX2502" fmla="*/ 1718189 w 5794893"/>
              <a:gd name="connsiteY2502" fmla="*/ 6210357 h 6858000"/>
              <a:gd name="connsiteX2503" fmla="*/ 1815282 w 5794893"/>
              <a:gd name="connsiteY2503" fmla="*/ 6270580 h 6858000"/>
              <a:gd name="connsiteX2504" fmla="*/ 1842321 w 5794893"/>
              <a:gd name="connsiteY2504" fmla="*/ 6215273 h 6858000"/>
              <a:gd name="connsiteX2505" fmla="*/ 1945560 w 5794893"/>
              <a:gd name="connsiteY2505" fmla="*/ 6270580 h 6858000"/>
              <a:gd name="connsiteX2506" fmla="*/ 1967682 w 5794893"/>
              <a:gd name="connsiteY2506" fmla="*/ 6218961 h 6858000"/>
              <a:gd name="connsiteX2507" fmla="*/ 2075837 w 5794893"/>
              <a:gd name="connsiteY2507" fmla="*/ 6270580 h 6858000"/>
              <a:gd name="connsiteX2508" fmla="*/ 2093044 w 5794893"/>
              <a:gd name="connsiteY2508" fmla="*/ 6223877 h 6858000"/>
              <a:gd name="connsiteX2509" fmla="*/ 2204887 w 5794893"/>
              <a:gd name="connsiteY2509" fmla="*/ 6270580 h 6858000"/>
              <a:gd name="connsiteX2510" fmla="*/ 2218405 w 5794893"/>
              <a:gd name="connsiteY2510" fmla="*/ 6227563 h 6858000"/>
              <a:gd name="connsiteX2511" fmla="*/ 2333934 w 5794893"/>
              <a:gd name="connsiteY2511" fmla="*/ 6270580 h 6858000"/>
              <a:gd name="connsiteX2512" fmla="*/ 2344996 w 5794893"/>
              <a:gd name="connsiteY2512" fmla="*/ 6232481 h 6858000"/>
              <a:gd name="connsiteX2513" fmla="*/ 2464212 w 5794893"/>
              <a:gd name="connsiteY2513" fmla="*/ 6270580 h 6858000"/>
              <a:gd name="connsiteX2514" fmla="*/ 2472816 w 5794893"/>
              <a:gd name="connsiteY2514" fmla="*/ 6236167 h 6858000"/>
              <a:gd name="connsiteX2515" fmla="*/ 2594490 w 5794893"/>
              <a:gd name="connsiteY2515" fmla="*/ 6270580 h 6858000"/>
              <a:gd name="connsiteX2516" fmla="*/ 2600635 w 5794893"/>
              <a:gd name="connsiteY2516" fmla="*/ 6241083 h 6858000"/>
              <a:gd name="connsiteX2517" fmla="*/ 2723539 w 5794893"/>
              <a:gd name="connsiteY2517" fmla="*/ 6270580 h 6858000"/>
              <a:gd name="connsiteX2518" fmla="*/ 2728455 w 5794893"/>
              <a:gd name="connsiteY2518" fmla="*/ 6244771 h 6858000"/>
              <a:gd name="connsiteX2519" fmla="*/ 2853816 w 5794893"/>
              <a:gd name="connsiteY2519" fmla="*/ 6270580 h 6858000"/>
              <a:gd name="connsiteX2520" fmla="*/ 2857503 w 5794893"/>
              <a:gd name="connsiteY2520" fmla="*/ 6248458 h 6858000"/>
              <a:gd name="connsiteX2521" fmla="*/ 2984094 w 5794893"/>
              <a:gd name="connsiteY2521" fmla="*/ 6270580 h 6858000"/>
              <a:gd name="connsiteX2522" fmla="*/ 2986552 w 5794893"/>
              <a:gd name="connsiteY2522" fmla="*/ 6252144 h 6858000"/>
              <a:gd name="connsiteX2523" fmla="*/ 3113142 w 5794893"/>
              <a:gd name="connsiteY2523" fmla="*/ 6270580 h 6858000"/>
              <a:gd name="connsiteX2524" fmla="*/ 3114371 w 5794893"/>
              <a:gd name="connsiteY2524" fmla="*/ 6254602 h 6858000"/>
              <a:gd name="connsiteX2525" fmla="*/ 3242191 w 5794893"/>
              <a:gd name="connsiteY2525" fmla="*/ 6270580 h 6858000"/>
              <a:gd name="connsiteX2526" fmla="*/ 3243419 w 5794893"/>
              <a:gd name="connsiteY2526" fmla="*/ 6258290 h 6858000"/>
              <a:gd name="connsiteX2527" fmla="*/ 3372468 w 5794893"/>
              <a:gd name="connsiteY2527" fmla="*/ 6270580 h 6858000"/>
              <a:gd name="connsiteX2528" fmla="*/ 3373697 w 5794893"/>
              <a:gd name="connsiteY2528" fmla="*/ 6260748 h 6858000"/>
              <a:gd name="connsiteX2529" fmla="*/ 3502746 w 5794893"/>
              <a:gd name="connsiteY2529" fmla="*/ 6270580 h 6858000"/>
              <a:gd name="connsiteX2530" fmla="*/ 3502746 w 5794893"/>
              <a:gd name="connsiteY2530" fmla="*/ 6263206 h 6858000"/>
              <a:gd name="connsiteX2531" fmla="*/ 3631794 w 5794893"/>
              <a:gd name="connsiteY2531" fmla="*/ 6270580 h 6858000"/>
              <a:gd name="connsiteX2532" fmla="*/ 3631794 w 5794893"/>
              <a:gd name="connsiteY2532" fmla="*/ 6265664 h 6858000"/>
              <a:gd name="connsiteX2533" fmla="*/ 3640398 w 5794893"/>
              <a:gd name="connsiteY2533" fmla="*/ 6265664 h 6858000"/>
              <a:gd name="connsiteX2534" fmla="*/ 3720284 w 5794893"/>
              <a:gd name="connsiteY2534" fmla="*/ 6268122 h 6858000"/>
              <a:gd name="connsiteX2535" fmla="*/ 3720284 w 5794893"/>
              <a:gd name="connsiteY2535" fmla="*/ 6269352 h 6858000"/>
              <a:gd name="connsiteX2536" fmla="*/ 5476574 w 5794893"/>
              <a:gd name="connsiteY2536" fmla="*/ 6306223 h 6858000"/>
              <a:gd name="connsiteX2537" fmla="*/ 3720284 w 5794893"/>
              <a:gd name="connsiteY2537" fmla="*/ 6306223 h 6858000"/>
              <a:gd name="connsiteX2538" fmla="*/ 3720284 w 5794893"/>
              <a:gd name="connsiteY2538" fmla="*/ 6308681 h 6858000"/>
              <a:gd name="connsiteX2539" fmla="*/ 3602297 w 5794893"/>
              <a:gd name="connsiteY2539" fmla="*/ 6306223 h 6858000"/>
              <a:gd name="connsiteX2540" fmla="*/ 3602297 w 5794893"/>
              <a:gd name="connsiteY2540" fmla="*/ 6309909 h 6858000"/>
              <a:gd name="connsiteX2541" fmla="*/ 3484310 w 5794893"/>
              <a:gd name="connsiteY2541" fmla="*/ 6306223 h 6858000"/>
              <a:gd name="connsiteX2542" fmla="*/ 3484310 w 5794893"/>
              <a:gd name="connsiteY2542" fmla="*/ 6312367 h 6858000"/>
              <a:gd name="connsiteX2543" fmla="*/ 3366323 w 5794893"/>
              <a:gd name="connsiteY2543" fmla="*/ 6306223 h 6858000"/>
              <a:gd name="connsiteX2544" fmla="*/ 3366323 w 5794893"/>
              <a:gd name="connsiteY2544" fmla="*/ 6314825 h 6858000"/>
              <a:gd name="connsiteX2545" fmla="*/ 3248335 w 5794893"/>
              <a:gd name="connsiteY2545" fmla="*/ 6306223 h 6858000"/>
              <a:gd name="connsiteX2546" fmla="*/ 3248335 w 5794893"/>
              <a:gd name="connsiteY2546" fmla="*/ 6317283 h 6858000"/>
              <a:gd name="connsiteX2547" fmla="*/ 3130348 w 5794893"/>
              <a:gd name="connsiteY2547" fmla="*/ 6306223 h 6858000"/>
              <a:gd name="connsiteX2548" fmla="*/ 3129120 w 5794893"/>
              <a:gd name="connsiteY2548" fmla="*/ 6320971 h 6858000"/>
              <a:gd name="connsiteX2549" fmla="*/ 3011133 w 5794893"/>
              <a:gd name="connsiteY2549" fmla="*/ 6307451 h 6858000"/>
              <a:gd name="connsiteX2550" fmla="*/ 3009903 w 5794893"/>
              <a:gd name="connsiteY2550" fmla="*/ 6324658 h 6858000"/>
              <a:gd name="connsiteX2551" fmla="*/ 2893145 w 5794893"/>
              <a:gd name="connsiteY2551" fmla="*/ 6307451 h 6858000"/>
              <a:gd name="connsiteX2552" fmla="*/ 2890687 w 5794893"/>
              <a:gd name="connsiteY2552" fmla="*/ 6328344 h 6858000"/>
              <a:gd name="connsiteX2553" fmla="*/ 2775158 w 5794893"/>
              <a:gd name="connsiteY2553" fmla="*/ 6307451 h 6858000"/>
              <a:gd name="connsiteX2554" fmla="*/ 2771470 w 5794893"/>
              <a:gd name="connsiteY2554" fmla="*/ 6330803 h 6858000"/>
              <a:gd name="connsiteX2555" fmla="*/ 2657171 w 5794893"/>
              <a:gd name="connsiteY2555" fmla="*/ 6307451 h 6858000"/>
              <a:gd name="connsiteX2556" fmla="*/ 2652255 w 5794893"/>
              <a:gd name="connsiteY2556" fmla="*/ 6334490 h 6858000"/>
              <a:gd name="connsiteX2557" fmla="*/ 2539184 w 5794893"/>
              <a:gd name="connsiteY2557" fmla="*/ 6307451 h 6858000"/>
              <a:gd name="connsiteX2558" fmla="*/ 2533038 w 5794893"/>
              <a:gd name="connsiteY2558" fmla="*/ 6338176 h 6858000"/>
              <a:gd name="connsiteX2559" fmla="*/ 2421196 w 5794893"/>
              <a:gd name="connsiteY2559" fmla="*/ 6307451 h 6858000"/>
              <a:gd name="connsiteX2560" fmla="*/ 2413822 w 5794893"/>
              <a:gd name="connsiteY2560" fmla="*/ 6343094 h 6858000"/>
              <a:gd name="connsiteX2561" fmla="*/ 2303209 w 5794893"/>
              <a:gd name="connsiteY2561" fmla="*/ 6307451 h 6858000"/>
              <a:gd name="connsiteX2562" fmla="*/ 2293377 w 5794893"/>
              <a:gd name="connsiteY2562" fmla="*/ 6346780 h 6858000"/>
              <a:gd name="connsiteX2563" fmla="*/ 2185222 w 5794893"/>
              <a:gd name="connsiteY2563" fmla="*/ 6307451 h 6858000"/>
              <a:gd name="connsiteX2564" fmla="*/ 2172932 w 5794893"/>
              <a:gd name="connsiteY2564" fmla="*/ 6351696 h 6858000"/>
              <a:gd name="connsiteX2565" fmla="*/ 2067235 w 5794893"/>
              <a:gd name="connsiteY2565" fmla="*/ 6307451 h 6858000"/>
              <a:gd name="connsiteX2566" fmla="*/ 2051257 w 5794893"/>
              <a:gd name="connsiteY2566" fmla="*/ 6356613 h 6858000"/>
              <a:gd name="connsiteX2567" fmla="*/ 1949247 w 5794893"/>
              <a:gd name="connsiteY2567" fmla="*/ 6307451 h 6858000"/>
              <a:gd name="connsiteX2568" fmla="*/ 1929583 w 5794893"/>
              <a:gd name="connsiteY2568" fmla="*/ 6360299 h 6858000"/>
              <a:gd name="connsiteX2569" fmla="*/ 1831260 w 5794893"/>
              <a:gd name="connsiteY2569" fmla="*/ 6307451 h 6858000"/>
              <a:gd name="connsiteX2570" fmla="*/ 1806680 w 5794893"/>
              <a:gd name="connsiteY2570" fmla="*/ 6365215 h 6858000"/>
              <a:gd name="connsiteX2571" fmla="*/ 1713273 w 5794893"/>
              <a:gd name="connsiteY2571" fmla="*/ 6307451 h 6858000"/>
              <a:gd name="connsiteX2572" fmla="*/ 1683776 w 5794893"/>
              <a:gd name="connsiteY2572" fmla="*/ 6368903 h 6858000"/>
              <a:gd name="connsiteX2573" fmla="*/ 1595286 w 5794893"/>
              <a:gd name="connsiteY2573" fmla="*/ 6307451 h 6858000"/>
              <a:gd name="connsiteX2574" fmla="*/ 1559643 w 5794893"/>
              <a:gd name="connsiteY2574" fmla="*/ 6371361 h 6858000"/>
              <a:gd name="connsiteX2575" fmla="*/ 1686234 w 5794893"/>
              <a:gd name="connsiteY2575" fmla="*/ 6459851 h 6858000"/>
              <a:gd name="connsiteX2576" fmla="*/ 1719418 w 5794893"/>
              <a:gd name="connsiteY2576" fmla="*/ 6399628 h 6858000"/>
              <a:gd name="connsiteX2577" fmla="*/ 1816512 w 5794893"/>
              <a:gd name="connsiteY2577" fmla="*/ 6459851 h 6858000"/>
              <a:gd name="connsiteX2578" fmla="*/ 1843551 w 5794893"/>
              <a:gd name="connsiteY2578" fmla="*/ 6404546 h 6858000"/>
              <a:gd name="connsiteX2579" fmla="*/ 1946789 w 5794893"/>
              <a:gd name="connsiteY2579" fmla="*/ 6459851 h 6858000"/>
              <a:gd name="connsiteX2580" fmla="*/ 1968912 w 5794893"/>
              <a:gd name="connsiteY2580" fmla="*/ 6408232 h 6858000"/>
              <a:gd name="connsiteX2581" fmla="*/ 2077067 w 5794893"/>
              <a:gd name="connsiteY2581" fmla="*/ 6459851 h 6858000"/>
              <a:gd name="connsiteX2582" fmla="*/ 2094273 w 5794893"/>
              <a:gd name="connsiteY2582" fmla="*/ 6413148 h 6858000"/>
              <a:gd name="connsiteX2583" fmla="*/ 2206115 w 5794893"/>
              <a:gd name="connsiteY2583" fmla="*/ 6459851 h 6858000"/>
              <a:gd name="connsiteX2584" fmla="*/ 2219635 w 5794893"/>
              <a:gd name="connsiteY2584" fmla="*/ 6416836 h 6858000"/>
              <a:gd name="connsiteX2585" fmla="*/ 2335164 w 5794893"/>
              <a:gd name="connsiteY2585" fmla="*/ 6459851 h 6858000"/>
              <a:gd name="connsiteX2586" fmla="*/ 2346225 w 5794893"/>
              <a:gd name="connsiteY2586" fmla="*/ 6421751 h 6858000"/>
              <a:gd name="connsiteX2587" fmla="*/ 2465442 w 5794893"/>
              <a:gd name="connsiteY2587" fmla="*/ 6459851 h 6858000"/>
              <a:gd name="connsiteX2588" fmla="*/ 2474044 w 5794893"/>
              <a:gd name="connsiteY2588" fmla="*/ 6425438 h 6858000"/>
              <a:gd name="connsiteX2589" fmla="*/ 2595719 w 5794893"/>
              <a:gd name="connsiteY2589" fmla="*/ 6459851 h 6858000"/>
              <a:gd name="connsiteX2590" fmla="*/ 2601864 w 5794893"/>
              <a:gd name="connsiteY2590" fmla="*/ 6430355 h 6858000"/>
              <a:gd name="connsiteX2591" fmla="*/ 2724767 w 5794893"/>
              <a:gd name="connsiteY2591" fmla="*/ 6459851 h 6858000"/>
              <a:gd name="connsiteX2592" fmla="*/ 2729683 w 5794893"/>
              <a:gd name="connsiteY2592" fmla="*/ 6434041 h 6858000"/>
              <a:gd name="connsiteX2593" fmla="*/ 2853816 w 5794893"/>
              <a:gd name="connsiteY2593" fmla="*/ 6459851 h 6858000"/>
              <a:gd name="connsiteX2594" fmla="*/ 2857503 w 5794893"/>
              <a:gd name="connsiteY2594" fmla="*/ 6437729 h 6858000"/>
              <a:gd name="connsiteX2595" fmla="*/ 2984094 w 5794893"/>
              <a:gd name="connsiteY2595" fmla="*/ 6459851 h 6858000"/>
              <a:gd name="connsiteX2596" fmla="*/ 2986552 w 5794893"/>
              <a:gd name="connsiteY2596" fmla="*/ 6441417 h 6858000"/>
              <a:gd name="connsiteX2597" fmla="*/ 3113142 w 5794893"/>
              <a:gd name="connsiteY2597" fmla="*/ 6459851 h 6858000"/>
              <a:gd name="connsiteX2598" fmla="*/ 3114371 w 5794893"/>
              <a:gd name="connsiteY2598" fmla="*/ 6443875 h 6858000"/>
              <a:gd name="connsiteX2599" fmla="*/ 3242191 w 5794893"/>
              <a:gd name="connsiteY2599" fmla="*/ 6459851 h 6858000"/>
              <a:gd name="connsiteX2600" fmla="*/ 3243419 w 5794893"/>
              <a:gd name="connsiteY2600" fmla="*/ 6447561 h 6858000"/>
              <a:gd name="connsiteX2601" fmla="*/ 3372468 w 5794893"/>
              <a:gd name="connsiteY2601" fmla="*/ 6459851 h 6858000"/>
              <a:gd name="connsiteX2602" fmla="*/ 3373697 w 5794893"/>
              <a:gd name="connsiteY2602" fmla="*/ 6450019 h 6858000"/>
              <a:gd name="connsiteX2603" fmla="*/ 3502746 w 5794893"/>
              <a:gd name="connsiteY2603" fmla="*/ 6459851 h 6858000"/>
              <a:gd name="connsiteX2604" fmla="*/ 3502746 w 5794893"/>
              <a:gd name="connsiteY2604" fmla="*/ 6452477 h 6858000"/>
              <a:gd name="connsiteX2605" fmla="*/ 3631794 w 5794893"/>
              <a:gd name="connsiteY2605" fmla="*/ 6459851 h 6858000"/>
              <a:gd name="connsiteX2606" fmla="*/ 3631794 w 5794893"/>
              <a:gd name="connsiteY2606" fmla="*/ 6454935 h 6858000"/>
              <a:gd name="connsiteX2607" fmla="*/ 3640398 w 5794893"/>
              <a:gd name="connsiteY2607" fmla="*/ 6454935 h 6858000"/>
              <a:gd name="connsiteX2608" fmla="*/ 3720284 w 5794893"/>
              <a:gd name="connsiteY2608" fmla="*/ 6457393 h 6858000"/>
              <a:gd name="connsiteX2609" fmla="*/ 3720284 w 5794893"/>
              <a:gd name="connsiteY2609" fmla="*/ 6459851 h 6858000"/>
              <a:gd name="connsiteX2610" fmla="*/ 5711320 w 5794893"/>
              <a:gd name="connsiteY2610" fmla="*/ 6501639 h 6858000"/>
              <a:gd name="connsiteX2611" fmla="*/ 3720284 w 5794893"/>
              <a:gd name="connsiteY2611" fmla="*/ 6501639 h 6858000"/>
              <a:gd name="connsiteX2612" fmla="*/ 3720284 w 5794893"/>
              <a:gd name="connsiteY2612" fmla="*/ 6504097 h 6858000"/>
              <a:gd name="connsiteX2613" fmla="*/ 3602297 w 5794893"/>
              <a:gd name="connsiteY2613" fmla="*/ 6501639 h 6858000"/>
              <a:gd name="connsiteX2614" fmla="*/ 3602297 w 5794893"/>
              <a:gd name="connsiteY2614" fmla="*/ 6505326 h 6858000"/>
              <a:gd name="connsiteX2615" fmla="*/ 3484310 w 5794893"/>
              <a:gd name="connsiteY2615" fmla="*/ 6501639 h 6858000"/>
              <a:gd name="connsiteX2616" fmla="*/ 3484310 w 5794893"/>
              <a:gd name="connsiteY2616" fmla="*/ 6507783 h 6858000"/>
              <a:gd name="connsiteX2617" fmla="*/ 3366323 w 5794893"/>
              <a:gd name="connsiteY2617" fmla="*/ 6501639 h 6858000"/>
              <a:gd name="connsiteX2618" fmla="*/ 3366323 w 5794893"/>
              <a:gd name="connsiteY2618" fmla="*/ 6510241 h 6858000"/>
              <a:gd name="connsiteX2619" fmla="*/ 3248335 w 5794893"/>
              <a:gd name="connsiteY2619" fmla="*/ 6501639 h 6858000"/>
              <a:gd name="connsiteX2620" fmla="*/ 3248335 w 5794893"/>
              <a:gd name="connsiteY2620" fmla="*/ 6512699 h 6858000"/>
              <a:gd name="connsiteX2621" fmla="*/ 3130348 w 5794893"/>
              <a:gd name="connsiteY2621" fmla="*/ 6501639 h 6858000"/>
              <a:gd name="connsiteX2622" fmla="*/ 3129120 w 5794893"/>
              <a:gd name="connsiteY2622" fmla="*/ 6516387 h 6858000"/>
              <a:gd name="connsiteX2623" fmla="*/ 3011133 w 5794893"/>
              <a:gd name="connsiteY2623" fmla="*/ 6501639 h 6858000"/>
              <a:gd name="connsiteX2624" fmla="*/ 3009903 w 5794893"/>
              <a:gd name="connsiteY2624" fmla="*/ 6518845 h 6858000"/>
              <a:gd name="connsiteX2625" fmla="*/ 2893145 w 5794893"/>
              <a:gd name="connsiteY2625" fmla="*/ 6501639 h 6858000"/>
              <a:gd name="connsiteX2626" fmla="*/ 2890687 w 5794893"/>
              <a:gd name="connsiteY2626" fmla="*/ 6522531 h 6858000"/>
              <a:gd name="connsiteX2627" fmla="*/ 2775158 w 5794893"/>
              <a:gd name="connsiteY2627" fmla="*/ 6501639 h 6858000"/>
              <a:gd name="connsiteX2628" fmla="*/ 2771470 w 5794893"/>
              <a:gd name="connsiteY2628" fmla="*/ 6526219 h 6858000"/>
              <a:gd name="connsiteX2629" fmla="*/ 2657171 w 5794893"/>
              <a:gd name="connsiteY2629" fmla="*/ 6501639 h 6858000"/>
              <a:gd name="connsiteX2630" fmla="*/ 2652255 w 5794893"/>
              <a:gd name="connsiteY2630" fmla="*/ 6528677 h 6858000"/>
              <a:gd name="connsiteX2631" fmla="*/ 2539184 w 5794893"/>
              <a:gd name="connsiteY2631" fmla="*/ 6501639 h 6858000"/>
              <a:gd name="connsiteX2632" fmla="*/ 2533038 w 5794893"/>
              <a:gd name="connsiteY2632" fmla="*/ 6533593 h 6858000"/>
              <a:gd name="connsiteX2633" fmla="*/ 2421196 w 5794893"/>
              <a:gd name="connsiteY2633" fmla="*/ 6501639 h 6858000"/>
              <a:gd name="connsiteX2634" fmla="*/ 2413822 w 5794893"/>
              <a:gd name="connsiteY2634" fmla="*/ 6537280 h 6858000"/>
              <a:gd name="connsiteX2635" fmla="*/ 2303209 w 5794893"/>
              <a:gd name="connsiteY2635" fmla="*/ 6501639 h 6858000"/>
              <a:gd name="connsiteX2636" fmla="*/ 2293377 w 5794893"/>
              <a:gd name="connsiteY2636" fmla="*/ 6540968 h 6858000"/>
              <a:gd name="connsiteX2637" fmla="*/ 2185222 w 5794893"/>
              <a:gd name="connsiteY2637" fmla="*/ 6501639 h 6858000"/>
              <a:gd name="connsiteX2638" fmla="*/ 2172932 w 5794893"/>
              <a:gd name="connsiteY2638" fmla="*/ 6545884 h 6858000"/>
              <a:gd name="connsiteX2639" fmla="*/ 2067235 w 5794893"/>
              <a:gd name="connsiteY2639" fmla="*/ 6501639 h 6858000"/>
              <a:gd name="connsiteX2640" fmla="*/ 2051257 w 5794893"/>
              <a:gd name="connsiteY2640" fmla="*/ 6550800 h 6858000"/>
              <a:gd name="connsiteX2641" fmla="*/ 1949247 w 5794893"/>
              <a:gd name="connsiteY2641" fmla="*/ 6501639 h 6858000"/>
              <a:gd name="connsiteX2642" fmla="*/ 1929583 w 5794893"/>
              <a:gd name="connsiteY2642" fmla="*/ 6554488 h 6858000"/>
              <a:gd name="connsiteX2643" fmla="*/ 1831260 w 5794893"/>
              <a:gd name="connsiteY2643" fmla="*/ 6501639 h 6858000"/>
              <a:gd name="connsiteX2644" fmla="*/ 1806680 w 5794893"/>
              <a:gd name="connsiteY2644" fmla="*/ 6559402 h 6858000"/>
              <a:gd name="connsiteX2645" fmla="*/ 1713273 w 5794893"/>
              <a:gd name="connsiteY2645" fmla="*/ 6501639 h 6858000"/>
              <a:gd name="connsiteX2646" fmla="*/ 1683776 w 5794893"/>
              <a:gd name="connsiteY2646" fmla="*/ 6564320 h 6858000"/>
              <a:gd name="connsiteX2647" fmla="*/ 1595286 w 5794893"/>
              <a:gd name="connsiteY2647" fmla="*/ 6501639 h 6858000"/>
              <a:gd name="connsiteX2648" fmla="*/ 1559643 w 5794893"/>
              <a:gd name="connsiteY2648" fmla="*/ 6565548 h 6858000"/>
              <a:gd name="connsiteX2649" fmla="*/ 1685005 w 5794893"/>
              <a:gd name="connsiteY2649" fmla="*/ 6654039 h 6858000"/>
              <a:gd name="connsiteX2650" fmla="*/ 1718189 w 5794893"/>
              <a:gd name="connsiteY2650" fmla="*/ 6593815 h 6858000"/>
              <a:gd name="connsiteX2651" fmla="*/ 1815282 w 5794893"/>
              <a:gd name="connsiteY2651" fmla="*/ 6654039 h 6858000"/>
              <a:gd name="connsiteX2652" fmla="*/ 1842321 w 5794893"/>
              <a:gd name="connsiteY2652" fmla="*/ 6598732 h 6858000"/>
              <a:gd name="connsiteX2653" fmla="*/ 1945560 w 5794893"/>
              <a:gd name="connsiteY2653" fmla="*/ 6654039 h 6858000"/>
              <a:gd name="connsiteX2654" fmla="*/ 1967682 w 5794893"/>
              <a:gd name="connsiteY2654" fmla="*/ 6602419 h 6858000"/>
              <a:gd name="connsiteX2655" fmla="*/ 2075837 w 5794893"/>
              <a:gd name="connsiteY2655" fmla="*/ 6654039 h 6858000"/>
              <a:gd name="connsiteX2656" fmla="*/ 2093044 w 5794893"/>
              <a:gd name="connsiteY2656" fmla="*/ 6607335 h 6858000"/>
              <a:gd name="connsiteX2657" fmla="*/ 2204887 w 5794893"/>
              <a:gd name="connsiteY2657" fmla="*/ 6654039 h 6858000"/>
              <a:gd name="connsiteX2658" fmla="*/ 2218405 w 5794893"/>
              <a:gd name="connsiteY2658" fmla="*/ 6611022 h 6858000"/>
              <a:gd name="connsiteX2659" fmla="*/ 2333934 w 5794893"/>
              <a:gd name="connsiteY2659" fmla="*/ 6654039 h 6858000"/>
              <a:gd name="connsiteX2660" fmla="*/ 2344996 w 5794893"/>
              <a:gd name="connsiteY2660" fmla="*/ 6615939 h 6858000"/>
              <a:gd name="connsiteX2661" fmla="*/ 2464212 w 5794893"/>
              <a:gd name="connsiteY2661" fmla="*/ 6654039 h 6858000"/>
              <a:gd name="connsiteX2662" fmla="*/ 2472816 w 5794893"/>
              <a:gd name="connsiteY2662" fmla="*/ 6619626 h 6858000"/>
              <a:gd name="connsiteX2663" fmla="*/ 2593261 w 5794893"/>
              <a:gd name="connsiteY2663" fmla="*/ 6654039 h 6858000"/>
              <a:gd name="connsiteX2664" fmla="*/ 2598177 w 5794893"/>
              <a:gd name="connsiteY2664" fmla="*/ 6625772 h 6858000"/>
              <a:gd name="connsiteX2665" fmla="*/ 2721081 w 5794893"/>
              <a:gd name="connsiteY2665" fmla="*/ 6655267 h 6858000"/>
              <a:gd name="connsiteX2666" fmla="*/ 2725997 w 5794893"/>
              <a:gd name="connsiteY2666" fmla="*/ 6629458 h 6858000"/>
              <a:gd name="connsiteX2667" fmla="*/ 2851358 w 5794893"/>
              <a:gd name="connsiteY2667" fmla="*/ 6655267 h 6858000"/>
              <a:gd name="connsiteX2668" fmla="*/ 2855045 w 5794893"/>
              <a:gd name="connsiteY2668" fmla="*/ 6633144 h 6858000"/>
              <a:gd name="connsiteX2669" fmla="*/ 2981636 w 5794893"/>
              <a:gd name="connsiteY2669" fmla="*/ 6655267 h 6858000"/>
              <a:gd name="connsiteX2670" fmla="*/ 2984094 w 5794893"/>
              <a:gd name="connsiteY2670" fmla="*/ 6636832 h 6858000"/>
              <a:gd name="connsiteX2671" fmla="*/ 3110684 w 5794893"/>
              <a:gd name="connsiteY2671" fmla="*/ 6655267 h 6858000"/>
              <a:gd name="connsiteX2672" fmla="*/ 3113142 w 5794893"/>
              <a:gd name="connsiteY2672" fmla="*/ 6639290 h 6858000"/>
              <a:gd name="connsiteX2673" fmla="*/ 3240961 w 5794893"/>
              <a:gd name="connsiteY2673" fmla="*/ 6655267 h 6858000"/>
              <a:gd name="connsiteX2674" fmla="*/ 3242191 w 5794893"/>
              <a:gd name="connsiteY2674" fmla="*/ 6642977 h 6858000"/>
              <a:gd name="connsiteX2675" fmla="*/ 3371239 w 5794893"/>
              <a:gd name="connsiteY2675" fmla="*/ 6655267 h 6858000"/>
              <a:gd name="connsiteX2676" fmla="*/ 3372468 w 5794893"/>
              <a:gd name="connsiteY2676" fmla="*/ 6645435 h 6858000"/>
              <a:gd name="connsiteX2677" fmla="*/ 3501516 w 5794893"/>
              <a:gd name="connsiteY2677" fmla="*/ 6655267 h 6858000"/>
              <a:gd name="connsiteX2678" fmla="*/ 3501516 w 5794893"/>
              <a:gd name="connsiteY2678" fmla="*/ 6647893 h 6858000"/>
              <a:gd name="connsiteX2679" fmla="*/ 3630565 w 5794893"/>
              <a:gd name="connsiteY2679" fmla="*/ 6655267 h 6858000"/>
              <a:gd name="connsiteX2680" fmla="*/ 3630565 w 5794893"/>
              <a:gd name="connsiteY2680" fmla="*/ 6650352 h 6858000"/>
              <a:gd name="connsiteX2681" fmla="*/ 3639168 w 5794893"/>
              <a:gd name="connsiteY2681" fmla="*/ 6650352 h 6858000"/>
              <a:gd name="connsiteX2682" fmla="*/ 3719056 w 5794893"/>
              <a:gd name="connsiteY2682" fmla="*/ 6652810 h 6858000"/>
              <a:gd name="connsiteX2683" fmla="*/ 3719056 w 5794893"/>
              <a:gd name="connsiteY2683" fmla="*/ 6654039 h 6858000"/>
              <a:gd name="connsiteX2684" fmla="*/ 5715007 w 5794893"/>
              <a:gd name="connsiteY2684" fmla="*/ 6700742 h 6858000"/>
              <a:gd name="connsiteX2685" fmla="*/ 3716598 w 5794893"/>
              <a:gd name="connsiteY2685" fmla="*/ 6700742 h 6858000"/>
              <a:gd name="connsiteX2686" fmla="*/ 3716598 w 5794893"/>
              <a:gd name="connsiteY2686" fmla="*/ 6701972 h 6858000"/>
              <a:gd name="connsiteX2687" fmla="*/ 3598611 w 5794893"/>
              <a:gd name="connsiteY2687" fmla="*/ 6699514 h 6858000"/>
              <a:gd name="connsiteX2688" fmla="*/ 3598611 w 5794893"/>
              <a:gd name="connsiteY2688" fmla="*/ 6703200 h 6858000"/>
              <a:gd name="connsiteX2689" fmla="*/ 3480623 w 5794893"/>
              <a:gd name="connsiteY2689" fmla="*/ 6699514 h 6858000"/>
              <a:gd name="connsiteX2690" fmla="*/ 3480623 w 5794893"/>
              <a:gd name="connsiteY2690" fmla="*/ 6705658 h 6858000"/>
              <a:gd name="connsiteX2691" fmla="*/ 3362636 w 5794893"/>
              <a:gd name="connsiteY2691" fmla="*/ 6699514 h 6858000"/>
              <a:gd name="connsiteX2692" fmla="*/ 3362636 w 5794893"/>
              <a:gd name="connsiteY2692" fmla="*/ 6708116 h 6858000"/>
              <a:gd name="connsiteX2693" fmla="*/ 3244649 w 5794893"/>
              <a:gd name="connsiteY2693" fmla="*/ 6699514 h 6858000"/>
              <a:gd name="connsiteX2694" fmla="*/ 3244649 w 5794893"/>
              <a:gd name="connsiteY2694" fmla="*/ 6710574 h 6858000"/>
              <a:gd name="connsiteX2695" fmla="*/ 3126662 w 5794893"/>
              <a:gd name="connsiteY2695" fmla="*/ 6699514 h 6858000"/>
              <a:gd name="connsiteX2696" fmla="*/ 3125432 w 5794893"/>
              <a:gd name="connsiteY2696" fmla="*/ 6714262 h 6858000"/>
              <a:gd name="connsiteX2697" fmla="*/ 3007445 w 5794893"/>
              <a:gd name="connsiteY2697" fmla="*/ 6699514 h 6858000"/>
              <a:gd name="connsiteX2698" fmla="*/ 3006216 w 5794893"/>
              <a:gd name="connsiteY2698" fmla="*/ 6716719 h 6858000"/>
              <a:gd name="connsiteX2699" fmla="*/ 2889458 w 5794893"/>
              <a:gd name="connsiteY2699" fmla="*/ 6699514 h 6858000"/>
              <a:gd name="connsiteX2700" fmla="*/ 2887000 w 5794893"/>
              <a:gd name="connsiteY2700" fmla="*/ 6720406 h 6858000"/>
              <a:gd name="connsiteX2701" fmla="*/ 2771470 w 5794893"/>
              <a:gd name="connsiteY2701" fmla="*/ 6699514 h 6858000"/>
              <a:gd name="connsiteX2702" fmla="*/ 2767784 w 5794893"/>
              <a:gd name="connsiteY2702" fmla="*/ 6724094 h 6858000"/>
              <a:gd name="connsiteX2703" fmla="*/ 2653483 w 5794893"/>
              <a:gd name="connsiteY2703" fmla="*/ 6699514 h 6858000"/>
              <a:gd name="connsiteX2704" fmla="*/ 2648567 w 5794893"/>
              <a:gd name="connsiteY2704" fmla="*/ 6726552 h 6858000"/>
              <a:gd name="connsiteX2705" fmla="*/ 2535496 w 5794893"/>
              <a:gd name="connsiteY2705" fmla="*/ 6699514 h 6858000"/>
              <a:gd name="connsiteX2706" fmla="*/ 2529351 w 5794893"/>
              <a:gd name="connsiteY2706" fmla="*/ 6731467 h 6858000"/>
              <a:gd name="connsiteX2707" fmla="*/ 2417509 w 5794893"/>
              <a:gd name="connsiteY2707" fmla="*/ 6699514 h 6858000"/>
              <a:gd name="connsiteX2708" fmla="*/ 2410134 w 5794893"/>
              <a:gd name="connsiteY2708" fmla="*/ 6735155 h 6858000"/>
              <a:gd name="connsiteX2709" fmla="*/ 2299521 w 5794893"/>
              <a:gd name="connsiteY2709" fmla="*/ 6699514 h 6858000"/>
              <a:gd name="connsiteX2710" fmla="*/ 2289689 w 5794893"/>
              <a:gd name="connsiteY2710" fmla="*/ 6738843 h 6858000"/>
              <a:gd name="connsiteX2711" fmla="*/ 2181534 w 5794893"/>
              <a:gd name="connsiteY2711" fmla="*/ 6699514 h 6858000"/>
              <a:gd name="connsiteX2712" fmla="*/ 2169244 w 5794893"/>
              <a:gd name="connsiteY2712" fmla="*/ 6743757 h 6858000"/>
              <a:gd name="connsiteX2713" fmla="*/ 2063547 w 5794893"/>
              <a:gd name="connsiteY2713" fmla="*/ 6699514 h 6858000"/>
              <a:gd name="connsiteX2714" fmla="*/ 2047570 w 5794893"/>
              <a:gd name="connsiteY2714" fmla="*/ 6748675 h 6858000"/>
              <a:gd name="connsiteX2715" fmla="*/ 1945560 w 5794893"/>
              <a:gd name="connsiteY2715" fmla="*/ 6699514 h 6858000"/>
              <a:gd name="connsiteX2716" fmla="*/ 1925895 w 5794893"/>
              <a:gd name="connsiteY2716" fmla="*/ 6752361 h 6858000"/>
              <a:gd name="connsiteX2717" fmla="*/ 1827572 w 5794893"/>
              <a:gd name="connsiteY2717" fmla="*/ 6699514 h 6858000"/>
              <a:gd name="connsiteX2718" fmla="*/ 1802992 w 5794893"/>
              <a:gd name="connsiteY2718" fmla="*/ 6757277 h 6858000"/>
              <a:gd name="connsiteX2719" fmla="*/ 1709585 w 5794893"/>
              <a:gd name="connsiteY2719" fmla="*/ 6699514 h 6858000"/>
              <a:gd name="connsiteX2720" fmla="*/ 1680088 w 5794893"/>
              <a:gd name="connsiteY2720" fmla="*/ 6762194 h 6858000"/>
              <a:gd name="connsiteX2721" fmla="*/ 1591598 w 5794893"/>
              <a:gd name="connsiteY2721" fmla="*/ 6699514 h 6858000"/>
              <a:gd name="connsiteX2722" fmla="*/ 1557758 w 5794893"/>
              <a:gd name="connsiteY2722" fmla="*/ 6760194 h 6858000"/>
              <a:gd name="connsiteX2723" fmla="*/ 1477299 w 5794893"/>
              <a:gd name="connsiteY2723" fmla="*/ 6695826 h 6858000"/>
              <a:gd name="connsiteX2724" fmla="*/ 1440428 w 5794893"/>
              <a:gd name="connsiteY2724" fmla="*/ 6754819 h 6858000"/>
              <a:gd name="connsiteX2725" fmla="*/ 1557185 w 5794893"/>
              <a:gd name="connsiteY2725" fmla="*/ 6848226 h 6858000"/>
              <a:gd name="connsiteX2726" fmla="*/ 1593698 w 5794893"/>
              <a:gd name="connsiteY2726" fmla="*/ 6789805 h 6858000"/>
              <a:gd name="connsiteX2727" fmla="*/ 1682547 w 5794893"/>
              <a:gd name="connsiteY2727" fmla="*/ 6851912 h 6858000"/>
              <a:gd name="connsiteX2728" fmla="*/ 1715731 w 5794893"/>
              <a:gd name="connsiteY2728" fmla="*/ 6791690 h 6858000"/>
              <a:gd name="connsiteX2729" fmla="*/ 1812824 w 5794893"/>
              <a:gd name="connsiteY2729" fmla="*/ 6851912 h 6858000"/>
              <a:gd name="connsiteX2730" fmla="*/ 1839863 w 5794893"/>
              <a:gd name="connsiteY2730" fmla="*/ 6796607 h 6858000"/>
              <a:gd name="connsiteX2731" fmla="*/ 1943102 w 5794893"/>
              <a:gd name="connsiteY2731" fmla="*/ 6851912 h 6858000"/>
              <a:gd name="connsiteX2732" fmla="*/ 1965224 w 5794893"/>
              <a:gd name="connsiteY2732" fmla="*/ 6800294 h 6858000"/>
              <a:gd name="connsiteX2733" fmla="*/ 2073379 w 5794893"/>
              <a:gd name="connsiteY2733" fmla="*/ 6851912 h 6858000"/>
              <a:gd name="connsiteX2734" fmla="*/ 2090586 w 5794893"/>
              <a:gd name="connsiteY2734" fmla="*/ 6805209 h 6858000"/>
              <a:gd name="connsiteX2735" fmla="*/ 2202428 w 5794893"/>
              <a:gd name="connsiteY2735" fmla="*/ 6851912 h 6858000"/>
              <a:gd name="connsiteX2736" fmla="*/ 2215947 w 5794893"/>
              <a:gd name="connsiteY2736" fmla="*/ 6808897 h 6858000"/>
              <a:gd name="connsiteX2737" fmla="*/ 2331476 w 5794893"/>
              <a:gd name="connsiteY2737" fmla="*/ 6851912 h 6858000"/>
              <a:gd name="connsiteX2738" fmla="*/ 2342538 w 5794893"/>
              <a:gd name="connsiteY2738" fmla="*/ 6813813 h 6858000"/>
              <a:gd name="connsiteX2739" fmla="*/ 2461754 w 5794893"/>
              <a:gd name="connsiteY2739" fmla="*/ 6851912 h 6858000"/>
              <a:gd name="connsiteX2740" fmla="*/ 2470358 w 5794893"/>
              <a:gd name="connsiteY2740" fmla="*/ 6817499 h 6858000"/>
              <a:gd name="connsiteX2741" fmla="*/ 2592031 w 5794893"/>
              <a:gd name="connsiteY2741" fmla="*/ 6851912 h 6858000"/>
              <a:gd name="connsiteX2742" fmla="*/ 2598177 w 5794893"/>
              <a:gd name="connsiteY2742" fmla="*/ 6822417 h 6858000"/>
              <a:gd name="connsiteX2743" fmla="*/ 2721081 w 5794893"/>
              <a:gd name="connsiteY2743" fmla="*/ 6851912 h 6858000"/>
              <a:gd name="connsiteX2744" fmla="*/ 2725997 w 5794893"/>
              <a:gd name="connsiteY2744" fmla="*/ 6826103 h 6858000"/>
              <a:gd name="connsiteX2745" fmla="*/ 2851358 w 5794893"/>
              <a:gd name="connsiteY2745" fmla="*/ 6851912 h 6858000"/>
              <a:gd name="connsiteX2746" fmla="*/ 2855045 w 5794893"/>
              <a:gd name="connsiteY2746" fmla="*/ 6829790 h 6858000"/>
              <a:gd name="connsiteX2747" fmla="*/ 2981636 w 5794893"/>
              <a:gd name="connsiteY2747" fmla="*/ 6851912 h 6858000"/>
              <a:gd name="connsiteX2748" fmla="*/ 2984094 w 5794893"/>
              <a:gd name="connsiteY2748" fmla="*/ 6833478 h 6858000"/>
              <a:gd name="connsiteX2749" fmla="*/ 3110684 w 5794893"/>
              <a:gd name="connsiteY2749" fmla="*/ 6851912 h 6858000"/>
              <a:gd name="connsiteX2750" fmla="*/ 3111913 w 5794893"/>
              <a:gd name="connsiteY2750" fmla="*/ 6835936 h 6858000"/>
              <a:gd name="connsiteX2751" fmla="*/ 3239733 w 5794893"/>
              <a:gd name="connsiteY2751" fmla="*/ 6851912 h 6858000"/>
              <a:gd name="connsiteX2752" fmla="*/ 3240961 w 5794893"/>
              <a:gd name="connsiteY2752" fmla="*/ 6839622 h 6858000"/>
              <a:gd name="connsiteX2753" fmla="*/ 3370010 w 5794893"/>
              <a:gd name="connsiteY2753" fmla="*/ 6851912 h 6858000"/>
              <a:gd name="connsiteX2754" fmla="*/ 3371239 w 5794893"/>
              <a:gd name="connsiteY2754" fmla="*/ 6842080 h 6858000"/>
              <a:gd name="connsiteX2755" fmla="*/ 3500288 w 5794893"/>
              <a:gd name="connsiteY2755" fmla="*/ 6851912 h 6858000"/>
              <a:gd name="connsiteX2756" fmla="*/ 3500288 w 5794893"/>
              <a:gd name="connsiteY2756" fmla="*/ 6844538 h 6858000"/>
              <a:gd name="connsiteX2757" fmla="*/ 3629336 w 5794893"/>
              <a:gd name="connsiteY2757" fmla="*/ 6851912 h 6858000"/>
              <a:gd name="connsiteX2758" fmla="*/ 3629336 w 5794893"/>
              <a:gd name="connsiteY2758" fmla="*/ 6848226 h 6858000"/>
              <a:gd name="connsiteX2759" fmla="*/ 3637940 w 5794893"/>
              <a:gd name="connsiteY2759" fmla="*/ 6848226 h 6858000"/>
              <a:gd name="connsiteX2760" fmla="*/ 3717826 w 5794893"/>
              <a:gd name="connsiteY2760" fmla="*/ 6850684 h 6858000"/>
              <a:gd name="connsiteX2761" fmla="*/ 3717826 w 5794893"/>
              <a:gd name="connsiteY2761" fmla="*/ 6851912 h 6858000"/>
              <a:gd name="connsiteX2762" fmla="*/ 4009865 w 5794893"/>
              <a:gd name="connsiteY2762" fmla="*/ 6858000 h 6858000"/>
              <a:gd name="connsiteX2763" fmla="*/ 0 w 5794893"/>
              <a:gd name="connsiteY2763" fmla="*/ 6858000 h 6858000"/>
              <a:gd name="connsiteX2764" fmla="*/ 0 w 5794893"/>
              <a:gd name="connsiteY2764" fmla="*/ 6848226 h 6858000"/>
              <a:gd name="connsiteX2765" fmla="*/ 60222 w 5794893"/>
              <a:gd name="connsiteY2765" fmla="*/ 6848226 h 6858000"/>
              <a:gd name="connsiteX2766" fmla="*/ 60222 w 5794893"/>
              <a:gd name="connsiteY2766" fmla="*/ 6694596 h 6858000"/>
              <a:gd name="connsiteX2767" fmla="*/ 0 w 5794893"/>
              <a:gd name="connsiteY2767" fmla="*/ 6694596 h 6858000"/>
              <a:gd name="connsiteX2768" fmla="*/ 0 w 5794893"/>
              <a:gd name="connsiteY2768" fmla="*/ 6654039 h 6858000"/>
              <a:gd name="connsiteX2769" fmla="*/ 60222 w 5794893"/>
              <a:gd name="connsiteY2769" fmla="*/ 6654039 h 6858000"/>
              <a:gd name="connsiteX2770" fmla="*/ 60222 w 5794893"/>
              <a:gd name="connsiteY2770" fmla="*/ 6504097 h 6858000"/>
              <a:gd name="connsiteX2771" fmla="*/ 0 w 5794893"/>
              <a:gd name="connsiteY2771" fmla="*/ 6504097 h 6858000"/>
              <a:gd name="connsiteX2772" fmla="*/ 0 w 5794893"/>
              <a:gd name="connsiteY2772" fmla="*/ 6462309 h 6858000"/>
              <a:gd name="connsiteX2773" fmla="*/ 60222 w 5794893"/>
              <a:gd name="connsiteY2773" fmla="*/ 6462309 h 6858000"/>
              <a:gd name="connsiteX2774" fmla="*/ 60222 w 5794893"/>
              <a:gd name="connsiteY2774" fmla="*/ 6308681 h 6858000"/>
              <a:gd name="connsiteX2775" fmla="*/ 0 w 5794893"/>
              <a:gd name="connsiteY2775" fmla="*/ 6308681 h 6858000"/>
              <a:gd name="connsiteX2776" fmla="*/ 0 w 5794893"/>
              <a:gd name="connsiteY2776" fmla="*/ 6271810 h 6858000"/>
              <a:gd name="connsiteX2777" fmla="*/ 60222 w 5794893"/>
              <a:gd name="connsiteY2777" fmla="*/ 6271810 h 6858000"/>
              <a:gd name="connsiteX2778" fmla="*/ 60222 w 5794893"/>
              <a:gd name="connsiteY2778" fmla="*/ 6118180 h 6858000"/>
              <a:gd name="connsiteX2779" fmla="*/ 0 w 5794893"/>
              <a:gd name="connsiteY2779" fmla="*/ 6118180 h 6858000"/>
              <a:gd name="connsiteX2780" fmla="*/ 0 w 5794893"/>
              <a:gd name="connsiteY2780" fmla="*/ 6081309 h 6858000"/>
              <a:gd name="connsiteX2781" fmla="*/ 60222 w 5794893"/>
              <a:gd name="connsiteY2781" fmla="*/ 6081309 h 6858000"/>
              <a:gd name="connsiteX2782" fmla="*/ 60222 w 5794893"/>
              <a:gd name="connsiteY2782" fmla="*/ 5927679 h 6858000"/>
              <a:gd name="connsiteX2783" fmla="*/ 0 w 5794893"/>
              <a:gd name="connsiteY2783" fmla="*/ 5927679 h 6858000"/>
              <a:gd name="connsiteX2784" fmla="*/ 0 w 5794893"/>
              <a:gd name="connsiteY2784" fmla="*/ 5888351 h 6858000"/>
              <a:gd name="connsiteX2785" fmla="*/ 60222 w 5794893"/>
              <a:gd name="connsiteY2785" fmla="*/ 5888351 h 6858000"/>
              <a:gd name="connsiteX2786" fmla="*/ 60222 w 5794893"/>
              <a:gd name="connsiteY2786" fmla="*/ 5734722 h 6858000"/>
              <a:gd name="connsiteX2787" fmla="*/ 0 w 5794893"/>
              <a:gd name="connsiteY2787" fmla="*/ 5734722 h 6858000"/>
              <a:gd name="connsiteX2788" fmla="*/ 0 w 5794893"/>
              <a:gd name="connsiteY2788" fmla="*/ 5695392 h 6858000"/>
              <a:gd name="connsiteX2789" fmla="*/ 60222 w 5794893"/>
              <a:gd name="connsiteY2789" fmla="*/ 5695392 h 6858000"/>
              <a:gd name="connsiteX2790" fmla="*/ 60222 w 5794893"/>
              <a:gd name="connsiteY2790" fmla="*/ 5539305 h 6858000"/>
              <a:gd name="connsiteX2791" fmla="*/ 0 w 5794893"/>
              <a:gd name="connsiteY2791" fmla="*/ 5539305 h 6858000"/>
              <a:gd name="connsiteX2792" fmla="*/ 0 w 5794893"/>
              <a:gd name="connsiteY2792" fmla="*/ 5501205 h 6858000"/>
              <a:gd name="connsiteX2793" fmla="*/ 60222 w 5794893"/>
              <a:gd name="connsiteY2793" fmla="*/ 5501205 h 6858000"/>
              <a:gd name="connsiteX2794" fmla="*/ 60222 w 5794893"/>
              <a:gd name="connsiteY2794" fmla="*/ 5347577 h 6858000"/>
              <a:gd name="connsiteX2795" fmla="*/ 0 w 5794893"/>
              <a:gd name="connsiteY2795" fmla="*/ 5347577 h 6858000"/>
              <a:gd name="connsiteX2796" fmla="*/ 0 w 5794893"/>
              <a:gd name="connsiteY2796" fmla="*/ 5313162 h 6858000"/>
              <a:gd name="connsiteX2797" fmla="*/ 60222 w 5794893"/>
              <a:gd name="connsiteY2797" fmla="*/ 5313162 h 6858000"/>
              <a:gd name="connsiteX2798" fmla="*/ 60222 w 5794893"/>
              <a:gd name="connsiteY2798" fmla="*/ 5160762 h 6858000"/>
              <a:gd name="connsiteX2799" fmla="*/ 0 w 5794893"/>
              <a:gd name="connsiteY2799" fmla="*/ 5160762 h 6858000"/>
              <a:gd name="connsiteX2800" fmla="*/ 0 w 5794893"/>
              <a:gd name="connsiteY2800" fmla="*/ 5118975 h 6858000"/>
              <a:gd name="connsiteX2801" fmla="*/ 60222 w 5794893"/>
              <a:gd name="connsiteY2801" fmla="*/ 5118975 h 6858000"/>
              <a:gd name="connsiteX2802" fmla="*/ 60222 w 5794893"/>
              <a:gd name="connsiteY2802" fmla="*/ 4966575 h 6858000"/>
              <a:gd name="connsiteX2803" fmla="*/ 0 w 5794893"/>
              <a:gd name="connsiteY2803" fmla="*/ 4966575 h 6858000"/>
              <a:gd name="connsiteX2804" fmla="*/ 0 w 5794893"/>
              <a:gd name="connsiteY2804" fmla="*/ 4926017 h 6858000"/>
              <a:gd name="connsiteX2805" fmla="*/ 60222 w 5794893"/>
              <a:gd name="connsiteY2805" fmla="*/ 4926017 h 6858000"/>
              <a:gd name="connsiteX2806" fmla="*/ 60222 w 5794893"/>
              <a:gd name="connsiteY2806" fmla="*/ 4772388 h 6858000"/>
              <a:gd name="connsiteX2807" fmla="*/ 0 w 5794893"/>
              <a:gd name="connsiteY2807" fmla="*/ 4772388 h 6858000"/>
              <a:gd name="connsiteX2808" fmla="*/ 0 w 5794893"/>
              <a:gd name="connsiteY2808" fmla="*/ 4731830 h 6858000"/>
              <a:gd name="connsiteX2809" fmla="*/ 60222 w 5794893"/>
              <a:gd name="connsiteY2809" fmla="*/ 4731830 h 6858000"/>
              <a:gd name="connsiteX2810" fmla="*/ 60222 w 5794893"/>
              <a:gd name="connsiteY2810" fmla="*/ 4579430 h 6858000"/>
              <a:gd name="connsiteX2811" fmla="*/ 0 w 5794893"/>
              <a:gd name="connsiteY2811" fmla="*/ 4579430 h 6858000"/>
              <a:gd name="connsiteX2812" fmla="*/ 0 w 5794893"/>
              <a:gd name="connsiteY2812" fmla="*/ 4537643 h 6858000"/>
              <a:gd name="connsiteX2813" fmla="*/ 60222 w 5794893"/>
              <a:gd name="connsiteY2813" fmla="*/ 4537643 h 6858000"/>
              <a:gd name="connsiteX2814" fmla="*/ 60222 w 5794893"/>
              <a:gd name="connsiteY2814" fmla="*/ 4385243 h 6858000"/>
              <a:gd name="connsiteX2815" fmla="*/ 0 w 5794893"/>
              <a:gd name="connsiteY2815" fmla="*/ 4385243 h 6858000"/>
              <a:gd name="connsiteX2816" fmla="*/ 0 w 5794893"/>
              <a:gd name="connsiteY2816" fmla="*/ 4343456 h 6858000"/>
              <a:gd name="connsiteX2817" fmla="*/ 60222 w 5794893"/>
              <a:gd name="connsiteY2817" fmla="*/ 4343456 h 6858000"/>
              <a:gd name="connsiteX2818" fmla="*/ 60222 w 5794893"/>
              <a:gd name="connsiteY2818" fmla="*/ 4191055 h 6858000"/>
              <a:gd name="connsiteX2819" fmla="*/ 0 w 5794893"/>
              <a:gd name="connsiteY2819" fmla="*/ 4191055 h 6858000"/>
              <a:gd name="connsiteX2820" fmla="*/ 0 w 5794893"/>
              <a:gd name="connsiteY2820" fmla="*/ 4149268 h 6858000"/>
              <a:gd name="connsiteX2821" fmla="*/ 60222 w 5794893"/>
              <a:gd name="connsiteY2821" fmla="*/ 4149268 h 6858000"/>
              <a:gd name="connsiteX2822" fmla="*/ 60222 w 5794893"/>
              <a:gd name="connsiteY2822" fmla="*/ 4145580 h 6858000"/>
              <a:gd name="connsiteX2823" fmla="*/ 60222 w 5794893"/>
              <a:gd name="connsiteY2823" fmla="*/ 3996868 h 6858000"/>
              <a:gd name="connsiteX2824" fmla="*/ 60222 w 5794893"/>
              <a:gd name="connsiteY2824" fmla="*/ 3993180 h 6858000"/>
              <a:gd name="connsiteX2825" fmla="*/ 0 w 5794893"/>
              <a:gd name="connsiteY2825" fmla="*/ 3993180 h 6858000"/>
              <a:gd name="connsiteX2826" fmla="*/ 0 w 5794893"/>
              <a:gd name="connsiteY2826" fmla="*/ 3953851 h 6858000"/>
              <a:gd name="connsiteX2827" fmla="*/ 60222 w 5794893"/>
              <a:gd name="connsiteY2827" fmla="*/ 3953851 h 6858000"/>
              <a:gd name="connsiteX2828" fmla="*/ 60222 w 5794893"/>
              <a:gd name="connsiteY2828" fmla="*/ 3800223 h 6858000"/>
              <a:gd name="connsiteX2829" fmla="*/ 0 w 5794893"/>
              <a:gd name="connsiteY2829" fmla="*/ 3800223 h 6858000"/>
              <a:gd name="connsiteX2830" fmla="*/ 0 w 5794893"/>
              <a:gd name="connsiteY2830" fmla="*/ 3762122 h 6858000"/>
              <a:gd name="connsiteX2831" fmla="*/ 60222 w 5794893"/>
              <a:gd name="connsiteY2831" fmla="*/ 3762122 h 6858000"/>
              <a:gd name="connsiteX2832" fmla="*/ 60222 w 5794893"/>
              <a:gd name="connsiteY2832" fmla="*/ 3608493 h 6858000"/>
              <a:gd name="connsiteX2833" fmla="*/ 0 w 5794893"/>
              <a:gd name="connsiteY2833" fmla="*/ 3608493 h 6858000"/>
              <a:gd name="connsiteX2834" fmla="*/ 0 w 5794893"/>
              <a:gd name="connsiteY2834" fmla="*/ 3574080 h 6858000"/>
              <a:gd name="connsiteX2835" fmla="*/ 60222 w 5794893"/>
              <a:gd name="connsiteY2835" fmla="*/ 3574080 h 6858000"/>
              <a:gd name="connsiteX2836" fmla="*/ 60222 w 5794893"/>
              <a:gd name="connsiteY2836" fmla="*/ 3420451 h 6858000"/>
              <a:gd name="connsiteX2837" fmla="*/ 0 w 5794893"/>
              <a:gd name="connsiteY2837" fmla="*/ 3420451 h 6858000"/>
              <a:gd name="connsiteX2838" fmla="*/ 0 w 5794893"/>
              <a:gd name="connsiteY2838" fmla="*/ 3379893 h 6858000"/>
              <a:gd name="connsiteX2839" fmla="*/ 60222 w 5794893"/>
              <a:gd name="connsiteY2839" fmla="*/ 3379893 h 6858000"/>
              <a:gd name="connsiteX2840" fmla="*/ 60222 w 5794893"/>
              <a:gd name="connsiteY2840" fmla="*/ 3226263 h 6858000"/>
              <a:gd name="connsiteX2841" fmla="*/ 0 w 5794893"/>
              <a:gd name="connsiteY2841" fmla="*/ 3226263 h 6858000"/>
              <a:gd name="connsiteX2842" fmla="*/ 0 w 5794893"/>
              <a:gd name="connsiteY2842" fmla="*/ 3185706 h 6858000"/>
              <a:gd name="connsiteX2843" fmla="*/ 60222 w 5794893"/>
              <a:gd name="connsiteY2843" fmla="*/ 3185706 h 6858000"/>
              <a:gd name="connsiteX2844" fmla="*/ 60222 w 5794893"/>
              <a:gd name="connsiteY2844" fmla="*/ 3032076 h 6858000"/>
              <a:gd name="connsiteX2845" fmla="*/ 0 w 5794893"/>
              <a:gd name="connsiteY2845" fmla="*/ 3032076 h 6858000"/>
              <a:gd name="connsiteX2846" fmla="*/ 0 w 5794893"/>
              <a:gd name="connsiteY2846" fmla="*/ 2990289 h 6858000"/>
              <a:gd name="connsiteX2847" fmla="*/ 60222 w 5794893"/>
              <a:gd name="connsiteY2847" fmla="*/ 2990289 h 6858000"/>
              <a:gd name="connsiteX2848" fmla="*/ 60222 w 5794893"/>
              <a:gd name="connsiteY2848" fmla="*/ 2836660 h 6858000"/>
              <a:gd name="connsiteX2849" fmla="*/ 0 w 5794893"/>
              <a:gd name="connsiteY2849" fmla="*/ 2836660 h 6858000"/>
              <a:gd name="connsiteX2850" fmla="*/ 0 w 5794893"/>
              <a:gd name="connsiteY2850" fmla="*/ 2794873 h 6858000"/>
              <a:gd name="connsiteX2851" fmla="*/ 60222 w 5794893"/>
              <a:gd name="connsiteY2851" fmla="*/ 2794873 h 6858000"/>
              <a:gd name="connsiteX2852" fmla="*/ 60222 w 5794893"/>
              <a:gd name="connsiteY2852" fmla="*/ 2641243 h 6858000"/>
              <a:gd name="connsiteX2853" fmla="*/ 0 w 5794893"/>
              <a:gd name="connsiteY2853" fmla="*/ 2641243 h 6858000"/>
              <a:gd name="connsiteX2854" fmla="*/ 0 w 5794893"/>
              <a:gd name="connsiteY2854" fmla="*/ 2600686 h 6858000"/>
              <a:gd name="connsiteX2855" fmla="*/ 60222 w 5794893"/>
              <a:gd name="connsiteY2855" fmla="*/ 2600686 h 6858000"/>
              <a:gd name="connsiteX2856" fmla="*/ 60222 w 5794893"/>
              <a:gd name="connsiteY2856" fmla="*/ 2447056 h 6858000"/>
              <a:gd name="connsiteX2857" fmla="*/ 0 w 5794893"/>
              <a:gd name="connsiteY2857" fmla="*/ 2447056 h 6858000"/>
              <a:gd name="connsiteX2858" fmla="*/ 0 w 5794893"/>
              <a:gd name="connsiteY2858" fmla="*/ 2406498 h 6858000"/>
              <a:gd name="connsiteX2859" fmla="*/ 60222 w 5794893"/>
              <a:gd name="connsiteY2859" fmla="*/ 2406498 h 6858000"/>
              <a:gd name="connsiteX2860" fmla="*/ 60222 w 5794893"/>
              <a:gd name="connsiteY2860" fmla="*/ 2254098 h 6858000"/>
              <a:gd name="connsiteX2861" fmla="*/ 0 w 5794893"/>
              <a:gd name="connsiteY2861" fmla="*/ 2254098 h 6858000"/>
              <a:gd name="connsiteX2862" fmla="*/ 0 w 5794893"/>
              <a:gd name="connsiteY2862" fmla="*/ 2217227 h 6858000"/>
              <a:gd name="connsiteX2863" fmla="*/ 60222 w 5794893"/>
              <a:gd name="connsiteY2863" fmla="*/ 2217227 h 6858000"/>
              <a:gd name="connsiteX2864" fmla="*/ 60222 w 5794893"/>
              <a:gd name="connsiteY2864" fmla="*/ 2068514 h 6858000"/>
              <a:gd name="connsiteX2865" fmla="*/ 0 w 5794893"/>
              <a:gd name="connsiteY2865" fmla="*/ 2068514 h 6858000"/>
              <a:gd name="connsiteX2866" fmla="*/ 0 w 5794893"/>
              <a:gd name="connsiteY2866" fmla="*/ 2031643 h 6858000"/>
              <a:gd name="connsiteX2867" fmla="*/ 60222 w 5794893"/>
              <a:gd name="connsiteY2867" fmla="*/ 2031643 h 6858000"/>
              <a:gd name="connsiteX2868" fmla="*/ 60222 w 5794893"/>
              <a:gd name="connsiteY2868" fmla="*/ 1878014 h 6858000"/>
              <a:gd name="connsiteX2869" fmla="*/ 0 w 5794893"/>
              <a:gd name="connsiteY2869" fmla="*/ 1878014 h 6858000"/>
              <a:gd name="connsiteX2870" fmla="*/ 0 w 5794893"/>
              <a:gd name="connsiteY2870" fmla="*/ 1838685 h 6858000"/>
              <a:gd name="connsiteX2871" fmla="*/ 60222 w 5794893"/>
              <a:gd name="connsiteY2871" fmla="*/ 1838685 h 6858000"/>
              <a:gd name="connsiteX2872" fmla="*/ 60222 w 5794893"/>
              <a:gd name="connsiteY2872" fmla="*/ 1685055 h 6858000"/>
              <a:gd name="connsiteX2873" fmla="*/ 0 w 5794893"/>
              <a:gd name="connsiteY2873" fmla="*/ 1685055 h 6858000"/>
              <a:gd name="connsiteX2874" fmla="*/ 0 w 5794893"/>
              <a:gd name="connsiteY2874" fmla="*/ 1645726 h 6858000"/>
              <a:gd name="connsiteX2875" fmla="*/ 60222 w 5794893"/>
              <a:gd name="connsiteY2875" fmla="*/ 1645726 h 6858000"/>
              <a:gd name="connsiteX2876" fmla="*/ 60222 w 5794893"/>
              <a:gd name="connsiteY2876" fmla="*/ 1492097 h 6858000"/>
              <a:gd name="connsiteX2877" fmla="*/ 0 w 5794893"/>
              <a:gd name="connsiteY2877" fmla="*/ 1492097 h 6858000"/>
              <a:gd name="connsiteX2878" fmla="*/ 0 w 5794893"/>
              <a:gd name="connsiteY2878" fmla="*/ 1453997 h 6858000"/>
              <a:gd name="connsiteX2879" fmla="*/ 60222 w 5794893"/>
              <a:gd name="connsiteY2879" fmla="*/ 1453997 h 6858000"/>
              <a:gd name="connsiteX2880" fmla="*/ 60222 w 5794893"/>
              <a:gd name="connsiteY2880" fmla="*/ 1300368 h 6858000"/>
              <a:gd name="connsiteX2881" fmla="*/ 0 w 5794893"/>
              <a:gd name="connsiteY2881" fmla="*/ 1300368 h 6858000"/>
              <a:gd name="connsiteX2882" fmla="*/ 0 w 5794893"/>
              <a:gd name="connsiteY2882" fmla="*/ 1265955 h 6858000"/>
              <a:gd name="connsiteX2883" fmla="*/ 60222 w 5794893"/>
              <a:gd name="connsiteY2883" fmla="*/ 1265955 h 6858000"/>
              <a:gd name="connsiteX2884" fmla="*/ 60222 w 5794893"/>
              <a:gd name="connsiteY2884" fmla="*/ 1112325 h 6858000"/>
              <a:gd name="connsiteX2885" fmla="*/ 0 w 5794893"/>
              <a:gd name="connsiteY2885" fmla="*/ 1112325 h 6858000"/>
              <a:gd name="connsiteX2886" fmla="*/ 0 w 5794893"/>
              <a:gd name="connsiteY2886" fmla="*/ 1071768 h 6858000"/>
              <a:gd name="connsiteX2887" fmla="*/ 60222 w 5794893"/>
              <a:gd name="connsiteY2887" fmla="*/ 1071768 h 6858000"/>
              <a:gd name="connsiteX2888" fmla="*/ 60222 w 5794893"/>
              <a:gd name="connsiteY2888" fmla="*/ 918138 h 6858000"/>
              <a:gd name="connsiteX2889" fmla="*/ 0 w 5794893"/>
              <a:gd name="connsiteY2889" fmla="*/ 918138 h 6858000"/>
              <a:gd name="connsiteX2890" fmla="*/ 0 w 5794893"/>
              <a:gd name="connsiteY2890" fmla="*/ 877581 h 6858000"/>
              <a:gd name="connsiteX2891" fmla="*/ 60222 w 5794893"/>
              <a:gd name="connsiteY2891" fmla="*/ 877581 h 6858000"/>
              <a:gd name="connsiteX2892" fmla="*/ 60222 w 5794893"/>
              <a:gd name="connsiteY2892" fmla="*/ 723951 h 6858000"/>
              <a:gd name="connsiteX2893" fmla="*/ 0 w 5794893"/>
              <a:gd name="connsiteY2893" fmla="*/ 723951 h 6858000"/>
              <a:gd name="connsiteX2894" fmla="*/ 0 w 5794893"/>
              <a:gd name="connsiteY2894" fmla="*/ 683393 h 6858000"/>
              <a:gd name="connsiteX2895" fmla="*/ 60222 w 5794893"/>
              <a:gd name="connsiteY2895" fmla="*/ 683393 h 6858000"/>
              <a:gd name="connsiteX2896" fmla="*/ 60222 w 5794893"/>
              <a:gd name="connsiteY2896" fmla="*/ 529763 h 6858000"/>
              <a:gd name="connsiteX2897" fmla="*/ 0 w 5794893"/>
              <a:gd name="connsiteY2897" fmla="*/ 529763 h 6858000"/>
              <a:gd name="connsiteX2898" fmla="*/ 0 w 5794893"/>
              <a:gd name="connsiteY2898" fmla="*/ 487976 h 6858000"/>
              <a:gd name="connsiteX2899" fmla="*/ 60222 w 5794893"/>
              <a:gd name="connsiteY2899" fmla="*/ 487976 h 6858000"/>
              <a:gd name="connsiteX2900" fmla="*/ 60222 w 5794893"/>
              <a:gd name="connsiteY2900" fmla="*/ 334348 h 6858000"/>
              <a:gd name="connsiteX2901" fmla="*/ 0 w 5794893"/>
              <a:gd name="connsiteY2901" fmla="*/ 334348 h 6858000"/>
              <a:gd name="connsiteX2902" fmla="*/ 0 w 5794893"/>
              <a:gd name="connsiteY2902" fmla="*/ 292561 h 6858000"/>
              <a:gd name="connsiteX2903" fmla="*/ 60222 w 5794893"/>
              <a:gd name="connsiteY2903" fmla="*/ 292561 h 6858000"/>
              <a:gd name="connsiteX2904" fmla="*/ 60222 w 5794893"/>
              <a:gd name="connsiteY2904" fmla="*/ 138931 h 6858000"/>
              <a:gd name="connsiteX2905" fmla="*/ 0 w 5794893"/>
              <a:gd name="connsiteY2905" fmla="*/ 138931 h 6858000"/>
              <a:gd name="connsiteX2906" fmla="*/ 0 w 5794893"/>
              <a:gd name="connsiteY2906" fmla="*/ 97144 h 6858000"/>
              <a:gd name="connsiteX2907" fmla="*/ 60222 w 5794893"/>
              <a:gd name="connsiteY2907" fmla="*/ 97144 h 6858000"/>
              <a:gd name="connsiteX2908" fmla="*/ 60222 w 5794893"/>
              <a:gd name="connsiteY2908" fmla="*/ 0 h 6858000"/>
              <a:gd name="connsiteX2909" fmla="*/ 179439 w 5794893"/>
              <a:gd name="connsiteY2909" fmla="*/ 137702 h 6858000"/>
              <a:gd name="connsiteX2910" fmla="*/ 120445 w 5794893"/>
              <a:gd name="connsiteY2910" fmla="*/ 142619 h 6858000"/>
              <a:gd name="connsiteX2911" fmla="*/ 129048 w 5794893"/>
              <a:gd name="connsiteY2911" fmla="*/ 291331 h 6858000"/>
              <a:gd name="connsiteX2912" fmla="*/ 189271 w 5794893"/>
              <a:gd name="connsiteY2912" fmla="*/ 286415 h 6858000"/>
              <a:gd name="connsiteX2913" fmla="*/ 179439 w 5794893"/>
              <a:gd name="connsiteY2913" fmla="*/ 137702 h 6858000"/>
              <a:gd name="connsiteX2914" fmla="*/ 296197 w 5794893"/>
              <a:gd name="connsiteY2914" fmla="*/ 137702 h 6858000"/>
              <a:gd name="connsiteX2915" fmla="*/ 240891 w 5794893"/>
              <a:gd name="connsiteY2915" fmla="*/ 147535 h 6858000"/>
              <a:gd name="connsiteX2916" fmla="*/ 259326 w 5794893"/>
              <a:gd name="connsiteY2916" fmla="*/ 291331 h 6858000"/>
              <a:gd name="connsiteX2917" fmla="*/ 315861 w 5794893"/>
              <a:gd name="connsiteY2917" fmla="*/ 281499 h 6858000"/>
              <a:gd name="connsiteX2918" fmla="*/ 296197 w 5794893"/>
              <a:gd name="connsiteY2918" fmla="*/ 137702 h 6858000"/>
              <a:gd name="connsiteX2919" fmla="*/ 415413 w 5794893"/>
              <a:gd name="connsiteY2919" fmla="*/ 137702 h 6858000"/>
              <a:gd name="connsiteX2920" fmla="*/ 360106 w 5794893"/>
              <a:gd name="connsiteY2920" fmla="*/ 152451 h 6858000"/>
              <a:gd name="connsiteX2921" fmla="*/ 389603 w 5794893"/>
              <a:gd name="connsiteY2921" fmla="*/ 291331 h 6858000"/>
              <a:gd name="connsiteX2922" fmla="*/ 444910 w 5794893"/>
              <a:gd name="connsiteY2922" fmla="*/ 276583 h 6858000"/>
              <a:gd name="connsiteX2923" fmla="*/ 415413 w 5794893"/>
              <a:gd name="connsiteY2923" fmla="*/ 137702 h 6858000"/>
              <a:gd name="connsiteX2924" fmla="*/ 532171 w 5794893"/>
              <a:gd name="connsiteY2924" fmla="*/ 137702 h 6858000"/>
              <a:gd name="connsiteX2925" fmla="*/ 479323 w 5794893"/>
              <a:gd name="connsiteY2925" fmla="*/ 157367 h 6858000"/>
              <a:gd name="connsiteX2926" fmla="*/ 518652 w 5794893"/>
              <a:gd name="connsiteY2926" fmla="*/ 291331 h 6858000"/>
              <a:gd name="connsiteX2927" fmla="*/ 571500 w 5794893"/>
              <a:gd name="connsiteY2927" fmla="*/ 271666 h 6858000"/>
              <a:gd name="connsiteX2928" fmla="*/ 532171 w 5794893"/>
              <a:gd name="connsiteY2928" fmla="*/ 137702 h 6858000"/>
              <a:gd name="connsiteX2929" fmla="*/ 651388 w 5794893"/>
              <a:gd name="connsiteY2929" fmla="*/ 137702 h 6858000"/>
              <a:gd name="connsiteX2930" fmla="*/ 599769 w 5794893"/>
              <a:gd name="connsiteY2930" fmla="*/ 162283 h 6858000"/>
              <a:gd name="connsiteX2931" fmla="*/ 648930 w 5794893"/>
              <a:gd name="connsiteY2931" fmla="*/ 291331 h 6858000"/>
              <a:gd name="connsiteX2932" fmla="*/ 699320 w 5794893"/>
              <a:gd name="connsiteY2932" fmla="*/ 266750 h 6858000"/>
              <a:gd name="connsiteX2933" fmla="*/ 651388 w 5794893"/>
              <a:gd name="connsiteY2933" fmla="*/ 137702 h 6858000"/>
              <a:gd name="connsiteX2934" fmla="*/ 768145 w 5794893"/>
              <a:gd name="connsiteY2934" fmla="*/ 137702 h 6858000"/>
              <a:gd name="connsiteX2935" fmla="*/ 720214 w 5794893"/>
              <a:gd name="connsiteY2935" fmla="*/ 168428 h 6858000"/>
              <a:gd name="connsiteX2936" fmla="*/ 777978 w 5794893"/>
              <a:gd name="connsiteY2936" fmla="*/ 291331 h 6858000"/>
              <a:gd name="connsiteX2937" fmla="*/ 827139 w 5794893"/>
              <a:gd name="connsiteY2937" fmla="*/ 261834 h 6858000"/>
              <a:gd name="connsiteX2938" fmla="*/ 768145 w 5794893"/>
              <a:gd name="connsiteY2938" fmla="*/ 137702 h 6858000"/>
              <a:gd name="connsiteX2939" fmla="*/ 1005350 w 5794893"/>
              <a:gd name="connsiteY2939" fmla="*/ 137702 h 6858000"/>
              <a:gd name="connsiteX2940" fmla="*/ 959875 w 5794893"/>
              <a:gd name="connsiteY2940" fmla="*/ 177031 h 6858000"/>
              <a:gd name="connsiteX2941" fmla="*/ 1037304 w 5794893"/>
              <a:gd name="connsiteY2941" fmla="*/ 290103 h 6858000"/>
              <a:gd name="connsiteX2942" fmla="*/ 1082778 w 5794893"/>
              <a:gd name="connsiteY2942" fmla="*/ 250773 h 6858000"/>
              <a:gd name="connsiteX2943" fmla="*/ 1005350 w 5794893"/>
              <a:gd name="connsiteY2943" fmla="*/ 137702 h 6858000"/>
              <a:gd name="connsiteX2944" fmla="*/ 1123337 w 5794893"/>
              <a:gd name="connsiteY2944" fmla="*/ 137702 h 6858000"/>
              <a:gd name="connsiteX2945" fmla="*/ 1080320 w 5794893"/>
              <a:gd name="connsiteY2945" fmla="*/ 183176 h 6858000"/>
              <a:gd name="connsiteX2946" fmla="*/ 1167582 w 5794893"/>
              <a:gd name="connsiteY2946" fmla="*/ 291331 h 6858000"/>
              <a:gd name="connsiteX2947" fmla="*/ 1210598 w 5794893"/>
              <a:gd name="connsiteY2947" fmla="*/ 245857 h 6858000"/>
              <a:gd name="connsiteX2948" fmla="*/ 1123337 w 5794893"/>
              <a:gd name="connsiteY2948" fmla="*/ 137702 h 6858000"/>
              <a:gd name="connsiteX2949" fmla="*/ 1241324 w 5794893"/>
              <a:gd name="connsiteY2949" fmla="*/ 137702 h 6858000"/>
              <a:gd name="connsiteX2950" fmla="*/ 1200765 w 5794893"/>
              <a:gd name="connsiteY2950" fmla="*/ 186864 h 6858000"/>
              <a:gd name="connsiteX2951" fmla="*/ 1297860 w 5794893"/>
              <a:gd name="connsiteY2951" fmla="*/ 291331 h 6858000"/>
              <a:gd name="connsiteX2952" fmla="*/ 1338417 w 5794893"/>
              <a:gd name="connsiteY2952" fmla="*/ 242170 h 6858000"/>
              <a:gd name="connsiteX2953" fmla="*/ 1241324 w 5794893"/>
              <a:gd name="connsiteY2953" fmla="*/ 137702 h 6858000"/>
              <a:gd name="connsiteX2954" fmla="*/ 1359311 w 5794893"/>
              <a:gd name="connsiteY2954" fmla="*/ 138931 h 6858000"/>
              <a:gd name="connsiteX2955" fmla="*/ 1319982 w 5794893"/>
              <a:gd name="connsiteY2955" fmla="*/ 193008 h 6858000"/>
              <a:gd name="connsiteX2956" fmla="*/ 1426908 w 5794893"/>
              <a:gd name="connsiteY2956" fmla="*/ 291331 h 6858000"/>
              <a:gd name="connsiteX2957" fmla="*/ 1466237 w 5794893"/>
              <a:gd name="connsiteY2957" fmla="*/ 237253 h 6858000"/>
              <a:gd name="connsiteX2958" fmla="*/ 1359311 w 5794893"/>
              <a:gd name="connsiteY2958" fmla="*/ 138931 h 6858000"/>
              <a:gd name="connsiteX2959" fmla="*/ 1477299 w 5794893"/>
              <a:gd name="connsiteY2959" fmla="*/ 138931 h 6858000"/>
              <a:gd name="connsiteX2960" fmla="*/ 1440428 w 5794893"/>
              <a:gd name="connsiteY2960" fmla="*/ 197924 h 6858000"/>
              <a:gd name="connsiteX2961" fmla="*/ 1557185 w 5794893"/>
              <a:gd name="connsiteY2961" fmla="*/ 291331 h 6858000"/>
              <a:gd name="connsiteX2962" fmla="*/ 1594056 w 5794893"/>
              <a:gd name="connsiteY2962" fmla="*/ 232337 h 6858000"/>
              <a:gd name="connsiteX2963" fmla="*/ 1477299 w 5794893"/>
              <a:gd name="connsiteY2963" fmla="*/ 138931 h 6858000"/>
              <a:gd name="connsiteX2964" fmla="*/ 887362 w 5794893"/>
              <a:gd name="connsiteY2964" fmla="*/ 138931 h 6858000"/>
              <a:gd name="connsiteX2965" fmla="*/ 840659 w 5794893"/>
              <a:gd name="connsiteY2965" fmla="*/ 173344 h 6858000"/>
              <a:gd name="connsiteX2966" fmla="*/ 908255 w 5794893"/>
              <a:gd name="connsiteY2966" fmla="*/ 291331 h 6858000"/>
              <a:gd name="connsiteX2967" fmla="*/ 954959 w 5794893"/>
              <a:gd name="connsiteY2967" fmla="*/ 258148 h 6858000"/>
              <a:gd name="connsiteX2968" fmla="*/ 887362 w 5794893"/>
              <a:gd name="connsiteY2968" fmla="*/ 138931 h 6858000"/>
              <a:gd name="connsiteX2969" fmla="*/ 179439 w 5794893"/>
              <a:gd name="connsiteY2969" fmla="*/ 331890 h 6858000"/>
              <a:gd name="connsiteX2970" fmla="*/ 120445 w 5794893"/>
              <a:gd name="connsiteY2970" fmla="*/ 336806 h 6858000"/>
              <a:gd name="connsiteX2971" fmla="*/ 129048 w 5794893"/>
              <a:gd name="connsiteY2971" fmla="*/ 485518 h 6858000"/>
              <a:gd name="connsiteX2972" fmla="*/ 189271 w 5794893"/>
              <a:gd name="connsiteY2972" fmla="*/ 480602 h 6858000"/>
              <a:gd name="connsiteX2973" fmla="*/ 179439 w 5794893"/>
              <a:gd name="connsiteY2973" fmla="*/ 331890 h 6858000"/>
              <a:gd name="connsiteX2974" fmla="*/ 296197 w 5794893"/>
              <a:gd name="connsiteY2974" fmla="*/ 331890 h 6858000"/>
              <a:gd name="connsiteX2975" fmla="*/ 239661 w 5794893"/>
              <a:gd name="connsiteY2975" fmla="*/ 341722 h 6858000"/>
              <a:gd name="connsiteX2976" fmla="*/ 259326 w 5794893"/>
              <a:gd name="connsiteY2976" fmla="*/ 485518 h 6858000"/>
              <a:gd name="connsiteX2977" fmla="*/ 315861 w 5794893"/>
              <a:gd name="connsiteY2977" fmla="*/ 475686 h 6858000"/>
              <a:gd name="connsiteX2978" fmla="*/ 296197 w 5794893"/>
              <a:gd name="connsiteY2978" fmla="*/ 331890 h 6858000"/>
              <a:gd name="connsiteX2979" fmla="*/ 415413 w 5794893"/>
              <a:gd name="connsiteY2979" fmla="*/ 331890 h 6858000"/>
              <a:gd name="connsiteX2980" fmla="*/ 360106 w 5794893"/>
              <a:gd name="connsiteY2980" fmla="*/ 346638 h 6858000"/>
              <a:gd name="connsiteX2981" fmla="*/ 389603 w 5794893"/>
              <a:gd name="connsiteY2981" fmla="*/ 485518 h 6858000"/>
              <a:gd name="connsiteX2982" fmla="*/ 444910 w 5794893"/>
              <a:gd name="connsiteY2982" fmla="*/ 470770 h 6858000"/>
              <a:gd name="connsiteX2983" fmla="*/ 415413 w 5794893"/>
              <a:gd name="connsiteY2983" fmla="*/ 331890 h 6858000"/>
              <a:gd name="connsiteX2984" fmla="*/ 532171 w 5794893"/>
              <a:gd name="connsiteY2984" fmla="*/ 331890 h 6858000"/>
              <a:gd name="connsiteX2985" fmla="*/ 479323 w 5794893"/>
              <a:gd name="connsiteY2985" fmla="*/ 351554 h 6858000"/>
              <a:gd name="connsiteX2986" fmla="*/ 518652 w 5794893"/>
              <a:gd name="connsiteY2986" fmla="*/ 485518 h 6858000"/>
              <a:gd name="connsiteX2987" fmla="*/ 571500 w 5794893"/>
              <a:gd name="connsiteY2987" fmla="*/ 465854 h 6858000"/>
              <a:gd name="connsiteX2988" fmla="*/ 532171 w 5794893"/>
              <a:gd name="connsiteY2988" fmla="*/ 331890 h 6858000"/>
              <a:gd name="connsiteX2989" fmla="*/ 651388 w 5794893"/>
              <a:gd name="connsiteY2989" fmla="*/ 331890 h 6858000"/>
              <a:gd name="connsiteX2990" fmla="*/ 599769 w 5794893"/>
              <a:gd name="connsiteY2990" fmla="*/ 356470 h 6858000"/>
              <a:gd name="connsiteX2991" fmla="*/ 648930 w 5794893"/>
              <a:gd name="connsiteY2991" fmla="*/ 485518 h 6858000"/>
              <a:gd name="connsiteX2992" fmla="*/ 699320 w 5794893"/>
              <a:gd name="connsiteY2992" fmla="*/ 460938 h 6858000"/>
              <a:gd name="connsiteX2993" fmla="*/ 651388 w 5794893"/>
              <a:gd name="connsiteY2993" fmla="*/ 331890 h 6858000"/>
              <a:gd name="connsiteX2994" fmla="*/ 768145 w 5794893"/>
              <a:gd name="connsiteY2994" fmla="*/ 331890 h 6858000"/>
              <a:gd name="connsiteX2995" fmla="*/ 720214 w 5794893"/>
              <a:gd name="connsiteY2995" fmla="*/ 361387 h 6858000"/>
              <a:gd name="connsiteX2996" fmla="*/ 777978 w 5794893"/>
              <a:gd name="connsiteY2996" fmla="*/ 484290 h 6858000"/>
              <a:gd name="connsiteX2997" fmla="*/ 827139 w 5794893"/>
              <a:gd name="connsiteY2997" fmla="*/ 454793 h 6858000"/>
              <a:gd name="connsiteX2998" fmla="*/ 768145 w 5794893"/>
              <a:gd name="connsiteY2998" fmla="*/ 331890 h 6858000"/>
              <a:gd name="connsiteX2999" fmla="*/ 1005350 w 5794893"/>
              <a:gd name="connsiteY2999" fmla="*/ 331890 h 6858000"/>
              <a:gd name="connsiteX3000" fmla="*/ 959875 w 5794893"/>
              <a:gd name="connsiteY3000" fmla="*/ 372447 h 6858000"/>
              <a:gd name="connsiteX3001" fmla="*/ 1037304 w 5794893"/>
              <a:gd name="connsiteY3001" fmla="*/ 485518 h 6858000"/>
              <a:gd name="connsiteX3002" fmla="*/ 1082778 w 5794893"/>
              <a:gd name="connsiteY3002" fmla="*/ 446189 h 6858000"/>
              <a:gd name="connsiteX3003" fmla="*/ 1005350 w 5794893"/>
              <a:gd name="connsiteY3003" fmla="*/ 331890 h 6858000"/>
              <a:gd name="connsiteX3004" fmla="*/ 1123337 w 5794893"/>
              <a:gd name="connsiteY3004" fmla="*/ 333118 h 6858000"/>
              <a:gd name="connsiteX3005" fmla="*/ 1080320 w 5794893"/>
              <a:gd name="connsiteY3005" fmla="*/ 377363 h 6858000"/>
              <a:gd name="connsiteX3006" fmla="*/ 1167582 w 5794893"/>
              <a:gd name="connsiteY3006" fmla="*/ 485518 h 6858000"/>
              <a:gd name="connsiteX3007" fmla="*/ 1210598 w 5794893"/>
              <a:gd name="connsiteY3007" fmla="*/ 441273 h 6858000"/>
              <a:gd name="connsiteX3008" fmla="*/ 1123337 w 5794893"/>
              <a:gd name="connsiteY3008" fmla="*/ 333118 h 6858000"/>
              <a:gd name="connsiteX3009" fmla="*/ 1240094 w 5794893"/>
              <a:gd name="connsiteY3009" fmla="*/ 333118 h 6858000"/>
              <a:gd name="connsiteX3010" fmla="*/ 1199537 w 5794893"/>
              <a:gd name="connsiteY3010" fmla="*/ 382279 h 6858000"/>
              <a:gd name="connsiteX3011" fmla="*/ 1296630 w 5794893"/>
              <a:gd name="connsiteY3011" fmla="*/ 485518 h 6858000"/>
              <a:gd name="connsiteX3012" fmla="*/ 1338417 w 5794893"/>
              <a:gd name="connsiteY3012" fmla="*/ 436357 h 6858000"/>
              <a:gd name="connsiteX3013" fmla="*/ 1240094 w 5794893"/>
              <a:gd name="connsiteY3013" fmla="*/ 333118 h 6858000"/>
              <a:gd name="connsiteX3014" fmla="*/ 1359311 w 5794893"/>
              <a:gd name="connsiteY3014" fmla="*/ 333118 h 6858000"/>
              <a:gd name="connsiteX3015" fmla="*/ 1319982 w 5794893"/>
              <a:gd name="connsiteY3015" fmla="*/ 387196 h 6858000"/>
              <a:gd name="connsiteX3016" fmla="*/ 1426908 w 5794893"/>
              <a:gd name="connsiteY3016" fmla="*/ 485518 h 6858000"/>
              <a:gd name="connsiteX3017" fmla="*/ 1466237 w 5794893"/>
              <a:gd name="connsiteY3017" fmla="*/ 431441 h 6858000"/>
              <a:gd name="connsiteX3018" fmla="*/ 1359311 w 5794893"/>
              <a:gd name="connsiteY3018" fmla="*/ 333118 h 6858000"/>
              <a:gd name="connsiteX3019" fmla="*/ 1477299 w 5794893"/>
              <a:gd name="connsiteY3019" fmla="*/ 333118 h 6858000"/>
              <a:gd name="connsiteX3020" fmla="*/ 1440428 w 5794893"/>
              <a:gd name="connsiteY3020" fmla="*/ 392112 h 6858000"/>
              <a:gd name="connsiteX3021" fmla="*/ 1557185 w 5794893"/>
              <a:gd name="connsiteY3021" fmla="*/ 485518 h 6858000"/>
              <a:gd name="connsiteX3022" fmla="*/ 1594056 w 5794893"/>
              <a:gd name="connsiteY3022" fmla="*/ 426525 h 6858000"/>
              <a:gd name="connsiteX3023" fmla="*/ 1477299 w 5794893"/>
              <a:gd name="connsiteY3023" fmla="*/ 333118 h 6858000"/>
              <a:gd name="connsiteX3024" fmla="*/ 887362 w 5794893"/>
              <a:gd name="connsiteY3024" fmla="*/ 333118 h 6858000"/>
              <a:gd name="connsiteX3025" fmla="*/ 840659 w 5794893"/>
              <a:gd name="connsiteY3025" fmla="*/ 367531 h 6858000"/>
              <a:gd name="connsiteX3026" fmla="*/ 908255 w 5794893"/>
              <a:gd name="connsiteY3026" fmla="*/ 485518 h 6858000"/>
              <a:gd name="connsiteX3027" fmla="*/ 954959 w 5794893"/>
              <a:gd name="connsiteY3027" fmla="*/ 452335 h 6858000"/>
              <a:gd name="connsiteX3028" fmla="*/ 887362 w 5794893"/>
              <a:gd name="connsiteY3028" fmla="*/ 333118 h 6858000"/>
              <a:gd name="connsiteX3029" fmla="*/ 415413 w 5794893"/>
              <a:gd name="connsiteY3029" fmla="*/ 526077 h 6858000"/>
              <a:gd name="connsiteX3030" fmla="*/ 360106 w 5794893"/>
              <a:gd name="connsiteY3030" fmla="*/ 540825 h 6858000"/>
              <a:gd name="connsiteX3031" fmla="*/ 389603 w 5794893"/>
              <a:gd name="connsiteY3031" fmla="*/ 679706 h 6858000"/>
              <a:gd name="connsiteX3032" fmla="*/ 444910 w 5794893"/>
              <a:gd name="connsiteY3032" fmla="*/ 664957 h 6858000"/>
              <a:gd name="connsiteX3033" fmla="*/ 415413 w 5794893"/>
              <a:gd name="connsiteY3033" fmla="*/ 526077 h 6858000"/>
              <a:gd name="connsiteX3034" fmla="*/ 651388 w 5794893"/>
              <a:gd name="connsiteY3034" fmla="*/ 526077 h 6858000"/>
              <a:gd name="connsiteX3035" fmla="*/ 599769 w 5794893"/>
              <a:gd name="connsiteY3035" fmla="*/ 550658 h 6858000"/>
              <a:gd name="connsiteX3036" fmla="*/ 648930 w 5794893"/>
              <a:gd name="connsiteY3036" fmla="*/ 679706 h 6858000"/>
              <a:gd name="connsiteX3037" fmla="*/ 699320 w 5794893"/>
              <a:gd name="connsiteY3037" fmla="*/ 655125 h 6858000"/>
              <a:gd name="connsiteX3038" fmla="*/ 651388 w 5794893"/>
              <a:gd name="connsiteY3038" fmla="*/ 526077 h 6858000"/>
              <a:gd name="connsiteX3039" fmla="*/ 887362 w 5794893"/>
              <a:gd name="connsiteY3039" fmla="*/ 526077 h 6858000"/>
              <a:gd name="connsiteX3040" fmla="*/ 840659 w 5794893"/>
              <a:gd name="connsiteY3040" fmla="*/ 560490 h 6858000"/>
              <a:gd name="connsiteX3041" fmla="*/ 908255 w 5794893"/>
              <a:gd name="connsiteY3041" fmla="*/ 679706 h 6858000"/>
              <a:gd name="connsiteX3042" fmla="*/ 954959 w 5794893"/>
              <a:gd name="connsiteY3042" fmla="*/ 644064 h 6858000"/>
              <a:gd name="connsiteX3043" fmla="*/ 887362 w 5794893"/>
              <a:gd name="connsiteY3043" fmla="*/ 526077 h 6858000"/>
              <a:gd name="connsiteX3044" fmla="*/ 1477299 w 5794893"/>
              <a:gd name="connsiteY3044" fmla="*/ 526077 h 6858000"/>
              <a:gd name="connsiteX3045" fmla="*/ 1440428 w 5794893"/>
              <a:gd name="connsiteY3045" fmla="*/ 585071 h 6858000"/>
              <a:gd name="connsiteX3046" fmla="*/ 1557185 w 5794893"/>
              <a:gd name="connsiteY3046" fmla="*/ 679706 h 6858000"/>
              <a:gd name="connsiteX3047" fmla="*/ 1594056 w 5794893"/>
              <a:gd name="connsiteY3047" fmla="*/ 620712 h 6858000"/>
              <a:gd name="connsiteX3048" fmla="*/ 1477299 w 5794893"/>
              <a:gd name="connsiteY3048" fmla="*/ 526077 h 6858000"/>
              <a:gd name="connsiteX3049" fmla="*/ 1005350 w 5794893"/>
              <a:gd name="connsiteY3049" fmla="*/ 527305 h 6858000"/>
              <a:gd name="connsiteX3050" fmla="*/ 959875 w 5794893"/>
              <a:gd name="connsiteY3050" fmla="*/ 565406 h 6858000"/>
              <a:gd name="connsiteX3051" fmla="*/ 1037304 w 5794893"/>
              <a:gd name="connsiteY3051" fmla="*/ 679706 h 6858000"/>
              <a:gd name="connsiteX3052" fmla="*/ 1082778 w 5794893"/>
              <a:gd name="connsiteY3052" fmla="*/ 640377 h 6858000"/>
              <a:gd name="connsiteX3053" fmla="*/ 1005350 w 5794893"/>
              <a:gd name="connsiteY3053" fmla="*/ 527305 h 6858000"/>
              <a:gd name="connsiteX3054" fmla="*/ 1123337 w 5794893"/>
              <a:gd name="connsiteY3054" fmla="*/ 527305 h 6858000"/>
              <a:gd name="connsiteX3055" fmla="*/ 1080320 w 5794893"/>
              <a:gd name="connsiteY3055" fmla="*/ 571551 h 6858000"/>
              <a:gd name="connsiteX3056" fmla="*/ 1167582 w 5794893"/>
              <a:gd name="connsiteY3056" fmla="*/ 679706 h 6858000"/>
              <a:gd name="connsiteX3057" fmla="*/ 1210598 w 5794893"/>
              <a:gd name="connsiteY3057" fmla="*/ 635460 h 6858000"/>
              <a:gd name="connsiteX3058" fmla="*/ 1123337 w 5794893"/>
              <a:gd name="connsiteY3058" fmla="*/ 527305 h 6858000"/>
              <a:gd name="connsiteX3059" fmla="*/ 1241324 w 5794893"/>
              <a:gd name="connsiteY3059" fmla="*/ 527305 h 6858000"/>
              <a:gd name="connsiteX3060" fmla="*/ 1200765 w 5794893"/>
              <a:gd name="connsiteY3060" fmla="*/ 576467 h 6858000"/>
              <a:gd name="connsiteX3061" fmla="*/ 1297860 w 5794893"/>
              <a:gd name="connsiteY3061" fmla="*/ 680935 h 6858000"/>
              <a:gd name="connsiteX3062" fmla="*/ 1338417 w 5794893"/>
              <a:gd name="connsiteY3062" fmla="*/ 631774 h 6858000"/>
              <a:gd name="connsiteX3063" fmla="*/ 1241324 w 5794893"/>
              <a:gd name="connsiteY3063" fmla="*/ 527305 h 6858000"/>
              <a:gd name="connsiteX3064" fmla="*/ 1359311 w 5794893"/>
              <a:gd name="connsiteY3064" fmla="*/ 527305 h 6858000"/>
              <a:gd name="connsiteX3065" fmla="*/ 1319982 w 5794893"/>
              <a:gd name="connsiteY3065" fmla="*/ 581383 h 6858000"/>
              <a:gd name="connsiteX3066" fmla="*/ 1426908 w 5794893"/>
              <a:gd name="connsiteY3066" fmla="*/ 679706 h 6858000"/>
              <a:gd name="connsiteX3067" fmla="*/ 1466237 w 5794893"/>
              <a:gd name="connsiteY3067" fmla="*/ 625628 h 6858000"/>
              <a:gd name="connsiteX3068" fmla="*/ 1359311 w 5794893"/>
              <a:gd name="connsiteY3068" fmla="*/ 527305 h 6858000"/>
              <a:gd name="connsiteX3069" fmla="*/ 768145 w 5794893"/>
              <a:gd name="connsiteY3069" fmla="*/ 527305 h 6858000"/>
              <a:gd name="connsiteX3070" fmla="*/ 720214 w 5794893"/>
              <a:gd name="connsiteY3070" fmla="*/ 556802 h 6858000"/>
              <a:gd name="connsiteX3071" fmla="*/ 777978 w 5794893"/>
              <a:gd name="connsiteY3071" fmla="*/ 680935 h 6858000"/>
              <a:gd name="connsiteX3072" fmla="*/ 827139 w 5794893"/>
              <a:gd name="connsiteY3072" fmla="*/ 651438 h 6858000"/>
              <a:gd name="connsiteX3073" fmla="*/ 768145 w 5794893"/>
              <a:gd name="connsiteY3073" fmla="*/ 527305 h 6858000"/>
              <a:gd name="connsiteX3074" fmla="*/ 532171 w 5794893"/>
              <a:gd name="connsiteY3074" fmla="*/ 527305 h 6858000"/>
              <a:gd name="connsiteX3075" fmla="*/ 479323 w 5794893"/>
              <a:gd name="connsiteY3075" fmla="*/ 546970 h 6858000"/>
              <a:gd name="connsiteX3076" fmla="*/ 518652 w 5794893"/>
              <a:gd name="connsiteY3076" fmla="*/ 679706 h 6858000"/>
              <a:gd name="connsiteX3077" fmla="*/ 571500 w 5794893"/>
              <a:gd name="connsiteY3077" fmla="*/ 661271 h 6858000"/>
              <a:gd name="connsiteX3078" fmla="*/ 532171 w 5794893"/>
              <a:gd name="connsiteY3078" fmla="*/ 527305 h 6858000"/>
              <a:gd name="connsiteX3079" fmla="*/ 179439 w 5794893"/>
              <a:gd name="connsiteY3079" fmla="*/ 527305 h 6858000"/>
              <a:gd name="connsiteX3080" fmla="*/ 120445 w 5794893"/>
              <a:gd name="connsiteY3080" fmla="*/ 532222 h 6858000"/>
              <a:gd name="connsiteX3081" fmla="*/ 129048 w 5794893"/>
              <a:gd name="connsiteY3081" fmla="*/ 679706 h 6858000"/>
              <a:gd name="connsiteX3082" fmla="*/ 189271 w 5794893"/>
              <a:gd name="connsiteY3082" fmla="*/ 676019 h 6858000"/>
              <a:gd name="connsiteX3083" fmla="*/ 179439 w 5794893"/>
              <a:gd name="connsiteY3083" fmla="*/ 527305 h 6858000"/>
              <a:gd name="connsiteX3084" fmla="*/ 296197 w 5794893"/>
              <a:gd name="connsiteY3084" fmla="*/ 527305 h 6858000"/>
              <a:gd name="connsiteX3085" fmla="*/ 239661 w 5794893"/>
              <a:gd name="connsiteY3085" fmla="*/ 537138 h 6858000"/>
              <a:gd name="connsiteX3086" fmla="*/ 259326 w 5794893"/>
              <a:gd name="connsiteY3086" fmla="*/ 680935 h 6858000"/>
              <a:gd name="connsiteX3087" fmla="*/ 315861 w 5794893"/>
              <a:gd name="connsiteY3087" fmla="*/ 671103 h 6858000"/>
              <a:gd name="connsiteX3088" fmla="*/ 296197 w 5794893"/>
              <a:gd name="connsiteY3088" fmla="*/ 527305 h 6858000"/>
              <a:gd name="connsiteX3089" fmla="*/ 179439 w 5794893"/>
              <a:gd name="connsiteY3089" fmla="*/ 721493 h 6858000"/>
              <a:gd name="connsiteX3090" fmla="*/ 120445 w 5794893"/>
              <a:gd name="connsiteY3090" fmla="*/ 726409 h 6858000"/>
              <a:gd name="connsiteX3091" fmla="*/ 129048 w 5794893"/>
              <a:gd name="connsiteY3091" fmla="*/ 875123 h 6858000"/>
              <a:gd name="connsiteX3092" fmla="*/ 189271 w 5794893"/>
              <a:gd name="connsiteY3092" fmla="*/ 870206 h 6858000"/>
              <a:gd name="connsiteX3093" fmla="*/ 179439 w 5794893"/>
              <a:gd name="connsiteY3093" fmla="*/ 721493 h 6858000"/>
              <a:gd name="connsiteX3094" fmla="*/ 296197 w 5794893"/>
              <a:gd name="connsiteY3094" fmla="*/ 721493 h 6858000"/>
              <a:gd name="connsiteX3095" fmla="*/ 239661 w 5794893"/>
              <a:gd name="connsiteY3095" fmla="*/ 731325 h 6858000"/>
              <a:gd name="connsiteX3096" fmla="*/ 259326 w 5794893"/>
              <a:gd name="connsiteY3096" fmla="*/ 875123 h 6858000"/>
              <a:gd name="connsiteX3097" fmla="*/ 315861 w 5794893"/>
              <a:gd name="connsiteY3097" fmla="*/ 865290 h 6858000"/>
              <a:gd name="connsiteX3098" fmla="*/ 296197 w 5794893"/>
              <a:gd name="connsiteY3098" fmla="*/ 721493 h 6858000"/>
              <a:gd name="connsiteX3099" fmla="*/ 415413 w 5794893"/>
              <a:gd name="connsiteY3099" fmla="*/ 721493 h 6858000"/>
              <a:gd name="connsiteX3100" fmla="*/ 360106 w 5794893"/>
              <a:gd name="connsiteY3100" fmla="*/ 736241 h 6858000"/>
              <a:gd name="connsiteX3101" fmla="*/ 389603 w 5794893"/>
              <a:gd name="connsiteY3101" fmla="*/ 875123 h 6858000"/>
              <a:gd name="connsiteX3102" fmla="*/ 444910 w 5794893"/>
              <a:gd name="connsiteY3102" fmla="*/ 860374 h 6858000"/>
              <a:gd name="connsiteX3103" fmla="*/ 415413 w 5794893"/>
              <a:gd name="connsiteY3103" fmla="*/ 721493 h 6858000"/>
              <a:gd name="connsiteX3104" fmla="*/ 532171 w 5794893"/>
              <a:gd name="connsiteY3104" fmla="*/ 721493 h 6858000"/>
              <a:gd name="connsiteX3105" fmla="*/ 479323 w 5794893"/>
              <a:gd name="connsiteY3105" fmla="*/ 741157 h 6858000"/>
              <a:gd name="connsiteX3106" fmla="*/ 518652 w 5794893"/>
              <a:gd name="connsiteY3106" fmla="*/ 875123 h 6858000"/>
              <a:gd name="connsiteX3107" fmla="*/ 571500 w 5794893"/>
              <a:gd name="connsiteY3107" fmla="*/ 855458 h 6858000"/>
              <a:gd name="connsiteX3108" fmla="*/ 532171 w 5794893"/>
              <a:gd name="connsiteY3108" fmla="*/ 721493 h 6858000"/>
              <a:gd name="connsiteX3109" fmla="*/ 651388 w 5794893"/>
              <a:gd name="connsiteY3109" fmla="*/ 721493 h 6858000"/>
              <a:gd name="connsiteX3110" fmla="*/ 599769 w 5794893"/>
              <a:gd name="connsiteY3110" fmla="*/ 746073 h 6858000"/>
              <a:gd name="connsiteX3111" fmla="*/ 648930 w 5794893"/>
              <a:gd name="connsiteY3111" fmla="*/ 875123 h 6858000"/>
              <a:gd name="connsiteX3112" fmla="*/ 699320 w 5794893"/>
              <a:gd name="connsiteY3112" fmla="*/ 850542 h 6858000"/>
              <a:gd name="connsiteX3113" fmla="*/ 651388 w 5794893"/>
              <a:gd name="connsiteY3113" fmla="*/ 721493 h 6858000"/>
              <a:gd name="connsiteX3114" fmla="*/ 769375 w 5794893"/>
              <a:gd name="connsiteY3114" fmla="*/ 721493 h 6858000"/>
              <a:gd name="connsiteX3115" fmla="*/ 721442 w 5794893"/>
              <a:gd name="connsiteY3115" fmla="*/ 750990 h 6858000"/>
              <a:gd name="connsiteX3116" fmla="*/ 779207 w 5794893"/>
              <a:gd name="connsiteY3116" fmla="*/ 875123 h 6858000"/>
              <a:gd name="connsiteX3117" fmla="*/ 828369 w 5794893"/>
              <a:gd name="connsiteY3117" fmla="*/ 845626 h 6858000"/>
              <a:gd name="connsiteX3118" fmla="*/ 769375 w 5794893"/>
              <a:gd name="connsiteY3118" fmla="*/ 721493 h 6858000"/>
              <a:gd name="connsiteX3119" fmla="*/ 887362 w 5794893"/>
              <a:gd name="connsiteY3119" fmla="*/ 721493 h 6858000"/>
              <a:gd name="connsiteX3120" fmla="*/ 840659 w 5794893"/>
              <a:gd name="connsiteY3120" fmla="*/ 755906 h 6858000"/>
              <a:gd name="connsiteX3121" fmla="*/ 908255 w 5794893"/>
              <a:gd name="connsiteY3121" fmla="*/ 875123 h 6858000"/>
              <a:gd name="connsiteX3122" fmla="*/ 954959 w 5794893"/>
              <a:gd name="connsiteY3122" fmla="*/ 840710 h 6858000"/>
              <a:gd name="connsiteX3123" fmla="*/ 887362 w 5794893"/>
              <a:gd name="connsiteY3123" fmla="*/ 721493 h 6858000"/>
              <a:gd name="connsiteX3124" fmla="*/ 1005350 w 5794893"/>
              <a:gd name="connsiteY3124" fmla="*/ 721493 h 6858000"/>
              <a:gd name="connsiteX3125" fmla="*/ 959875 w 5794893"/>
              <a:gd name="connsiteY3125" fmla="*/ 760822 h 6858000"/>
              <a:gd name="connsiteX3126" fmla="*/ 1037304 w 5794893"/>
              <a:gd name="connsiteY3126" fmla="*/ 873893 h 6858000"/>
              <a:gd name="connsiteX3127" fmla="*/ 1082778 w 5794893"/>
              <a:gd name="connsiteY3127" fmla="*/ 834564 h 6858000"/>
              <a:gd name="connsiteX3128" fmla="*/ 1005350 w 5794893"/>
              <a:gd name="connsiteY3128" fmla="*/ 721493 h 6858000"/>
              <a:gd name="connsiteX3129" fmla="*/ 1123337 w 5794893"/>
              <a:gd name="connsiteY3129" fmla="*/ 721493 h 6858000"/>
              <a:gd name="connsiteX3130" fmla="*/ 1080320 w 5794893"/>
              <a:gd name="connsiteY3130" fmla="*/ 765738 h 6858000"/>
              <a:gd name="connsiteX3131" fmla="*/ 1167582 w 5794893"/>
              <a:gd name="connsiteY3131" fmla="*/ 875123 h 6858000"/>
              <a:gd name="connsiteX3132" fmla="*/ 1210598 w 5794893"/>
              <a:gd name="connsiteY3132" fmla="*/ 829648 h 6858000"/>
              <a:gd name="connsiteX3133" fmla="*/ 1123337 w 5794893"/>
              <a:gd name="connsiteY3133" fmla="*/ 721493 h 6858000"/>
              <a:gd name="connsiteX3134" fmla="*/ 1241324 w 5794893"/>
              <a:gd name="connsiteY3134" fmla="*/ 721493 h 6858000"/>
              <a:gd name="connsiteX3135" fmla="*/ 1200765 w 5794893"/>
              <a:gd name="connsiteY3135" fmla="*/ 770654 h 6858000"/>
              <a:gd name="connsiteX3136" fmla="*/ 1297860 w 5794893"/>
              <a:gd name="connsiteY3136" fmla="*/ 875123 h 6858000"/>
              <a:gd name="connsiteX3137" fmla="*/ 1338417 w 5794893"/>
              <a:gd name="connsiteY3137" fmla="*/ 825961 h 6858000"/>
              <a:gd name="connsiteX3138" fmla="*/ 1241324 w 5794893"/>
              <a:gd name="connsiteY3138" fmla="*/ 721493 h 6858000"/>
              <a:gd name="connsiteX3139" fmla="*/ 1477299 w 5794893"/>
              <a:gd name="connsiteY3139" fmla="*/ 721493 h 6858000"/>
              <a:gd name="connsiteX3140" fmla="*/ 1440428 w 5794893"/>
              <a:gd name="connsiteY3140" fmla="*/ 780486 h 6858000"/>
              <a:gd name="connsiteX3141" fmla="*/ 1557185 w 5794893"/>
              <a:gd name="connsiteY3141" fmla="*/ 873893 h 6858000"/>
              <a:gd name="connsiteX3142" fmla="*/ 1594056 w 5794893"/>
              <a:gd name="connsiteY3142" fmla="*/ 814899 h 6858000"/>
              <a:gd name="connsiteX3143" fmla="*/ 1477299 w 5794893"/>
              <a:gd name="connsiteY3143" fmla="*/ 721493 h 6858000"/>
              <a:gd name="connsiteX3144" fmla="*/ 1359311 w 5794893"/>
              <a:gd name="connsiteY3144" fmla="*/ 722722 h 6858000"/>
              <a:gd name="connsiteX3145" fmla="*/ 1319982 w 5794893"/>
              <a:gd name="connsiteY3145" fmla="*/ 776800 h 6858000"/>
              <a:gd name="connsiteX3146" fmla="*/ 1426908 w 5794893"/>
              <a:gd name="connsiteY3146" fmla="*/ 876351 h 6858000"/>
              <a:gd name="connsiteX3147" fmla="*/ 1466237 w 5794893"/>
              <a:gd name="connsiteY3147" fmla="*/ 821045 h 6858000"/>
              <a:gd name="connsiteX3148" fmla="*/ 1359311 w 5794893"/>
              <a:gd name="connsiteY3148" fmla="*/ 722722 h 6858000"/>
              <a:gd name="connsiteX3149" fmla="*/ 179439 w 5794893"/>
              <a:gd name="connsiteY3149" fmla="*/ 915680 h 6858000"/>
              <a:gd name="connsiteX3150" fmla="*/ 120445 w 5794893"/>
              <a:gd name="connsiteY3150" fmla="*/ 920596 h 6858000"/>
              <a:gd name="connsiteX3151" fmla="*/ 129048 w 5794893"/>
              <a:gd name="connsiteY3151" fmla="*/ 1069310 h 6858000"/>
              <a:gd name="connsiteX3152" fmla="*/ 189271 w 5794893"/>
              <a:gd name="connsiteY3152" fmla="*/ 1064394 h 6858000"/>
              <a:gd name="connsiteX3153" fmla="*/ 179439 w 5794893"/>
              <a:gd name="connsiteY3153" fmla="*/ 915680 h 6858000"/>
              <a:gd name="connsiteX3154" fmla="*/ 296197 w 5794893"/>
              <a:gd name="connsiteY3154" fmla="*/ 915680 h 6858000"/>
              <a:gd name="connsiteX3155" fmla="*/ 239661 w 5794893"/>
              <a:gd name="connsiteY3155" fmla="*/ 925512 h 6858000"/>
              <a:gd name="connsiteX3156" fmla="*/ 259326 w 5794893"/>
              <a:gd name="connsiteY3156" fmla="*/ 1069310 h 6858000"/>
              <a:gd name="connsiteX3157" fmla="*/ 315861 w 5794893"/>
              <a:gd name="connsiteY3157" fmla="*/ 1059478 h 6858000"/>
              <a:gd name="connsiteX3158" fmla="*/ 296197 w 5794893"/>
              <a:gd name="connsiteY3158" fmla="*/ 915680 h 6858000"/>
              <a:gd name="connsiteX3159" fmla="*/ 415413 w 5794893"/>
              <a:gd name="connsiteY3159" fmla="*/ 915680 h 6858000"/>
              <a:gd name="connsiteX3160" fmla="*/ 360106 w 5794893"/>
              <a:gd name="connsiteY3160" fmla="*/ 930428 h 6858000"/>
              <a:gd name="connsiteX3161" fmla="*/ 389603 w 5794893"/>
              <a:gd name="connsiteY3161" fmla="*/ 1069310 h 6858000"/>
              <a:gd name="connsiteX3162" fmla="*/ 444910 w 5794893"/>
              <a:gd name="connsiteY3162" fmla="*/ 1054561 h 6858000"/>
              <a:gd name="connsiteX3163" fmla="*/ 415413 w 5794893"/>
              <a:gd name="connsiteY3163" fmla="*/ 915680 h 6858000"/>
              <a:gd name="connsiteX3164" fmla="*/ 532171 w 5794893"/>
              <a:gd name="connsiteY3164" fmla="*/ 915680 h 6858000"/>
              <a:gd name="connsiteX3165" fmla="*/ 479323 w 5794893"/>
              <a:gd name="connsiteY3165" fmla="*/ 935345 h 6858000"/>
              <a:gd name="connsiteX3166" fmla="*/ 518652 w 5794893"/>
              <a:gd name="connsiteY3166" fmla="*/ 1069310 h 6858000"/>
              <a:gd name="connsiteX3167" fmla="*/ 571500 w 5794893"/>
              <a:gd name="connsiteY3167" fmla="*/ 1049645 h 6858000"/>
              <a:gd name="connsiteX3168" fmla="*/ 532171 w 5794893"/>
              <a:gd name="connsiteY3168" fmla="*/ 915680 h 6858000"/>
              <a:gd name="connsiteX3169" fmla="*/ 651388 w 5794893"/>
              <a:gd name="connsiteY3169" fmla="*/ 915680 h 6858000"/>
              <a:gd name="connsiteX3170" fmla="*/ 599769 w 5794893"/>
              <a:gd name="connsiteY3170" fmla="*/ 940261 h 6858000"/>
              <a:gd name="connsiteX3171" fmla="*/ 648930 w 5794893"/>
              <a:gd name="connsiteY3171" fmla="*/ 1069310 h 6858000"/>
              <a:gd name="connsiteX3172" fmla="*/ 699320 w 5794893"/>
              <a:gd name="connsiteY3172" fmla="*/ 1044729 h 6858000"/>
              <a:gd name="connsiteX3173" fmla="*/ 651388 w 5794893"/>
              <a:gd name="connsiteY3173" fmla="*/ 915680 h 6858000"/>
              <a:gd name="connsiteX3174" fmla="*/ 768145 w 5794893"/>
              <a:gd name="connsiteY3174" fmla="*/ 915680 h 6858000"/>
              <a:gd name="connsiteX3175" fmla="*/ 720214 w 5794893"/>
              <a:gd name="connsiteY3175" fmla="*/ 945177 h 6858000"/>
              <a:gd name="connsiteX3176" fmla="*/ 777978 w 5794893"/>
              <a:gd name="connsiteY3176" fmla="*/ 1068080 h 6858000"/>
              <a:gd name="connsiteX3177" fmla="*/ 827139 w 5794893"/>
              <a:gd name="connsiteY3177" fmla="*/ 1038583 h 6858000"/>
              <a:gd name="connsiteX3178" fmla="*/ 768145 w 5794893"/>
              <a:gd name="connsiteY3178" fmla="*/ 915680 h 6858000"/>
              <a:gd name="connsiteX3179" fmla="*/ 887362 w 5794893"/>
              <a:gd name="connsiteY3179" fmla="*/ 915680 h 6858000"/>
              <a:gd name="connsiteX3180" fmla="*/ 840659 w 5794893"/>
              <a:gd name="connsiteY3180" fmla="*/ 950093 h 6858000"/>
              <a:gd name="connsiteX3181" fmla="*/ 908255 w 5794893"/>
              <a:gd name="connsiteY3181" fmla="*/ 1069310 h 6858000"/>
              <a:gd name="connsiteX3182" fmla="*/ 954959 w 5794893"/>
              <a:gd name="connsiteY3182" fmla="*/ 1034897 h 6858000"/>
              <a:gd name="connsiteX3183" fmla="*/ 887362 w 5794893"/>
              <a:gd name="connsiteY3183" fmla="*/ 915680 h 6858000"/>
              <a:gd name="connsiteX3184" fmla="*/ 1005350 w 5794893"/>
              <a:gd name="connsiteY3184" fmla="*/ 915680 h 6858000"/>
              <a:gd name="connsiteX3185" fmla="*/ 959875 w 5794893"/>
              <a:gd name="connsiteY3185" fmla="*/ 955009 h 6858000"/>
              <a:gd name="connsiteX3186" fmla="*/ 1037304 w 5794893"/>
              <a:gd name="connsiteY3186" fmla="*/ 1068080 h 6858000"/>
              <a:gd name="connsiteX3187" fmla="*/ 1082778 w 5794893"/>
              <a:gd name="connsiteY3187" fmla="*/ 1028751 h 6858000"/>
              <a:gd name="connsiteX3188" fmla="*/ 1005350 w 5794893"/>
              <a:gd name="connsiteY3188" fmla="*/ 915680 h 6858000"/>
              <a:gd name="connsiteX3189" fmla="*/ 1241324 w 5794893"/>
              <a:gd name="connsiteY3189" fmla="*/ 915680 h 6858000"/>
              <a:gd name="connsiteX3190" fmla="*/ 1200765 w 5794893"/>
              <a:gd name="connsiteY3190" fmla="*/ 964841 h 6858000"/>
              <a:gd name="connsiteX3191" fmla="*/ 1297860 w 5794893"/>
              <a:gd name="connsiteY3191" fmla="*/ 1069310 h 6858000"/>
              <a:gd name="connsiteX3192" fmla="*/ 1338417 w 5794893"/>
              <a:gd name="connsiteY3192" fmla="*/ 1020149 h 6858000"/>
              <a:gd name="connsiteX3193" fmla="*/ 1241324 w 5794893"/>
              <a:gd name="connsiteY3193" fmla="*/ 915680 h 6858000"/>
              <a:gd name="connsiteX3194" fmla="*/ 1477299 w 5794893"/>
              <a:gd name="connsiteY3194" fmla="*/ 915680 h 6858000"/>
              <a:gd name="connsiteX3195" fmla="*/ 1440428 w 5794893"/>
              <a:gd name="connsiteY3195" fmla="*/ 974674 h 6858000"/>
              <a:gd name="connsiteX3196" fmla="*/ 1557185 w 5794893"/>
              <a:gd name="connsiteY3196" fmla="*/ 1068080 h 6858000"/>
              <a:gd name="connsiteX3197" fmla="*/ 1594056 w 5794893"/>
              <a:gd name="connsiteY3197" fmla="*/ 1009087 h 6858000"/>
              <a:gd name="connsiteX3198" fmla="*/ 1477299 w 5794893"/>
              <a:gd name="connsiteY3198" fmla="*/ 915680 h 6858000"/>
              <a:gd name="connsiteX3199" fmla="*/ 1359311 w 5794893"/>
              <a:gd name="connsiteY3199" fmla="*/ 916910 h 6858000"/>
              <a:gd name="connsiteX3200" fmla="*/ 1319982 w 5794893"/>
              <a:gd name="connsiteY3200" fmla="*/ 970987 h 6858000"/>
              <a:gd name="connsiteX3201" fmla="*/ 1426908 w 5794893"/>
              <a:gd name="connsiteY3201" fmla="*/ 1069310 h 6858000"/>
              <a:gd name="connsiteX3202" fmla="*/ 1466237 w 5794893"/>
              <a:gd name="connsiteY3202" fmla="*/ 1015232 h 6858000"/>
              <a:gd name="connsiteX3203" fmla="*/ 1359311 w 5794893"/>
              <a:gd name="connsiteY3203" fmla="*/ 916910 h 6858000"/>
              <a:gd name="connsiteX3204" fmla="*/ 1123337 w 5794893"/>
              <a:gd name="connsiteY3204" fmla="*/ 916910 h 6858000"/>
              <a:gd name="connsiteX3205" fmla="*/ 1080320 w 5794893"/>
              <a:gd name="connsiteY3205" fmla="*/ 961155 h 6858000"/>
              <a:gd name="connsiteX3206" fmla="*/ 1167582 w 5794893"/>
              <a:gd name="connsiteY3206" fmla="*/ 1069310 h 6858000"/>
              <a:gd name="connsiteX3207" fmla="*/ 1210598 w 5794893"/>
              <a:gd name="connsiteY3207" fmla="*/ 1025065 h 6858000"/>
              <a:gd name="connsiteX3208" fmla="*/ 1123337 w 5794893"/>
              <a:gd name="connsiteY3208" fmla="*/ 916910 h 6858000"/>
              <a:gd name="connsiteX3209" fmla="*/ 179439 w 5794893"/>
              <a:gd name="connsiteY3209" fmla="*/ 1109867 h 6858000"/>
              <a:gd name="connsiteX3210" fmla="*/ 120445 w 5794893"/>
              <a:gd name="connsiteY3210" fmla="*/ 1114783 h 6858000"/>
              <a:gd name="connsiteX3211" fmla="*/ 129048 w 5794893"/>
              <a:gd name="connsiteY3211" fmla="*/ 1263497 h 6858000"/>
              <a:gd name="connsiteX3212" fmla="*/ 189271 w 5794893"/>
              <a:gd name="connsiteY3212" fmla="*/ 1258581 h 6858000"/>
              <a:gd name="connsiteX3213" fmla="*/ 179439 w 5794893"/>
              <a:gd name="connsiteY3213" fmla="*/ 1109867 h 6858000"/>
              <a:gd name="connsiteX3214" fmla="*/ 296197 w 5794893"/>
              <a:gd name="connsiteY3214" fmla="*/ 1109867 h 6858000"/>
              <a:gd name="connsiteX3215" fmla="*/ 239661 w 5794893"/>
              <a:gd name="connsiteY3215" fmla="*/ 1119700 h 6858000"/>
              <a:gd name="connsiteX3216" fmla="*/ 259326 w 5794893"/>
              <a:gd name="connsiteY3216" fmla="*/ 1263497 h 6858000"/>
              <a:gd name="connsiteX3217" fmla="*/ 315861 w 5794893"/>
              <a:gd name="connsiteY3217" fmla="*/ 1253665 h 6858000"/>
              <a:gd name="connsiteX3218" fmla="*/ 296197 w 5794893"/>
              <a:gd name="connsiteY3218" fmla="*/ 1109867 h 6858000"/>
              <a:gd name="connsiteX3219" fmla="*/ 415413 w 5794893"/>
              <a:gd name="connsiteY3219" fmla="*/ 1109867 h 6858000"/>
              <a:gd name="connsiteX3220" fmla="*/ 360106 w 5794893"/>
              <a:gd name="connsiteY3220" fmla="*/ 1124616 h 6858000"/>
              <a:gd name="connsiteX3221" fmla="*/ 389603 w 5794893"/>
              <a:gd name="connsiteY3221" fmla="*/ 1263497 h 6858000"/>
              <a:gd name="connsiteX3222" fmla="*/ 444910 w 5794893"/>
              <a:gd name="connsiteY3222" fmla="*/ 1248749 h 6858000"/>
              <a:gd name="connsiteX3223" fmla="*/ 415413 w 5794893"/>
              <a:gd name="connsiteY3223" fmla="*/ 1109867 h 6858000"/>
              <a:gd name="connsiteX3224" fmla="*/ 532171 w 5794893"/>
              <a:gd name="connsiteY3224" fmla="*/ 1109867 h 6858000"/>
              <a:gd name="connsiteX3225" fmla="*/ 479323 w 5794893"/>
              <a:gd name="connsiteY3225" fmla="*/ 1129532 h 6858000"/>
              <a:gd name="connsiteX3226" fmla="*/ 518652 w 5794893"/>
              <a:gd name="connsiteY3226" fmla="*/ 1263497 h 6858000"/>
              <a:gd name="connsiteX3227" fmla="*/ 571500 w 5794893"/>
              <a:gd name="connsiteY3227" fmla="*/ 1243833 h 6858000"/>
              <a:gd name="connsiteX3228" fmla="*/ 532171 w 5794893"/>
              <a:gd name="connsiteY3228" fmla="*/ 1109867 h 6858000"/>
              <a:gd name="connsiteX3229" fmla="*/ 651388 w 5794893"/>
              <a:gd name="connsiteY3229" fmla="*/ 1109867 h 6858000"/>
              <a:gd name="connsiteX3230" fmla="*/ 599769 w 5794893"/>
              <a:gd name="connsiteY3230" fmla="*/ 1135678 h 6858000"/>
              <a:gd name="connsiteX3231" fmla="*/ 648930 w 5794893"/>
              <a:gd name="connsiteY3231" fmla="*/ 1264726 h 6858000"/>
              <a:gd name="connsiteX3232" fmla="*/ 699320 w 5794893"/>
              <a:gd name="connsiteY3232" fmla="*/ 1238917 h 6858000"/>
              <a:gd name="connsiteX3233" fmla="*/ 651388 w 5794893"/>
              <a:gd name="connsiteY3233" fmla="*/ 1109867 h 6858000"/>
              <a:gd name="connsiteX3234" fmla="*/ 768145 w 5794893"/>
              <a:gd name="connsiteY3234" fmla="*/ 1109867 h 6858000"/>
              <a:gd name="connsiteX3235" fmla="*/ 720214 w 5794893"/>
              <a:gd name="connsiteY3235" fmla="*/ 1138136 h 6858000"/>
              <a:gd name="connsiteX3236" fmla="*/ 777978 w 5794893"/>
              <a:gd name="connsiteY3236" fmla="*/ 1262268 h 6858000"/>
              <a:gd name="connsiteX3237" fmla="*/ 827139 w 5794893"/>
              <a:gd name="connsiteY3237" fmla="*/ 1232771 h 6858000"/>
              <a:gd name="connsiteX3238" fmla="*/ 768145 w 5794893"/>
              <a:gd name="connsiteY3238" fmla="*/ 1109867 h 6858000"/>
              <a:gd name="connsiteX3239" fmla="*/ 887362 w 5794893"/>
              <a:gd name="connsiteY3239" fmla="*/ 1109867 h 6858000"/>
              <a:gd name="connsiteX3240" fmla="*/ 840659 w 5794893"/>
              <a:gd name="connsiteY3240" fmla="*/ 1144280 h 6858000"/>
              <a:gd name="connsiteX3241" fmla="*/ 908255 w 5794893"/>
              <a:gd name="connsiteY3241" fmla="*/ 1263497 h 6858000"/>
              <a:gd name="connsiteX3242" fmla="*/ 954959 w 5794893"/>
              <a:gd name="connsiteY3242" fmla="*/ 1229084 h 6858000"/>
              <a:gd name="connsiteX3243" fmla="*/ 887362 w 5794893"/>
              <a:gd name="connsiteY3243" fmla="*/ 1109867 h 6858000"/>
              <a:gd name="connsiteX3244" fmla="*/ 1005350 w 5794893"/>
              <a:gd name="connsiteY3244" fmla="*/ 1109867 h 6858000"/>
              <a:gd name="connsiteX3245" fmla="*/ 959875 w 5794893"/>
              <a:gd name="connsiteY3245" fmla="*/ 1150426 h 6858000"/>
              <a:gd name="connsiteX3246" fmla="*/ 1037304 w 5794893"/>
              <a:gd name="connsiteY3246" fmla="*/ 1263497 h 6858000"/>
              <a:gd name="connsiteX3247" fmla="*/ 1082778 w 5794893"/>
              <a:gd name="connsiteY3247" fmla="*/ 1224168 h 6858000"/>
              <a:gd name="connsiteX3248" fmla="*/ 1005350 w 5794893"/>
              <a:gd name="connsiteY3248" fmla="*/ 1109867 h 6858000"/>
              <a:gd name="connsiteX3249" fmla="*/ 1123337 w 5794893"/>
              <a:gd name="connsiteY3249" fmla="*/ 1109867 h 6858000"/>
              <a:gd name="connsiteX3250" fmla="*/ 1080320 w 5794893"/>
              <a:gd name="connsiteY3250" fmla="*/ 1154113 h 6858000"/>
              <a:gd name="connsiteX3251" fmla="*/ 1167582 w 5794893"/>
              <a:gd name="connsiteY3251" fmla="*/ 1263497 h 6858000"/>
              <a:gd name="connsiteX3252" fmla="*/ 1210598 w 5794893"/>
              <a:gd name="connsiteY3252" fmla="*/ 1219252 h 6858000"/>
              <a:gd name="connsiteX3253" fmla="*/ 1123337 w 5794893"/>
              <a:gd name="connsiteY3253" fmla="*/ 1109867 h 6858000"/>
              <a:gd name="connsiteX3254" fmla="*/ 1241324 w 5794893"/>
              <a:gd name="connsiteY3254" fmla="*/ 1109867 h 6858000"/>
              <a:gd name="connsiteX3255" fmla="*/ 1199537 w 5794893"/>
              <a:gd name="connsiteY3255" fmla="*/ 1160258 h 6858000"/>
              <a:gd name="connsiteX3256" fmla="*/ 1297860 w 5794893"/>
              <a:gd name="connsiteY3256" fmla="*/ 1263497 h 6858000"/>
              <a:gd name="connsiteX3257" fmla="*/ 1338417 w 5794893"/>
              <a:gd name="connsiteY3257" fmla="*/ 1214336 h 6858000"/>
              <a:gd name="connsiteX3258" fmla="*/ 1241324 w 5794893"/>
              <a:gd name="connsiteY3258" fmla="*/ 1109867 h 6858000"/>
              <a:gd name="connsiteX3259" fmla="*/ 1359311 w 5794893"/>
              <a:gd name="connsiteY3259" fmla="*/ 1111097 h 6858000"/>
              <a:gd name="connsiteX3260" fmla="*/ 1319982 w 5794893"/>
              <a:gd name="connsiteY3260" fmla="*/ 1165175 h 6858000"/>
              <a:gd name="connsiteX3261" fmla="*/ 1426908 w 5794893"/>
              <a:gd name="connsiteY3261" fmla="*/ 1263497 h 6858000"/>
              <a:gd name="connsiteX3262" fmla="*/ 1466237 w 5794893"/>
              <a:gd name="connsiteY3262" fmla="*/ 1209420 h 6858000"/>
              <a:gd name="connsiteX3263" fmla="*/ 1359311 w 5794893"/>
              <a:gd name="connsiteY3263" fmla="*/ 1111097 h 6858000"/>
              <a:gd name="connsiteX3264" fmla="*/ 1476069 w 5794893"/>
              <a:gd name="connsiteY3264" fmla="*/ 1111097 h 6858000"/>
              <a:gd name="connsiteX3265" fmla="*/ 1439198 w 5794893"/>
              <a:gd name="connsiteY3265" fmla="*/ 1170091 h 6858000"/>
              <a:gd name="connsiteX3266" fmla="*/ 1555957 w 5794893"/>
              <a:gd name="connsiteY3266" fmla="*/ 1263497 h 6858000"/>
              <a:gd name="connsiteX3267" fmla="*/ 1592828 w 5794893"/>
              <a:gd name="connsiteY3267" fmla="*/ 1204504 h 6858000"/>
              <a:gd name="connsiteX3268" fmla="*/ 1476069 w 5794893"/>
              <a:gd name="connsiteY3268" fmla="*/ 1111097 h 6858000"/>
              <a:gd name="connsiteX3269" fmla="*/ 769375 w 5794893"/>
              <a:gd name="connsiteY3269" fmla="*/ 1296680 h 6858000"/>
              <a:gd name="connsiteX3270" fmla="*/ 720214 w 5794893"/>
              <a:gd name="connsiteY3270" fmla="*/ 1327407 h 6858000"/>
              <a:gd name="connsiteX3271" fmla="*/ 777978 w 5794893"/>
              <a:gd name="connsiteY3271" fmla="*/ 1450310 h 6858000"/>
              <a:gd name="connsiteX3272" fmla="*/ 827139 w 5794893"/>
              <a:gd name="connsiteY3272" fmla="*/ 1420814 h 6858000"/>
              <a:gd name="connsiteX3273" fmla="*/ 769375 w 5794893"/>
              <a:gd name="connsiteY3273" fmla="*/ 1296680 h 6858000"/>
              <a:gd name="connsiteX3274" fmla="*/ 1123337 w 5794893"/>
              <a:gd name="connsiteY3274" fmla="*/ 1296680 h 6858000"/>
              <a:gd name="connsiteX3275" fmla="*/ 1080320 w 5794893"/>
              <a:gd name="connsiteY3275" fmla="*/ 1342155 h 6858000"/>
              <a:gd name="connsiteX3276" fmla="*/ 1167582 w 5794893"/>
              <a:gd name="connsiteY3276" fmla="*/ 1450310 h 6858000"/>
              <a:gd name="connsiteX3277" fmla="*/ 1210598 w 5794893"/>
              <a:gd name="connsiteY3277" fmla="*/ 1406065 h 6858000"/>
              <a:gd name="connsiteX3278" fmla="*/ 1123337 w 5794893"/>
              <a:gd name="connsiteY3278" fmla="*/ 1296680 h 6858000"/>
              <a:gd name="connsiteX3279" fmla="*/ 1359311 w 5794893"/>
              <a:gd name="connsiteY3279" fmla="*/ 1297910 h 6858000"/>
              <a:gd name="connsiteX3280" fmla="*/ 1319982 w 5794893"/>
              <a:gd name="connsiteY3280" fmla="*/ 1351988 h 6858000"/>
              <a:gd name="connsiteX3281" fmla="*/ 1426908 w 5794893"/>
              <a:gd name="connsiteY3281" fmla="*/ 1450310 h 6858000"/>
              <a:gd name="connsiteX3282" fmla="*/ 1466237 w 5794893"/>
              <a:gd name="connsiteY3282" fmla="*/ 1396233 h 6858000"/>
              <a:gd name="connsiteX3283" fmla="*/ 1359311 w 5794893"/>
              <a:gd name="connsiteY3283" fmla="*/ 1297910 h 6858000"/>
              <a:gd name="connsiteX3284" fmla="*/ 1242552 w 5794893"/>
              <a:gd name="connsiteY3284" fmla="*/ 1299139 h 6858000"/>
              <a:gd name="connsiteX3285" fmla="*/ 1200765 w 5794893"/>
              <a:gd name="connsiteY3285" fmla="*/ 1348300 h 6858000"/>
              <a:gd name="connsiteX3286" fmla="*/ 1297860 w 5794893"/>
              <a:gd name="connsiteY3286" fmla="*/ 1451539 h 6858000"/>
              <a:gd name="connsiteX3287" fmla="*/ 1338417 w 5794893"/>
              <a:gd name="connsiteY3287" fmla="*/ 1402377 h 6858000"/>
              <a:gd name="connsiteX3288" fmla="*/ 1242552 w 5794893"/>
              <a:gd name="connsiteY3288" fmla="*/ 1299139 h 6858000"/>
              <a:gd name="connsiteX3289" fmla="*/ 1005350 w 5794893"/>
              <a:gd name="connsiteY3289" fmla="*/ 1297910 h 6858000"/>
              <a:gd name="connsiteX3290" fmla="*/ 959875 w 5794893"/>
              <a:gd name="connsiteY3290" fmla="*/ 1338468 h 6858000"/>
              <a:gd name="connsiteX3291" fmla="*/ 1037304 w 5794893"/>
              <a:gd name="connsiteY3291" fmla="*/ 1451539 h 6858000"/>
              <a:gd name="connsiteX3292" fmla="*/ 1082778 w 5794893"/>
              <a:gd name="connsiteY3292" fmla="*/ 1412210 h 6858000"/>
              <a:gd name="connsiteX3293" fmla="*/ 1005350 w 5794893"/>
              <a:gd name="connsiteY3293" fmla="*/ 1297910 h 6858000"/>
              <a:gd name="connsiteX3294" fmla="*/ 887362 w 5794893"/>
              <a:gd name="connsiteY3294" fmla="*/ 1299139 h 6858000"/>
              <a:gd name="connsiteX3295" fmla="*/ 840659 w 5794893"/>
              <a:gd name="connsiteY3295" fmla="*/ 1333551 h 6858000"/>
              <a:gd name="connsiteX3296" fmla="*/ 908255 w 5794893"/>
              <a:gd name="connsiteY3296" fmla="*/ 1451539 h 6858000"/>
              <a:gd name="connsiteX3297" fmla="*/ 954959 w 5794893"/>
              <a:gd name="connsiteY3297" fmla="*/ 1418355 h 6858000"/>
              <a:gd name="connsiteX3298" fmla="*/ 887362 w 5794893"/>
              <a:gd name="connsiteY3298" fmla="*/ 1299139 h 6858000"/>
              <a:gd name="connsiteX3299" fmla="*/ 178209 w 5794893"/>
              <a:gd name="connsiteY3299" fmla="*/ 1297910 h 6858000"/>
              <a:gd name="connsiteX3300" fmla="*/ 119216 w 5794893"/>
              <a:gd name="connsiteY3300" fmla="*/ 1302826 h 6858000"/>
              <a:gd name="connsiteX3301" fmla="*/ 129048 w 5794893"/>
              <a:gd name="connsiteY3301" fmla="*/ 1451539 h 6858000"/>
              <a:gd name="connsiteX3302" fmla="*/ 188042 w 5794893"/>
              <a:gd name="connsiteY3302" fmla="*/ 1446623 h 6858000"/>
              <a:gd name="connsiteX3303" fmla="*/ 178209 w 5794893"/>
              <a:gd name="connsiteY3303" fmla="*/ 1297910 h 6858000"/>
              <a:gd name="connsiteX3304" fmla="*/ 296197 w 5794893"/>
              <a:gd name="connsiteY3304" fmla="*/ 1297910 h 6858000"/>
              <a:gd name="connsiteX3305" fmla="*/ 239661 w 5794893"/>
              <a:gd name="connsiteY3305" fmla="*/ 1307742 h 6858000"/>
              <a:gd name="connsiteX3306" fmla="*/ 259326 w 5794893"/>
              <a:gd name="connsiteY3306" fmla="*/ 1451539 h 6858000"/>
              <a:gd name="connsiteX3307" fmla="*/ 315861 w 5794893"/>
              <a:gd name="connsiteY3307" fmla="*/ 1441706 h 6858000"/>
              <a:gd name="connsiteX3308" fmla="*/ 296197 w 5794893"/>
              <a:gd name="connsiteY3308" fmla="*/ 1297910 h 6858000"/>
              <a:gd name="connsiteX3309" fmla="*/ 415413 w 5794893"/>
              <a:gd name="connsiteY3309" fmla="*/ 1297910 h 6858000"/>
              <a:gd name="connsiteX3310" fmla="*/ 360106 w 5794893"/>
              <a:gd name="connsiteY3310" fmla="*/ 1312659 h 6858000"/>
              <a:gd name="connsiteX3311" fmla="*/ 389603 w 5794893"/>
              <a:gd name="connsiteY3311" fmla="*/ 1451539 h 6858000"/>
              <a:gd name="connsiteX3312" fmla="*/ 444910 w 5794893"/>
              <a:gd name="connsiteY3312" fmla="*/ 1436790 h 6858000"/>
              <a:gd name="connsiteX3313" fmla="*/ 415413 w 5794893"/>
              <a:gd name="connsiteY3313" fmla="*/ 1297910 h 6858000"/>
              <a:gd name="connsiteX3314" fmla="*/ 532171 w 5794893"/>
              <a:gd name="connsiteY3314" fmla="*/ 1297910 h 6858000"/>
              <a:gd name="connsiteX3315" fmla="*/ 479323 w 5794893"/>
              <a:gd name="connsiteY3315" fmla="*/ 1317575 h 6858000"/>
              <a:gd name="connsiteX3316" fmla="*/ 518652 w 5794893"/>
              <a:gd name="connsiteY3316" fmla="*/ 1451539 h 6858000"/>
              <a:gd name="connsiteX3317" fmla="*/ 571500 w 5794893"/>
              <a:gd name="connsiteY3317" fmla="*/ 1431874 h 6858000"/>
              <a:gd name="connsiteX3318" fmla="*/ 532171 w 5794893"/>
              <a:gd name="connsiteY3318" fmla="*/ 1297910 h 6858000"/>
              <a:gd name="connsiteX3319" fmla="*/ 651388 w 5794893"/>
              <a:gd name="connsiteY3319" fmla="*/ 1297910 h 6858000"/>
              <a:gd name="connsiteX3320" fmla="*/ 599769 w 5794893"/>
              <a:gd name="connsiteY3320" fmla="*/ 1322491 h 6858000"/>
              <a:gd name="connsiteX3321" fmla="*/ 648930 w 5794893"/>
              <a:gd name="connsiteY3321" fmla="*/ 1451539 h 6858000"/>
              <a:gd name="connsiteX3322" fmla="*/ 699320 w 5794893"/>
              <a:gd name="connsiteY3322" fmla="*/ 1426958 h 6858000"/>
              <a:gd name="connsiteX3323" fmla="*/ 651388 w 5794893"/>
              <a:gd name="connsiteY3323" fmla="*/ 1297910 h 6858000"/>
              <a:gd name="connsiteX3324" fmla="*/ 178209 w 5794893"/>
              <a:gd name="connsiteY3324" fmla="*/ 1488410 h 6858000"/>
              <a:gd name="connsiteX3325" fmla="*/ 119216 w 5794893"/>
              <a:gd name="connsiteY3325" fmla="*/ 1493326 h 6858000"/>
              <a:gd name="connsiteX3326" fmla="*/ 129048 w 5794893"/>
              <a:gd name="connsiteY3326" fmla="*/ 1642040 h 6858000"/>
              <a:gd name="connsiteX3327" fmla="*/ 188042 w 5794893"/>
              <a:gd name="connsiteY3327" fmla="*/ 1637123 h 6858000"/>
              <a:gd name="connsiteX3328" fmla="*/ 178209 w 5794893"/>
              <a:gd name="connsiteY3328" fmla="*/ 1488410 h 6858000"/>
              <a:gd name="connsiteX3329" fmla="*/ 651388 w 5794893"/>
              <a:gd name="connsiteY3329" fmla="*/ 1488410 h 6858000"/>
              <a:gd name="connsiteX3330" fmla="*/ 599769 w 5794893"/>
              <a:gd name="connsiteY3330" fmla="*/ 1512990 h 6858000"/>
              <a:gd name="connsiteX3331" fmla="*/ 648930 w 5794893"/>
              <a:gd name="connsiteY3331" fmla="*/ 1642040 h 6858000"/>
              <a:gd name="connsiteX3332" fmla="*/ 699320 w 5794893"/>
              <a:gd name="connsiteY3332" fmla="*/ 1617459 h 6858000"/>
              <a:gd name="connsiteX3333" fmla="*/ 651388 w 5794893"/>
              <a:gd name="connsiteY3333" fmla="*/ 1488410 h 6858000"/>
              <a:gd name="connsiteX3334" fmla="*/ 887362 w 5794893"/>
              <a:gd name="connsiteY3334" fmla="*/ 1488410 h 6858000"/>
              <a:gd name="connsiteX3335" fmla="*/ 840659 w 5794893"/>
              <a:gd name="connsiteY3335" fmla="*/ 1522823 h 6858000"/>
              <a:gd name="connsiteX3336" fmla="*/ 908255 w 5794893"/>
              <a:gd name="connsiteY3336" fmla="*/ 1642040 h 6858000"/>
              <a:gd name="connsiteX3337" fmla="*/ 954959 w 5794893"/>
              <a:gd name="connsiteY3337" fmla="*/ 1607627 h 6858000"/>
              <a:gd name="connsiteX3338" fmla="*/ 887362 w 5794893"/>
              <a:gd name="connsiteY3338" fmla="*/ 1488410 h 6858000"/>
              <a:gd name="connsiteX3339" fmla="*/ 1242552 w 5794893"/>
              <a:gd name="connsiteY3339" fmla="*/ 1488410 h 6858000"/>
              <a:gd name="connsiteX3340" fmla="*/ 1200765 w 5794893"/>
              <a:gd name="connsiteY3340" fmla="*/ 1537571 h 6858000"/>
              <a:gd name="connsiteX3341" fmla="*/ 1297860 w 5794893"/>
              <a:gd name="connsiteY3341" fmla="*/ 1642040 h 6858000"/>
              <a:gd name="connsiteX3342" fmla="*/ 1338417 w 5794893"/>
              <a:gd name="connsiteY3342" fmla="*/ 1592878 h 6858000"/>
              <a:gd name="connsiteX3343" fmla="*/ 1242552 w 5794893"/>
              <a:gd name="connsiteY3343" fmla="*/ 1488410 h 6858000"/>
              <a:gd name="connsiteX3344" fmla="*/ 1359311 w 5794893"/>
              <a:gd name="connsiteY3344" fmla="*/ 1488410 h 6858000"/>
              <a:gd name="connsiteX3345" fmla="*/ 1319982 w 5794893"/>
              <a:gd name="connsiteY3345" fmla="*/ 1543717 h 6858000"/>
              <a:gd name="connsiteX3346" fmla="*/ 1426908 w 5794893"/>
              <a:gd name="connsiteY3346" fmla="*/ 1640810 h 6858000"/>
              <a:gd name="connsiteX3347" fmla="*/ 1466237 w 5794893"/>
              <a:gd name="connsiteY3347" fmla="*/ 1586732 h 6858000"/>
              <a:gd name="connsiteX3348" fmla="*/ 1359311 w 5794893"/>
              <a:gd name="connsiteY3348" fmla="*/ 1488410 h 6858000"/>
              <a:gd name="connsiteX3349" fmla="*/ 1005350 w 5794893"/>
              <a:gd name="connsiteY3349" fmla="*/ 1489639 h 6858000"/>
              <a:gd name="connsiteX3350" fmla="*/ 959875 w 5794893"/>
              <a:gd name="connsiteY3350" fmla="*/ 1528968 h 6858000"/>
              <a:gd name="connsiteX3351" fmla="*/ 1037304 w 5794893"/>
              <a:gd name="connsiteY3351" fmla="*/ 1642040 h 6858000"/>
              <a:gd name="connsiteX3352" fmla="*/ 1082778 w 5794893"/>
              <a:gd name="connsiteY3352" fmla="*/ 1602710 h 6858000"/>
              <a:gd name="connsiteX3353" fmla="*/ 1005350 w 5794893"/>
              <a:gd name="connsiteY3353" fmla="*/ 1489639 h 6858000"/>
              <a:gd name="connsiteX3354" fmla="*/ 1123337 w 5794893"/>
              <a:gd name="connsiteY3354" fmla="*/ 1489639 h 6858000"/>
              <a:gd name="connsiteX3355" fmla="*/ 1080320 w 5794893"/>
              <a:gd name="connsiteY3355" fmla="*/ 1533885 h 6858000"/>
              <a:gd name="connsiteX3356" fmla="*/ 1167582 w 5794893"/>
              <a:gd name="connsiteY3356" fmla="*/ 1642040 h 6858000"/>
              <a:gd name="connsiteX3357" fmla="*/ 1210598 w 5794893"/>
              <a:gd name="connsiteY3357" fmla="*/ 1597794 h 6858000"/>
              <a:gd name="connsiteX3358" fmla="*/ 1123337 w 5794893"/>
              <a:gd name="connsiteY3358" fmla="*/ 1489639 h 6858000"/>
              <a:gd name="connsiteX3359" fmla="*/ 769375 w 5794893"/>
              <a:gd name="connsiteY3359" fmla="*/ 1489639 h 6858000"/>
              <a:gd name="connsiteX3360" fmla="*/ 720214 w 5794893"/>
              <a:gd name="connsiteY3360" fmla="*/ 1519136 h 6858000"/>
              <a:gd name="connsiteX3361" fmla="*/ 777978 w 5794893"/>
              <a:gd name="connsiteY3361" fmla="*/ 1643268 h 6858000"/>
              <a:gd name="connsiteX3362" fmla="*/ 827139 w 5794893"/>
              <a:gd name="connsiteY3362" fmla="*/ 1613771 h 6858000"/>
              <a:gd name="connsiteX3363" fmla="*/ 769375 w 5794893"/>
              <a:gd name="connsiteY3363" fmla="*/ 1489639 h 6858000"/>
              <a:gd name="connsiteX3364" fmla="*/ 296197 w 5794893"/>
              <a:gd name="connsiteY3364" fmla="*/ 1489639 h 6858000"/>
              <a:gd name="connsiteX3365" fmla="*/ 239661 w 5794893"/>
              <a:gd name="connsiteY3365" fmla="*/ 1499472 h 6858000"/>
              <a:gd name="connsiteX3366" fmla="*/ 259326 w 5794893"/>
              <a:gd name="connsiteY3366" fmla="*/ 1643268 h 6858000"/>
              <a:gd name="connsiteX3367" fmla="*/ 315861 w 5794893"/>
              <a:gd name="connsiteY3367" fmla="*/ 1633436 h 6858000"/>
              <a:gd name="connsiteX3368" fmla="*/ 296197 w 5794893"/>
              <a:gd name="connsiteY3368" fmla="*/ 1489639 h 6858000"/>
              <a:gd name="connsiteX3369" fmla="*/ 415413 w 5794893"/>
              <a:gd name="connsiteY3369" fmla="*/ 1489639 h 6858000"/>
              <a:gd name="connsiteX3370" fmla="*/ 360106 w 5794893"/>
              <a:gd name="connsiteY3370" fmla="*/ 1504388 h 6858000"/>
              <a:gd name="connsiteX3371" fmla="*/ 389603 w 5794893"/>
              <a:gd name="connsiteY3371" fmla="*/ 1642040 h 6858000"/>
              <a:gd name="connsiteX3372" fmla="*/ 444910 w 5794893"/>
              <a:gd name="connsiteY3372" fmla="*/ 1628520 h 6858000"/>
              <a:gd name="connsiteX3373" fmla="*/ 415413 w 5794893"/>
              <a:gd name="connsiteY3373" fmla="*/ 1489639 h 6858000"/>
              <a:gd name="connsiteX3374" fmla="*/ 532171 w 5794893"/>
              <a:gd name="connsiteY3374" fmla="*/ 1489639 h 6858000"/>
              <a:gd name="connsiteX3375" fmla="*/ 479323 w 5794893"/>
              <a:gd name="connsiteY3375" fmla="*/ 1509304 h 6858000"/>
              <a:gd name="connsiteX3376" fmla="*/ 518652 w 5794893"/>
              <a:gd name="connsiteY3376" fmla="*/ 1642040 h 6858000"/>
              <a:gd name="connsiteX3377" fmla="*/ 571500 w 5794893"/>
              <a:gd name="connsiteY3377" fmla="*/ 1623603 h 6858000"/>
              <a:gd name="connsiteX3378" fmla="*/ 532171 w 5794893"/>
              <a:gd name="connsiteY3378" fmla="*/ 1489639 h 6858000"/>
              <a:gd name="connsiteX3379" fmla="*/ 178209 w 5794893"/>
              <a:gd name="connsiteY3379" fmla="*/ 1681369 h 6858000"/>
              <a:gd name="connsiteX3380" fmla="*/ 119216 w 5794893"/>
              <a:gd name="connsiteY3380" fmla="*/ 1686285 h 6858000"/>
              <a:gd name="connsiteX3381" fmla="*/ 129048 w 5794893"/>
              <a:gd name="connsiteY3381" fmla="*/ 1834997 h 6858000"/>
              <a:gd name="connsiteX3382" fmla="*/ 188042 w 5794893"/>
              <a:gd name="connsiteY3382" fmla="*/ 1830081 h 6858000"/>
              <a:gd name="connsiteX3383" fmla="*/ 178209 w 5794893"/>
              <a:gd name="connsiteY3383" fmla="*/ 1681369 h 6858000"/>
              <a:gd name="connsiteX3384" fmla="*/ 296197 w 5794893"/>
              <a:gd name="connsiteY3384" fmla="*/ 1681369 h 6858000"/>
              <a:gd name="connsiteX3385" fmla="*/ 239661 w 5794893"/>
              <a:gd name="connsiteY3385" fmla="*/ 1691201 h 6858000"/>
              <a:gd name="connsiteX3386" fmla="*/ 259326 w 5794893"/>
              <a:gd name="connsiteY3386" fmla="*/ 1834997 h 6858000"/>
              <a:gd name="connsiteX3387" fmla="*/ 315861 w 5794893"/>
              <a:gd name="connsiteY3387" fmla="*/ 1825165 h 6858000"/>
              <a:gd name="connsiteX3388" fmla="*/ 296197 w 5794893"/>
              <a:gd name="connsiteY3388" fmla="*/ 1681369 h 6858000"/>
              <a:gd name="connsiteX3389" fmla="*/ 415413 w 5794893"/>
              <a:gd name="connsiteY3389" fmla="*/ 1681369 h 6858000"/>
              <a:gd name="connsiteX3390" fmla="*/ 360106 w 5794893"/>
              <a:gd name="connsiteY3390" fmla="*/ 1696117 h 6858000"/>
              <a:gd name="connsiteX3391" fmla="*/ 389603 w 5794893"/>
              <a:gd name="connsiteY3391" fmla="*/ 1834997 h 6858000"/>
              <a:gd name="connsiteX3392" fmla="*/ 444910 w 5794893"/>
              <a:gd name="connsiteY3392" fmla="*/ 1820249 h 6858000"/>
              <a:gd name="connsiteX3393" fmla="*/ 415413 w 5794893"/>
              <a:gd name="connsiteY3393" fmla="*/ 1681369 h 6858000"/>
              <a:gd name="connsiteX3394" fmla="*/ 532171 w 5794893"/>
              <a:gd name="connsiteY3394" fmla="*/ 1681369 h 6858000"/>
              <a:gd name="connsiteX3395" fmla="*/ 479323 w 5794893"/>
              <a:gd name="connsiteY3395" fmla="*/ 1701033 h 6858000"/>
              <a:gd name="connsiteX3396" fmla="*/ 518652 w 5794893"/>
              <a:gd name="connsiteY3396" fmla="*/ 1834997 h 6858000"/>
              <a:gd name="connsiteX3397" fmla="*/ 571500 w 5794893"/>
              <a:gd name="connsiteY3397" fmla="*/ 1815333 h 6858000"/>
              <a:gd name="connsiteX3398" fmla="*/ 532171 w 5794893"/>
              <a:gd name="connsiteY3398" fmla="*/ 1681369 h 6858000"/>
              <a:gd name="connsiteX3399" fmla="*/ 651388 w 5794893"/>
              <a:gd name="connsiteY3399" fmla="*/ 1681369 h 6858000"/>
              <a:gd name="connsiteX3400" fmla="*/ 599769 w 5794893"/>
              <a:gd name="connsiteY3400" fmla="*/ 1705949 h 6858000"/>
              <a:gd name="connsiteX3401" fmla="*/ 648930 w 5794893"/>
              <a:gd name="connsiteY3401" fmla="*/ 1834997 h 6858000"/>
              <a:gd name="connsiteX3402" fmla="*/ 699320 w 5794893"/>
              <a:gd name="connsiteY3402" fmla="*/ 1809188 h 6858000"/>
              <a:gd name="connsiteX3403" fmla="*/ 651388 w 5794893"/>
              <a:gd name="connsiteY3403" fmla="*/ 1681369 h 6858000"/>
              <a:gd name="connsiteX3404" fmla="*/ 769375 w 5794893"/>
              <a:gd name="connsiteY3404" fmla="*/ 1681369 h 6858000"/>
              <a:gd name="connsiteX3405" fmla="*/ 720214 w 5794893"/>
              <a:gd name="connsiteY3405" fmla="*/ 1709636 h 6858000"/>
              <a:gd name="connsiteX3406" fmla="*/ 777978 w 5794893"/>
              <a:gd name="connsiteY3406" fmla="*/ 1833769 h 6858000"/>
              <a:gd name="connsiteX3407" fmla="*/ 827139 w 5794893"/>
              <a:gd name="connsiteY3407" fmla="*/ 1804272 h 6858000"/>
              <a:gd name="connsiteX3408" fmla="*/ 769375 w 5794893"/>
              <a:gd name="connsiteY3408" fmla="*/ 1681369 h 6858000"/>
              <a:gd name="connsiteX3409" fmla="*/ 887362 w 5794893"/>
              <a:gd name="connsiteY3409" fmla="*/ 1681369 h 6858000"/>
              <a:gd name="connsiteX3410" fmla="*/ 840659 w 5794893"/>
              <a:gd name="connsiteY3410" fmla="*/ 1715782 h 6858000"/>
              <a:gd name="connsiteX3411" fmla="*/ 908255 w 5794893"/>
              <a:gd name="connsiteY3411" fmla="*/ 1834997 h 6858000"/>
              <a:gd name="connsiteX3412" fmla="*/ 954959 w 5794893"/>
              <a:gd name="connsiteY3412" fmla="*/ 1800584 h 6858000"/>
              <a:gd name="connsiteX3413" fmla="*/ 887362 w 5794893"/>
              <a:gd name="connsiteY3413" fmla="*/ 1681369 h 6858000"/>
              <a:gd name="connsiteX3414" fmla="*/ 1005350 w 5794893"/>
              <a:gd name="connsiteY3414" fmla="*/ 1681369 h 6858000"/>
              <a:gd name="connsiteX3415" fmla="*/ 959875 w 5794893"/>
              <a:gd name="connsiteY3415" fmla="*/ 1720698 h 6858000"/>
              <a:gd name="connsiteX3416" fmla="*/ 1037304 w 5794893"/>
              <a:gd name="connsiteY3416" fmla="*/ 1833769 h 6858000"/>
              <a:gd name="connsiteX3417" fmla="*/ 1082778 w 5794893"/>
              <a:gd name="connsiteY3417" fmla="*/ 1794440 h 6858000"/>
              <a:gd name="connsiteX3418" fmla="*/ 1005350 w 5794893"/>
              <a:gd name="connsiteY3418" fmla="*/ 1681369 h 6858000"/>
              <a:gd name="connsiteX3419" fmla="*/ 1242552 w 5794893"/>
              <a:gd name="connsiteY3419" fmla="*/ 1681369 h 6858000"/>
              <a:gd name="connsiteX3420" fmla="*/ 1200765 w 5794893"/>
              <a:gd name="connsiteY3420" fmla="*/ 1730530 h 6858000"/>
              <a:gd name="connsiteX3421" fmla="*/ 1297860 w 5794893"/>
              <a:gd name="connsiteY3421" fmla="*/ 1834997 h 6858000"/>
              <a:gd name="connsiteX3422" fmla="*/ 1338417 w 5794893"/>
              <a:gd name="connsiteY3422" fmla="*/ 1785836 h 6858000"/>
              <a:gd name="connsiteX3423" fmla="*/ 1242552 w 5794893"/>
              <a:gd name="connsiteY3423" fmla="*/ 1681369 h 6858000"/>
              <a:gd name="connsiteX3424" fmla="*/ 1359311 w 5794893"/>
              <a:gd name="connsiteY3424" fmla="*/ 1681369 h 6858000"/>
              <a:gd name="connsiteX3425" fmla="*/ 1319982 w 5794893"/>
              <a:gd name="connsiteY3425" fmla="*/ 1735446 h 6858000"/>
              <a:gd name="connsiteX3426" fmla="*/ 1426908 w 5794893"/>
              <a:gd name="connsiteY3426" fmla="*/ 1833769 h 6858000"/>
              <a:gd name="connsiteX3427" fmla="*/ 1466237 w 5794893"/>
              <a:gd name="connsiteY3427" fmla="*/ 1779691 h 6858000"/>
              <a:gd name="connsiteX3428" fmla="*/ 1359311 w 5794893"/>
              <a:gd name="connsiteY3428" fmla="*/ 1681369 h 6858000"/>
              <a:gd name="connsiteX3429" fmla="*/ 1476069 w 5794893"/>
              <a:gd name="connsiteY3429" fmla="*/ 1682597 h 6858000"/>
              <a:gd name="connsiteX3430" fmla="*/ 1439198 w 5794893"/>
              <a:gd name="connsiteY3430" fmla="*/ 1741591 h 6858000"/>
              <a:gd name="connsiteX3431" fmla="*/ 1555957 w 5794893"/>
              <a:gd name="connsiteY3431" fmla="*/ 1834997 h 6858000"/>
              <a:gd name="connsiteX3432" fmla="*/ 1592828 w 5794893"/>
              <a:gd name="connsiteY3432" fmla="*/ 1776004 h 6858000"/>
              <a:gd name="connsiteX3433" fmla="*/ 1476069 w 5794893"/>
              <a:gd name="connsiteY3433" fmla="*/ 1682597 h 6858000"/>
              <a:gd name="connsiteX3434" fmla="*/ 1123337 w 5794893"/>
              <a:gd name="connsiteY3434" fmla="*/ 1682597 h 6858000"/>
              <a:gd name="connsiteX3435" fmla="*/ 1080320 w 5794893"/>
              <a:gd name="connsiteY3435" fmla="*/ 1726842 h 6858000"/>
              <a:gd name="connsiteX3436" fmla="*/ 1167582 w 5794893"/>
              <a:gd name="connsiteY3436" fmla="*/ 1834997 h 6858000"/>
              <a:gd name="connsiteX3437" fmla="*/ 1210598 w 5794893"/>
              <a:gd name="connsiteY3437" fmla="*/ 1790752 h 6858000"/>
              <a:gd name="connsiteX3438" fmla="*/ 1123337 w 5794893"/>
              <a:gd name="connsiteY3438" fmla="*/ 1682597 h 6858000"/>
              <a:gd name="connsiteX3439" fmla="*/ 178209 w 5794893"/>
              <a:gd name="connsiteY3439" fmla="*/ 1873098 h 6858000"/>
              <a:gd name="connsiteX3440" fmla="*/ 119216 w 5794893"/>
              <a:gd name="connsiteY3440" fmla="*/ 1878014 h 6858000"/>
              <a:gd name="connsiteX3441" fmla="*/ 129048 w 5794893"/>
              <a:gd name="connsiteY3441" fmla="*/ 2026726 h 6858000"/>
              <a:gd name="connsiteX3442" fmla="*/ 188042 w 5794893"/>
              <a:gd name="connsiteY3442" fmla="*/ 2021810 h 6858000"/>
              <a:gd name="connsiteX3443" fmla="*/ 178209 w 5794893"/>
              <a:gd name="connsiteY3443" fmla="*/ 1873098 h 6858000"/>
              <a:gd name="connsiteX3444" fmla="*/ 415413 w 5794893"/>
              <a:gd name="connsiteY3444" fmla="*/ 1873098 h 6858000"/>
              <a:gd name="connsiteX3445" fmla="*/ 360106 w 5794893"/>
              <a:gd name="connsiteY3445" fmla="*/ 1887846 h 6858000"/>
              <a:gd name="connsiteX3446" fmla="*/ 389603 w 5794893"/>
              <a:gd name="connsiteY3446" fmla="*/ 2026726 h 6858000"/>
              <a:gd name="connsiteX3447" fmla="*/ 444910 w 5794893"/>
              <a:gd name="connsiteY3447" fmla="*/ 2011978 h 6858000"/>
              <a:gd name="connsiteX3448" fmla="*/ 415413 w 5794893"/>
              <a:gd name="connsiteY3448" fmla="*/ 1873098 h 6858000"/>
              <a:gd name="connsiteX3449" fmla="*/ 651388 w 5794893"/>
              <a:gd name="connsiteY3449" fmla="*/ 1873098 h 6858000"/>
              <a:gd name="connsiteX3450" fmla="*/ 599769 w 5794893"/>
              <a:gd name="connsiteY3450" fmla="*/ 1897679 h 6858000"/>
              <a:gd name="connsiteX3451" fmla="*/ 648930 w 5794893"/>
              <a:gd name="connsiteY3451" fmla="*/ 2026726 h 6858000"/>
              <a:gd name="connsiteX3452" fmla="*/ 699320 w 5794893"/>
              <a:gd name="connsiteY3452" fmla="*/ 2002146 h 6858000"/>
              <a:gd name="connsiteX3453" fmla="*/ 651388 w 5794893"/>
              <a:gd name="connsiteY3453" fmla="*/ 1873098 h 6858000"/>
              <a:gd name="connsiteX3454" fmla="*/ 1359311 w 5794893"/>
              <a:gd name="connsiteY3454" fmla="*/ 1873098 h 6858000"/>
              <a:gd name="connsiteX3455" fmla="*/ 1319982 w 5794893"/>
              <a:gd name="connsiteY3455" fmla="*/ 1928404 h 6858000"/>
              <a:gd name="connsiteX3456" fmla="*/ 1426908 w 5794893"/>
              <a:gd name="connsiteY3456" fmla="*/ 2026726 h 6858000"/>
              <a:gd name="connsiteX3457" fmla="*/ 1466237 w 5794893"/>
              <a:gd name="connsiteY3457" fmla="*/ 1972649 h 6858000"/>
              <a:gd name="connsiteX3458" fmla="*/ 1359311 w 5794893"/>
              <a:gd name="connsiteY3458" fmla="*/ 1873098 h 6858000"/>
              <a:gd name="connsiteX3459" fmla="*/ 1476069 w 5794893"/>
              <a:gd name="connsiteY3459" fmla="*/ 1874326 h 6858000"/>
              <a:gd name="connsiteX3460" fmla="*/ 1439198 w 5794893"/>
              <a:gd name="connsiteY3460" fmla="*/ 1933320 h 6858000"/>
              <a:gd name="connsiteX3461" fmla="*/ 1555957 w 5794893"/>
              <a:gd name="connsiteY3461" fmla="*/ 2026726 h 6858000"/>
              <a:gd name="connsiteX3462" fmla="*/ 1592828 w 5794893"/>
              <a:gd name="connsiteY3462" fmla="*/ 1967733 h 6858000"/>
              <a:gd name="connsiteX3463" fmla="*/ 1476069 w 5794893"/>
              <a:gd name="connsiteY3463" fmla="*/ 1874326 h 6858000"/>
              <a:gd name="connsiteX3464" fmla="*/ 769375 w 5794893"/>
              <a:gd name="connsiteY3464" fmla="*/ 1874326 h 6858000"/>
              <a:gd name="connsiteX3465" fmla="*/ 720214 w 5794893"/>
              <a:gd name="connsiteY3465" fmla="*/ 1903823 h 6858000"/>
              <a:gd name="connsiteX3466" fmla="*/ 777978 w 5794893"/>
              <a:gd name="connsiteY3466" fmla="*/ 2027956 h 6858000"/>
              <a:gd name="connsiteX3467" fmla="*/ 827139 w 5794893"/>
              <a:gd name="connsiteY3467" fmla="*/ 1998459 h 6858000"/>
              <a:gd name="connsiteX3468" fmla="*/ 769375 w 5794893"/>
              <a:gd name="connsiteY3468" fmla="*/ 1874326 h 6858000"/>
              <a:gd name="connsiteX3469" fmla="*/ 887362 w 5794893"/>
              <a:gd name="connsiteY3469" fmla="*/ 1874326 h 6858000"/>
              <a:gd name="connsiteX3470" fmla="*/ 840659 w 5794893"/>
              <a:gd name="connsiteY3470" fmla="*/ 1908739 h 6858000"/>
              <a:gd name="connsiteX3471" fmla="*/ 908255 w 5794893"/>
              <a:gd name="connsiteY3471" fmla="*/ 2026726 h 6858000"/>
              <a:gd name="connsiteX3472" fmla="*/ 954959 w 5794893"/>
              <a:gd name="connsiteY3472" fmla="*/ 1993543 h 6858000"/>
              <a:gd name="connsiteX3473" fmla="*/ 887362 w 5794893"/>
              <a:gd name="connsiteY3473" fmla="*/ 1874326 h 6858000"/>
              <a:gd name="connsiteX3474" fmla="*/ 1005350 w 5794893"/>
              <a:gd name="connsiteY3474" fmla="*/ 1874326 h 6858000"/>
              <a:gd name="connsiteX3475" fmla="*/ 959875 w 5794893"/>
              <a:gd name="connsiteY3475" fmla="*/ 1913655 h 6858000"/>
              <a:gd name="connsiteX3476" fmla="*/ 1037304 w 5794893"/>
              <a:gd name="connsiteY3476" fmla="*/ 2026726 h 6858000"/>
              <a:gd name="connsiteX3477" fmla="*/ 1082778 w 5794893"/>
              <a:gd name="connsiteY3477" fmla="*/ 1987397 h 6858000"/>
              <a:gd name="connsiteX3478" fmla="*/ 1005350 w 5794893"/>
              <a:gd name="connsiteY3478" fmla="*/ 1874326 h 6858000"/>
              <a:gd name="connsiteX3479" fmla="*/ 1123337 w 5794893"/>
              <a:gd name="connsiteY3479" fmla="*/ 1874326 h 6858000"/>
              <a:gd name="connsiteX3480" fmla="*/ 1080320 w 5794893"/>
              <a:gd name="connsiteY3480" fmla="*/ 1918571 h 6858000"/>
              <a:gd name="connsiteX3481" fmla="*/ 1167582 w 5794893"/>
              <a:gd name="connsiteY3481" fmla="*/ 2026726 h 6858000"/>
              <a:gd name="connsiteX3482" fmla="*/ 1210598 w 5794893"/>
              <a:gd name="connsiteY3482" fmla="*/ 1982481 h 6858000"/>
              <a:gd name="connsiteX3483" fmla="*/ 1123337 w 5794893"/>
              <a:gd name="connsiteY3483" fmla="*/ 1874326 h 6858000"/>
              <a:gd name="connsiteX3484" fmla="*/ 1242552 w 5794893"/>
              <a:gd name="connsiteY3484" fmla="*/ 1874326 h 6858000"/>
              <a:gd name="connsiteX3485" fmla="*/ 1200765 w 5794893"/>
              <a:gd name="connsiteY3485" fmla="*/ 1923488 h 6858000"/>
              <a:gd name="connsiteX3486" fmla="*/ 1297860 w 5794893"/>
              <a:gd name="connsiteY3486" fmla="*/ 2026726 h 6858000"/>
              <a:gd name="connsiteX3487" fmla="*/ 1338417 w 5794893"/>
              <a:gd name="connsiteY3487" fmla="*/ 1977565 h 6858000"/>
              <a:gd name="connsiteX3488" fmla="*/ 1242552 w 5794893"/>
              <a:gd name="connsiteY3488" fmla="*/ 1874326 h 6858000"/>
              <a:gd name="connsiteX3489" fmla="*/ 532171 w 5794893"/>
              <a:gd name="connsiteY3489" fmla="*/ 1874326 h 6858000"/>
              <a:gd name="connsiteX3490" fmla="*/ 479323 w 5794893"/>
              <a:gd name="connsiteY3490" fmla="*/ 1893991 h 6858000"/>
              <a:gd name="connsiteX3491" fmla="*/ 518652 w 5794893"/>
              <a:gd name="connsiteY3491" fmla="*/ 2026726 h 6858000"/>
              <a:gd name="connsiteX3492" fmla="*/ 571500 w 5794893"/>
              <a:gd name="connsiteY3492" fmla="*/ 2008292 h 6858000"/>
              <a:gd name="connsiteX3493" fmla="*/ 532171 w 5794893"/>
              <a:gd name="connsiteY3493" fmla="*/ 1874326 h 6858000"/>
              <a:gd name="connsiteX3494" fmla="*/ 296197 w 5794893"/>
              <a:gd name="connsiteY3494" fmla="*/ 1874326 h 6858000"/>
              <a:gd name="connsiteX3495" fmla="*/ 239661 w 5794893"/>
              <a:gd name="connsiteY3495" fmla="*/ 1884159 h 6858000"/>
              <a:gd name="connsiteX3496" fmla="*/ 259326 w 5794893"/>
              <a:gd name="connsiteY3496" fmla="*/ 2027956 h 6858000"/>
              <a:gd name="connsiteX3497" fmla="*/ 315861 w 5794893"/>
              <a:gd name="connsiteY3497" fmla="*/ 2018124 h 6858000"/>
              <a:gd name="connsiteX3498" fmla="*/ 296197 w 5794893"/>
              <a:gd name="connsiteY3498" fmla="*/ 1874326 h 6858000"/>
              <a:gd name="connsiteX3499" fmla="*/ 1242552 w 5794893"/>
              <a:gd name="connsiteY3499" fmla="*/ 2062369 h 6858000"/>
              <a:gd name="connsiteX3500" fmla="*/ 1200765 w 5794893"/>
              <a:gd name="connsiteY3500" fmla="*/ 2112759 h 6858000"/>
              <a:gd name="connsiteX3501" fmla="*/ 1297860 w 5794893"/>
              <a:gd name="connsiteY3501" fmla="*/ 2217227 h 6858000"/>
              <a:gd name="connsiteX3502" fmla="*/ 1338417 w 5794893"/>
              <a:gd name="connsiteY3502" fmla="*/ 2168066 h 6858000"/>
              <a:gd name="connsiteX3503" fmla="*/ 1242552 w 5794893"/>
              <a:gd name="connsiteY3503" fmla="*/ 2062369 h 6858000"/>
              <a:gd name="connsiteX3504" fmla="*/ 1476069 w 5794893"/>
              <a:gd name="connsiteY3504" fmla="*/ 2063597 h 6858000"/>
              <a:gd name="connsiteX3505" fmla="*/ 1439198 w 5794893"/>
              <a:gd name="connsiteY3505" fmla="*/ 2122591 h 6858000"/>
              <a:gd name="connsiteX3506" fmla="*/ 1555957 w 5794893"/>
              <a:gd name="connsiteY3506" fmla="*/ 2217227 h 6858000"/>
              <a:gd name="connsiteX3507" fmla="*/ 1592828 w 5794893"/>
              <a:gd name="connsiteY3507" fmla="*/ 2158234 h 6858000"/>
              <a:gd name="connsiteX3508" fmla="*/ 1476069 w 5794893"/>
              <a:gd name="connsiteY3508" fmla="*/ 2063597 h 6858000"/>
              <a:gd name="connsiteX3509" fmla="*/ 1359311 w 5794893"/>
              <a:gd name="connsiteY3509" fmla="*/ 2064827 h 6858000"/>
              <a:gd name="connsiteX3510" fmla="*/ 1319982 w 5794893"/>
              <a:gd name="connsiteY3510" fmla="*/ 2118905 h 6858000"/>
              <a:gd name="connsiteX3511" fmla="*/ 1426908 w 5794893"/>
              <a:gd name="connsiteY3511" fmla="*/ 2217227 h 6858000"/>
              <a:gd name="connsiteX3512" fmla="*/ 1466237 w 5794893"/>
              <a:gd name="connsiteY3512" fmla="*/ 2163150 h 6858000"/>
              <a:gd name="connsiteX3513" fmla="*/ 1359311 w 5794893"/>
              <a:gd name="connsiteY3513" fmla="*/ 2064827 h 6858000"/>
              <a:gd name="connsiteX3514" fmla="*/ 178209 w 5794893"/>
              <a:gd name="connsiteY3514" fmla="*/ 2063597 h 6858000"/>
              <a:gd name="connsiteX3515" fmla="*/ 119216 w 5794893"/>
              <a:gd name="connsiteY3515" fmla="*/ 2068514 h 6858000"/>
              <a:gd name="connsiteX3516" fmla="*/ 129048 w 5794893"/>
              <a:gd name="connsiteY3516" fmla="*/ 2217227 h 6858000"/>
              <a:gd name="connsiteX3517" fmla="*/ 188042 w 5794893"/>
              <a:gd name="connsiteY3517" fmla="*/ 2212311 h 6858000"/>
              <a:gd name="connsiteX3518" fmla="*/ 178209 w 5794893"/>
              <a:gd name="connsiteY3518" fmla="*/ 2063597 h 6858000"/>
              <a:gd name="connsiteX3519" fmla="*/ 296197 w 5794893"/>
              <a:gd name="connsiteY3519" fmla="*/ 2063597 h 6858000"/>
              <a:gd name="connsiteX3520" fmla="*/ 239661 w 5794893"/>
              <a:gd name="connsiteY3520" fmla="*/ 2073430 h 6858000"/>
              <a:gd name="connsiteX3521" fmla="*/ 259326 w 5794893"/>
              <a:gd name="connsiteY3521" fmla="*/ 2217227 h 6858000"/>
              <a:gd name="connsiteX3522" fmla="*/ 315861 w 5794893"/>
              <a:gd name="connsiteY3522" fmla="*/ 2207395 h 6858000"/>
              <a:gd name="connsiteX3523" fmla="*/ 296197 w 5794893"/>
              <a:gd name="connsiteY3523" fmla="*/ 2063597 h 6858000"/>
              <a:gd name="connsiteX3524" fmla="*/ 532171 w 5794893"/>
              <a:gd name="connsiteY3524" fmla="*/ 2063597 h 6858000"/>
              <a:gd name="connsiteX3525" fmla="*/ 479323 w 5794893"/>
              <a:gd name="connsiteY3525" fmla="*/ 2084492 h 6858000"/>
              <a:gd name="connsiteX3526" fmla="*/ 518652 w 5794893"/>
              <a:gd name="connsiteY3526" fmla="*/ 2217227 h 6858000"/>
              <a:gd name="connsiteX3527" fmla="*/ 571500 w 5794893"/>
              <a:gd name="connsiteY3527" fmla="*/ 2197563 h 6858000"/>
              <a:gd name="connsiteX3528" fmla="*/ 532171 w 5794893"/>
              <a:gd name="connsiteY3528" fmla="*/ 2063597 h 6858000"/>
              <a:gd name="connsiteX3529" fmla="*/ 651388 w 5794893"/>
              <a:gd name="connsiteY3529" fmla="*/ 2063597 h 6858000"/>
              <a:gd name="connsiteX3530" fmla="*/ 599769 w 5794893"/>
              <a:gd name="connsiteY3530" fmla="*/ 2089408 h 6858000"/>
              <a:gd name="connsiteX3531" fmla="*/ 648930 w 5794893"/>
              <a:gd name="connsiteY3531" fmla="*/ 2217227 h 6858000"/>
              <a:gd name="connsiteX3532" fmla="*/ 699320 w 5794893"/>
              <a:gd name="connsiteY3532" fmla="*/ 2192647 h 6858000"/>
              <a:gd name="connsiteX3533" fmla="*/ 651388 w 5794893"/>
              <a:gd name="connsiteY3533" fmla="*/ 2063597 h 6858000"/>
              <a:gd name="connsiteX3534" fmla="*/ 769375 w 5794893"/>
              <a:gd name="connsiteY3534" fmla="*/ 2063597 h 6858000"/>
              <a:gd name="connsiteX3535" fmla="*/ 720214 w 5794893"/>
              <a:gd name="connsiteY3535" fmla="*/ 2094324 h 6858000"/>
              <a:gd name="connsiteX3536" fmla="*/ 777978 w 5794893"/>
              <a:gd name="connsiteY3536" fmla="*/ 2217227 h 6858000"/>
              <a:gd name="connsiteX3537" fmla="*/ 827139 w 5794893"/>
              <a:gd name="connsiteY3537" fmla="*/ 2187731 h 6858000"/>
              <a:gd name="connsiteX3538" fmla="*/ 769375 w 5794893"/>
              <a:gd name="connsiteY3538" fmla="*/ 2063597 h 6858000"/>
              <a:gd name="connsiteX3539" fmla="*/ 887362 w 5794893"/>
              <a:gd name="connsiteY3539" fmla="*/ 2063597 h 6858000"/>
              <a:gd name="connsiteX3540" fmla="*/ 840659 w 5794893"/>
              <a:gd name="connsiteY3540" fmla="*/ 2098010 h 6858000"/>
              <a:gd name="connsiteX3541" fmla="*/ 908255 w 5794893"/>
              <a:gd name="connsiteY3541" fmla="*/ 2217227 h 6858000"/>
              <a:gd name="connsiteX3542" fmla="*/ 954959 w 5794893"/>
              <a:gd name="connsiteY3542" fmla="*/ 2182814 h 6858000"/>
              <a:gd name="connsiteX3543" fmla="*/ 887362 w 5794893"/>
              <a:gd name="connsiteY3543" fmla="*/ 2063597 h 6858000"/>
              <a:gd name="connsiteX3544" fmla="*/ 1005350 w 5794893"/>
              <a:gd name="connsiteY3544" fmla="*/ 2063597 h 6858000"/>
              <a:gd name="connsiteX3545" fmla="*/ 959875 w 5794893"/>
              <a:gd name="connsiteY3545" fmla="*/ 2101698 h 6858000"/>
              <a:gd name="connsiteX3546" fmla="*/ 1037304 w 5794893"/>
              <a:gd name="connsiteY3546" fmla="*/ 2215998 h 6858000"/>
              <a:gd name="connsiteX3547" fmla="*/ 1082778 w 5794893"/>
              <a:gd name="connsiteY3547" fmla="*/ 2176669 h 6858000"/>
              <a:gd name="connsiteX3548" fmla="*/ 1005350 w 5794893"/>
              <a:gd name="connsiteY3548" fmla="*/ 2063597 h 6858000"/>
              <a:gd name="connsiteX3549" fmla="*/ 1123337 w 5794893"/>
              <a:gd name="connsiteY3549" fmla="*/ 2063597 h 6858000"/>
              <a:gd name="connsiteX3550" fmla="*/ 1080320 w 5794893"/>
              <a:gd name="connsiteY3550" fmla="*/ 2109072 h 6858000"/>
              <a:gd name="connsiteX3551" fmla="*/ 1167582 w 5794893"/>
              <a:gd name="connsiteY3551" fmla="*/ 2217227 h 6858000"/>
              <a:gd name="connsiteX3552" fmla="*/ 1210598 w 5794893"/>
              <a:gd name="connsiteY3552" fmla="*/ 2172982 h 6858000"/>
              <a:gd name="connsiteX3553" fmla="*/ 1123337 w 5794893"/>
              <a:gd name="connsiteY3553" fmla="*/ 2063597 h 6858000"/>
              <a:gd name="connsiteX3554" fmla="*/ 415413 w 5794893"/>
              <a:gd name="connsiteY3554" fmla="*/ 2064827 h 6858000"/>
              <a:gd name="connsiteX3555" fmla="*/ 360106 w 5794893"/>
              <a:gd name="connsiteY3555" fmla="*/ 2079576 h 6858000"/>
              <a:gd name="connsiteX3556" fmla="*/ 389603 w 5794893"/>
              <a:gd name="connsiteY3556" fmla="*/ 2217227 h 6858000"/>
              <a:gd name="connsiteX3557" fmla="*/ 444910 w 5794893"/>
              <a:gd name="connsiteY3557" fmla="*/ 2203707 h 6858000"/>
              <a:gd name="connsiteX3558" fmla="*/ 415413 w 5794893"/>
              <a:gd name="connsiteY3558" fmla="*/ 2064827 h 6858000"/>
              <a:gd name="connsiteX3559" fmla="*/ 178209 w 5794893"/>
              <a:gd name="connsiteY3559" fmla="*/ 2252869 h 6858000"/>
              <a:gd name="connsiteX3560" fmla="*/ 119216 w 5794893"/>
              <a:gd name="connsiteY3560" fmla="*/ 2257785 h 6858000"/>
              <a:gd name="connsiteX3561" fmla="*/ 129048 w 5794893"/>
              <a:gd name="connsiteY3561" fmla="*/ 2406498 h 6858000"/>
              <a:gd name="connsiteX3562" fmla="*/ 188042 w 5794893"/>
              <a:gd name="connsiteY3562" fmla="*/ 2400353 h 6858000"/>
              <a:gd name="connsiteX3563" fmla="*/ 178209 w 5794893"/>
              <a:gd name="connsiteY3563" fmla="*/ 2252869 h 6858000"/>
              <a:gd name="connsiteX3564" fmla="*/ 415413 w 5794893"/>
              <a:gd name="connsiteY3564" fmla="*/ 2252869 h 6858000"/>
              <a:gd name="connsiteX3565" fmla="*/ 360106 w 5794893"/>
              <a:gd name="connsiteY3565" fmla="*/ 2267617 h 6858000"/>
              <a:gd name="connsiteX3566" fmla="*/ 389603 w 5794893"/>
              <a:gd name="connsiteY3566" fmla="*/ 2406498 h 6858000"/>
              <a:gd name="connsiteX3567" fmla="*/ 444910 w 5794893"/>
              <a:gd name="connsiteY3567" fmla="*/ 2390520 h 6858000"/>
              <a:gd name="connsiteX3568" fmla="*/ 415413 w 5794893"/>
              <a:gd name="connsiteY3568" fmla="*/ 2252869 h 6858000"/>
              <a:gd name="connsiteX3569" fmla="*/ 887362 w 5794893"/>
              <a:gd name="connsiteY3569" fmla="*/ 2252869 h 6858000"/>
              <a:gd name="connsiteX3570" fmla="*/ 840659 w 5794893"/>
              <a:gd name="connsiteY3570" fmla="*/ 2287282 h 6858000"/>
              <a:gd name="connsiteX3571" fmla="*/ 908255 w 5794893"/>
              <a:gd name="connsiteY3571" fmla="*/ 2406498 h 6858000"/>
              <a:gd name="connsiteX3572" fmla="*/ 954959 w 5794893"/>
              <a:gd name="connsiteY3572" fmla="*/ 2370856 h 6858000"/>
              <a:gd name="connsiteX3573" fmla="*/ 887362 w 5794893"/>
              <a:gd name="connsiteY3573" fmla="*/ 2252869 h 6858000"/>
              <a:gd name="connsiteX3574" fmla="*/ 1240094 w 5794893"/>
              <a:gd name="connsiteY3574" fmla="*/ 2252869 h 6858000"/>
              <a:gd name="connsiteX3575" fmla="*/ 1199537 w 5794893"/>
              <a:gd name="connsiteY3575" fmla="*/ 2302030 h 6858000"/>
              <a:gd name="connsiteX3576" fmla="*/ 1296630 w 5794893"/>
              <a:gd name="connsiteY3576" fmla="*/ 2406498 h 6858000"/>
              <a:gd name="connsiteX3577" fmla="*/ 1338417 w 5794893"/>
              <a:gd name="connsiteY3577" fmla="*/ 2357337 h 6858000"/>
              <a:gd name="connsiteX3578" fmla="*/ 1240094 w 5794893"/>
              <a:gd name="connsiteY3578" fmla="*/ 2252869 h 6858000"/>
              <a:gd name="connsiteX3579" fmla="*/ 1359311 w 5794893"/>
              <a:gd name="connsiteY3579" fmla="*/ 2254098 h 6858000"/>
              <a:gd name="connsiteX3580" fmla="*/ 1319982 w 5794893"/>
              <a:gd name="connsiteY3580" fmla="*/ 2308176 h 6858000"/>
              <a:gd name="connsiteX3581" fmla="*/ 1426908 w 5794893"/>
              <a:gd name="connsiteY3581" fmla="*/ 2407727 h 6858000"/>
              <a:gd name="connsiteX3582" fmla="*/ 1466237 w 5794893"/>
              <a:gd name="connsiteY3582" fmla="*/ 2352421 h 6858000"/>
              <a:gd name="connsiteX3583" fmla="*/ 1359311 w 5794893"/>
              <a:gd name="connsiteY3583" fmla="*/ 2254098 h 6858000"/>
              <a:gd name="connsiteX3584" fmla="*/ 1005350 w 5794893"/>
              <a:gd name="connsiteY3584" fmla="*/ 2254098 h 6858000"/>
              <a:gd name="connsiteX3585" fmla="*/ 959875 w 5794893"/>
              <a:gd name="connsiteY3585" fmla="*/ 2293427 h 6858000"/>
              <a:gd name="connsiteX3586" fmla="*/ 1037304 w 5794893"/>
              <a:gd name="connsiteY3586" fmla="*/ 2406498 h 6858000"/>
              <a:gd name="connsiteX3587" fmla="*/ 1082778 w 5794893"/>
              <a:gd name="connsiteY3587" fmla="*/ 2367169 h 6858000"/>
              <a:gd name="connsiteX3588" fmla="*/ 1005350 w 5794893"/>
              <a:gd name="connsiteY3588" fmla="*/ 2254098 h 6858000"/>
              <a:gd name="connsiteX3589" fmla="*/ 1123337 w 5794893"/>
              <a:gd name="connsiteY3589" fmla="*/ 2254098 h 6858000"/>
              <a:gd name="connsiteX3590" fmla="*/ 1080320 w 5794893"/>
              <a:gd name="connsiteY3590" fmla="*/ 2298344 h 6858000"/>
              <a:gd name="connsiteX3591" fmla="*/ 1167582 w 5794893"/>
              <a:gd name="connsiteY3591" fmla="*/ 2406498 h 6858000"/>
              <a:gd name="connsiteX3592" fmla="*/ 1210598 w 5794893"/>
              <a:gd name="connsiteY3592" fmla="*/ 2362253 h 6858000"/>
              <a:gd name="connsiteX3593" fmla="*/ 1123337 w 5794893"/>
              <a:gd name="connsiteY3593" fmla="*/ 2254098 h 6858000"/>
              <a:gd name="connsiteX3594" fmla="*/ 532171 w 5794893"/>
              <a:gd name="connsiteY3594" fmla="*/ 2254098 h 6858000"/>
              <a:gd name="connsiteX3595" fmla="*/ 479323 w 5794893"/>
              <a:gd name="connsiteY3595" fmla="*/ 2273763 h 6858000"/>
              <a:gd name="connsiteX3596" fmla="*/ 518652 w 5794893"/>
              <a:gd name="connsiteY3596" fmla="*/ 2406498 h 6858000"/>
              <a:gd name="connsiteX3597" fmla="*/ 571500 w 5794893"/>
              <a:gd name="connsiteY3597" fmla="*/ 2386834 h 6858000"/>
              <a:gd name="connsiteX3598" fmla="*/ 532171 w 5794893"/>
              <a:gd name="connsiteY3598" fmla="*/ 2254098 h 6858000"/>
              <a:gd name="connsiteX3599" fmla="*/ 651388 w 5794893"/>
              <a:gd name="connsiteY3599" fmla="*/ 2254098 h 6858000"/>
              <a:gd name="connsiteX3600" fmla="*/ 599769 w 5794893"/>
              <a:gd name="connsiteY3600" fmla="*/ 2277449 h 6858000"/>
              <a:gd name="connsiteX3601" fmla="*/ 648930 w 5794893"/>
              <a:gd name="connsiteY3601" fmla="*/ 2406498 h 6858000"/>
              <a:gd name="connsiteX3602" fmla="*/ 699320 w 5794893"/>
              <a:gd name="connsiteY3602" fmla="*/ 2381918 h 6858000"/>
              <a:gd name="connsiteX3603" fmla="*/ 651388 w 5794893"/>
              <a:gd name="connsiteY3603" fmla="*/ 2254098 h 6858000"/>
              <a:gd name="connsiteX3604" fmla="*/ 768145 w 5794893"/>
              <a:gd name="connsiteY3604" fmla="*/ 2254098 h 6858000"/>
              <a:gd name="connsiteX3605" fmla="*/ 720214 w 5794893"/>
              <a:gd name="connsiteY3605" fmla="*/ 2282365 h 6858000"/>
              <a:gd name="connsiteX3606" fmla="*/ 777978 w 5794893"/>
              <a:gd name="connsiteY3606" fmla="*/ 2406498 h 6858000"/>
              <a:gd name="connsiteX3607" fmla="*/ 827139 w 5794893"/>
              <a:gd name="connsiteY3607" fmla="*/ 2377002 h 6858000"/>
              <a:gd name="connsiteX3608" fmla="*/ 768145 w 5794893"/>
              <a:gd name="connsiteY3608" fmla="*/ 2254098 h 6858000"/>
              <a:gd name="connsiteX3609" fmla="*/ 296197 w 5794893"/>
              <a:gd name="connsiteY3609" fmla="*/ 2254098 h 6858000"/>
              <a:gd name="connsiteX3610" fmla="*/ 239661 w 5794893"/>
              <a:gd name="connsiteY3610" fmla="*/ 2262701 h 6858000"/>
              <a:gd name="connsiteX3611" fmla="*/ 259326 w 5794893"/>
              <a:gd name="connsiteY3611" fmla="*/ 2406498 h 6858000"/>
              <a:gd name="connsiteX3612" fmla="*/ 315861 w 5794893"/>
              <a:gd name="connsiteY3612" fmla="*/ 2396666 h 6858000"/>
              <a:gd name="connsiteX3613" fmla="*/ 296197 w 5794893"/>
              <a:gd name="connsiteY3613" fmla="*/ 2254098 h 6858000"/>
              <a:gd name="connsiteX3614" fmla="*/ 651388 w 5794893"/>
              <a:gd name="connsiteY3614" fmla="*/ 2447056 h 6858000"/>
              <a:gd name="connsiteX3615" fmla="*/ 599769 w 5794893"/>
              <a:gd name="connsiteY3615" fmla="*/ 2471637 h 6858000"/>
              <a:gd name="connsiteX3616" fmla="*/ 648930 w 5794893"/>
              <a:gd name="connsiteY3616" fmla="*/ 2600686 h 6858000"/>
              <a:gd name="connsiteX3617" fmla="*/ 699320 w 5794893"/>
              <a:gd name="connsiteY3617" fmla="*/ 2574875 h 6858000"/>
              <a:gd name="connsiteX3618" fmla="*/ 651388 w 5794893"/>
              <a:gd name="connsiteY3618" fmla="*/ 2447056 h 6858000"/>
              <a:gd name="connsiteX3619" fmla="*/ 887362 w 5794893"/>
              <a:gd name="connsiteY3619" fmla="*/ 2447056 h 6858000"/>
              <a:gd name="connsiteX3620" fmla="*/ 840659 w 5794893"/>
              <a:gd name="connsiteY3620" fmla="*/ 2481469 h 6858000"/>
              <a:gd name="connsiteX3621" fmla="*/ 908255 w 5794893"/>
              <a:gd name="connsiteY3621" fmla="*/ 2600686 h 6858000"/>
              <a:gd name="connsiteX3622" fmla="*/ 954959 w 5794893"/>
              <a:gd name="connsiteY3622" fmla="*/ 2566273 h 6858000"/>
              <a:gd name="connsiteX3623" fmla="*/ 887362 w 5794893"/>
              <a:gd name="connsiteY3623" fmla="*/ 2447056 h 6858000"/>
              <a:gd name="connsiteX3624" fmla="*/ 1123337 w 5794893"/>
              <a:gd name="connsiteY3624" fmla="*/ 2447056 h 6858000"/>
              <a:gd name="connsiteX3625" fmla="*/ 1080320 w 5794893"/>
              <a:gd name="connsiteY3625" fmla="*/ 2491301 h 6858000"/>
              <a:gd name="connsiteX3626" fmla="*/ 1167582 w 5794893"/>
              <a:gd name="connsiteY3626" fmla="*/ 2600686 h 6858000"/>
              <a:gd name="connsiteX3627" fmla="*/ 1210598 w 5794893"/>
              <a:gd name="connsiteY3627" fmla="*/ 2556441 h 6858000"/>
              <a:gd name="connsiteX3628" fmla="*/ 1123337 w 5794893"/>
              <a:gd name="connsiteY3628" fmla="*/ 2447056 h 6858000"/>
              <a:gd name="connsiteX3629" fmla="*/ 1242552 w 5794893"/>
              <a:gd name="connsiteY3629" fmla="*/ 2447056 h 6858000"/>
              <a:gd name="connsiteX3630" fmla="*/ 1200765 w 5794893"/>
              <a:gd name="connsiteY3630" fmla="*/ 2496217 h 6858000"/>
              <a:gd name="connsiteX3631" fmla="*/ 1297860 w 5794893"/>
              <a:gd name="connsiteY3631" fmla="*/ 2600686 h 6858000"/>
              <a:gd name="connsiteX3632" fmla="*/ 1338417 w 5794893"/>
              <a:gd name="connsiteY3632" fmla="*/ 2551524 h 6858000"/>
              <a:gd name="connsiteX3633" fmla="*/ 1242552 w 5794893"/>
              <a:gd name="connsiteY3633" fmla="*/ 2447056 h 6858000"/>
              <a:gd name="connsiteX3634" fmla="*/ 1359311 w 5794893"/>
              <a:gd name="connsiteY3634" fmla="*/ 2448286 h 6858000"/>
              <a:gd name="connsiteX3635" fmla="*/ 1319982 w 5794893"/>
              <a:gd name="connsiteY3635" fmla="*/ 2502363 h 6858000"/>
              <a:gd name="connsiteX3636" fmla="*/ 1426908 w 5794893"/>
              <a:gd name="connsiteY3636" fmla="*/ 2600686 h 6858000"/>
              <a:gd name="connsiteX3637" fmla="*/ 1466237 w 5794893"/>
              <a:gd name="connsiteY3637" fmla="*/ 2546608 h 6858000"/>
              <a:gd name="connsiteX3638" fmla="*/ 1359311 w 5794893"/>
              <a:gd name="connsiteY3638" fmla="*/ 2448286 h 6858000"/>
              <a:gd name="connsiteX3639" fmla="*/ 1005350 w 5794893"/>
              <a:gd name="connsiteY3639" fmla="*/ 2448286 h 6858000"/>
              <a:gd name="connsiteX3640" fmla="*/ 959875 w 5794893"/>
              <a:gd name="connsiteY3640" fmla="*/ 2487615 h 6858000"/>
              <a:gd name="connsiteX3641" fmla="*/ 1037304 w 5794893"/>
              <a:gd name="connsiteY3641" fmla="*/ 2600686 h 6858000"/>
              <a:gd name="connsiteX3642" fmla="*/ 1082778 w 5794893"/>
              <a:gd name="connsiteY3642" fmla="*/ 2561357 h 6858000"/>
              <a:gd name="connsiteX3643" fmla="*/ 1005350 w 5794893"/>
              <a:gd name="connsiteY3643" fmla="*/ 2448286 h 6858000"/>
              <a:gd name="connsiteX3644" fmla="*/ 769375 w 5794893"/>
              <a:gd name="connsiteY3644" fmla="*/ 2448286 h 6858000"/>
              <a:gd name="connsiteX3645" fmla="*/ 720214 w 5794893"/>
              <a:gd name="connsiteY3645" fmla="*/ 2477782 h 6858000"/>
              <a:gd name="connsiteX3646" fmla="*/ 777978 w 5794893"/>
              <a:gd name="connsiteY3646" fmla="*/ 2601914 h 6858000"/>
              <a:gd name="connsiteX3647" fmla="*/ 827139 w 5794893"/>
              <a:gd name="connsiteY3647" fmla="*/ 2572417 h 6858000"/>
              <a:gd name="connsiteX3648" fmla="*/ 769375 w 5794893"/>
              <a:gd name="connsiteY3648" fmla="*/ 2448286 h 6858000"/>
              <a:gd name="connsiteX3649" fmla="*/ 178209 w 5794893"/>
              <a:gd name="connsiteY3649" fmla="*/ 2448286 h 6858000"/>
              <a:gd name="connsiteX3650" fmla="*/ 119216 w 5794893"/>
              <a:gd name="connsiteY3650" fmla="*/ 2453202 h 6858000"/>
              <a:gd name="connsiteX3651" fmla="*/ 129048 w 5794893"/>
              <a:gd name="connsiteY3651" fmla="*/ 2601914 h 6858000"/>
              <a:gd name="connsiteX3652" fmla="*/ 188042 w 5794893"/>
              <a:gd name="connsiteY3652" fmla="*/ 2596998 h 6858000"/>
              <a:gd name="connsiteX3653" fmla="*/ 178209 w 5794893"/>
              <a:gd name="connsiteY3653" fmla="*/ 2448286 h 6858000"/>
              <a:gd name="connsiteX3654" fmla="*/ 297426 w 5794893"/>
              <a:gd name="connsiteY3654" fmla="*/ 2448286 h 6858000"/>
              <a:gd name="connsiteX3655" fmla="*/ 240891 w 5794893"/>
              <a:gd name="connsiteY3655" fmla="*/ 2458118 h 6858000"/>
              <a:gd name="connsiteX3656" fmla="*/ 260555 w 5794893"/>
              <a:gd name="connsiteY3656" fmla="*/ 2601914 h 6858000"/>
              <a:gd name="connsiteX3657" fmla="*/ 317091 w 5794893"/>
              <a:gd name="connsiteY3657" fmla="*/ 2592082 h 6858000"/>
              <a:gd name="connsiteX3658" fmla="*/ 297426 w 5794893"/>
              <a:gd name="connsiteY3658" fmla="*/ 2448286 h 6858000"/>
              <a:gd name="connsiteX3659" fmla="*/ 415413 w 5794893"/>
              <a:gd name="connsiteY3659" fmla="*/ 2448286 h 6858000"/>
              <a:gd name="connsiteX3660" fmla="*/ 360106 w 5794893"/>
              <a:gd name="connsiteY3660" fmla="*/ 2463034 h 6858000"/>
              <a:gd name="connsiteX3661" fmla="*/ 389603 w 5794893"/>
              <a:gd name="connsiteY3661" fmla="*/ 2601914 h 6858000"/>
              <a:gd name="connsiteX3662" fmla="*/ 444910 w 5794893"/>
              <a:gd name="connsiteY3662" fmla="*/ 2587166 h 6858000"/>
              <a:gd name="connsiteX3663" fmla="*/ 415413 w 5794893"/>
              <a:gd name="connsiteY3663" fmla="*/ 2448286 h 6858000"/>
              <a:gd name="connsiteX3664" fmla="*/ 532171 w 5794893"/>
              <a:gd name="connsiteY3664" fmla="*/ 2448286 h 6858000"/>
              <a:gd name="connsiteX3665" fmla="*/ 479323 w 5794893"/>
              <a:gd name="connsiteY3665" fmla="*/ 2467950 h 6858000"/>
              <a:gd name="connsiteX3666" fmla="*/ 518652 w 5794893"/>
              <a:gd name="connsiteY3666" fmla="*/ 2601914 h 6858000"/>
              <a:gd name="connsiteX3667" fmla="*/ 571500 w 5794893"/>
              <a:gd name="connsiteY3667" fmla="*/ 2582250 h 6858000"/>
              <a:gd name="connsiteX3668" fmla="*/ 532171 w 5794893"/>
              <a:gd name="connsiteY3668" fmla="*/ 2448286 h 6858000"/>
              <a:gd name="connsiteX3669" fmla="*/ 415413 w 5794893"/>
              <a:gd name="connsiteY3669" fmla="*/ 2641243 h 6858000"/>
              <a:gd name="connsiteX3670" fmla="*/ 360106 w 5794893"/>
              <a:gd name="connsiteY3670" fmla="*/ 2655992 h 6858000"/>
              <a:gd name="connsiteX3671" fmla="*/ 389603 w 5794893"/>
              <a:gd name="connsiteY3671" fmla="*/ 2794873 h 6858000"/>
              <a:gd name="connsiteX3672" fmla="*/ 444910 w 5794893"/>
              <a:gd name="connsiteY3672" fmla="*/ 2780125 h 6858000"/>
              <a:gd name="connsiteX3673" fmla="*/ 415413 w 5794893"/>
              <a:gd name="connsiteY3673" fmla="*/ 2641243 h 6858000"/>
              <a:gd name="connsiteX3674" fmla="*/ 651388 w 5794893"/>
              <a:gd name="connsiteY3674" fmla="*/ 2641243 h 6858000"/>
              <a:gd name="connsiteX3675" fmla="*/ 599769 w 5794893"/>
              <a:gd name="connsiteY3675" fmla="*/ 2665824 h 6858000"/>
              <a:gd name="connsiteX3676" fmla="*/ 648930 w 5794893"/>
              <a:gd name="connsiteY3676" fmla="*/ 2794873 h 6858000"/>
              <a:gd name="connsiteX3677" fmla="*/ 699320 w 5794893"/>
              <a:gd name="connsiteY3677" fmla="*/ 2769063 h 6858000"/>
              <a:gd name="connsiteX3678" fmla="*/ 651388 w 5794893"/>
              <a:gd name="connsiteY3678" fmla="*/ 2641243 h 6858000"/>
              <a:gd name="connsiteX3679" fmla="*/ 769375 w 5794893"/>
              <a:gd name="connsiteY3679" fmla="*/ 2642473 h 6858000"/>
              <a:gd name="connsiteX3680" fmla="*/ 720214 w 5794893"/>
              <a:gd name="connsiteY3680" fmla="*/ 2671970 h 6858000"/>
              <a:gd name="connsiteX3681" fmla="*/ 777978 w 5794893"/>
              <a:gd name="connsiteY3681" fmla="*/ 2796101 h 6858000"/>
              <a:gd name="connsiteX3682" fmla="*/ 827139 w 5794893"/>
              <a:gd name="connsiteY3682" fmla="*/ 2766605 h 6858000"/>
              <a:gd name="connsiteX3683" fmla="*/ 769375 w 5794893"/>
              <a:gd name="connsiteY3683" fmla="*/ 2642473 h 6858000"/>
              <a:gd name="connsiteX3684" fmla="*/ 887362 w 5794893"/>
              <a:gd name="connsiteY3684" fmla="*/ 2642473 h 6858000"/>
              <a:gd name="connsiteX3685" fmla="*/ 840659 w 5794893"/>
              <a:gd name="connsiteY3685" fmla="*/ 2676886 h 6858000"/>
              <a:gd name="connsiteX3686" fmla="*/ 908255 w 5794893"/>
              <a:gd name="connsiteY3686" fmla="*/ 2796101 h 6858000"/>
              <a:gd name="connsiteX3687" fmla="*/ 954959 w 5794893"/>
              <a:gd name="connsiteY3687" fmla="*/ 2761689 h 6858000"/>
              <a:gd name="connsiteX3688" fmla="*/ 887362 w 5794893"/>
              <a:gd name="connsiteY3688" fmla="*/ 2642473 h 6858000"/>
              <a:gd name="connsiteX3689" fmla="*/ 1005350 w 5794893"/>
              <a:gd name="connsiteY3689" fmla="*/ 2642473 h 6858000"/>
              <a:gd name="connsiteX3690" fmla="*/ 959875 w 5794893"/>
              <a:gd name="connsiteY3690" fmla="*/ 2681802 h 6858000"/>
              <a:gd name="connsiteX3691" fmla="*/ 1037304 w 5794893"/>
              <a:gd name="connsiteY3691" fmla="*/ 2794873 h 6858000"/>
              <a:gd name="connsiteX3692" fmla="*/ 1082778 w 5794893"/>
              <a:gd name="connsiteY3692" fmla="*/ 2755544 h 6858000"/>
              <a:gd name="connsiteX3693" fmla="*/ 1005350 w 5794893"/>
              <a:gd name="connsiteY3693" fmla="*/ 2642473 h 6858000"/>
              <a:gd name="connsiteX3694" fmla="*/ 1123337 w 5794893"/>
              <a:gd name="connsiteY3694" fmla="*/ 2642473 h 6858000"/>
              <a:gd name="connsiteX3695" fmla="*/ 1080320 w 5794893"/>
              <a:gd name="connsiteY3695" fmla="*/ 2686718 h 6858000"/>
              <a:gd name="connsiteX3696" fmla="*/ 1167582 w 5794893"/>
              <a:gd name="connsiteY3696" fmla="*/ 2796101 h 6858000"/>
              <a:gd name="connsiteX3697" fmla="*/ 1210598 w 5794893"/>
              <a:gd name="connsiteY3697" fmla="*/ 2751856 h 6858000"/>
              <a:gd name="connsiteX3698" fmla="*/ 1123337 w 5794893"/>
              <a:gd name="connsiteY3698" fmla="*/ 2642473 h 6858000"/>
              <a:gd name="connsiteX3699" fmla="*/ 1240094 w 5794893"/>
              <a:gd name="connsiteY3699" fmla="*/ 2642473 h 6858000"/>
              <a:gd name="connsiteX3700" fmla="*/ 1199537 w 5794893"/>
              <a:gd name="connsiteY3700" fmla="*/ 2691634 h 6858000"/>
              <a:gd name="connsiteX3701" fmla="*/ 1296630 w 5794893"/>
              <a:gd name="connsiteY3701" fmla="*/ 2794873 h 6858000"/>
              <a:gd name="connsiteX3702" fmla="*/ 1338417 w 5794893"/>
              <a:gd name="connsiteY3702" fmla="*/ 2745712 h 6858000"/>
              <a:gd name="connsiteX3703" fmla="*/ 1240094 w 5794893"/>
              <a:gd name="connsiteY3703" fmla="*/ 2642473 h 6858000"/>
              <a:gd name="connsiteX3704" fmla="*/ 1359311 w 5794893"/>
              <a:gd name="connsiteY3704" fmla="*/ 2642473 h 6858000"/>
              <a:gd name="connsiteX3705" fmla="*/ 1319982 w 5794893"/>
              <a:gd name="connsiteY3705" fmla="*/ 2696550 h 6858000"/>
              <a:gd name="connsiteX3706" fmla="*/ 1426908 w 5794893"/>
              <a:gd name="connsiteY3706" fmla="*/ 2794873 h 6858000"/>
              <a:gd name="connsiteX3707" fmla="*/ 1466237 w 5794893"/>
              <a:gd name="connsiteY3707" fmla="*/ 2740796 h 6858000"/>
              <a:gd name="connsiteX3708" fmla="*/ 1359311 w 5794893"/>
              <a:gd name="connsiteY3708" fmla="*/ 2642473 h 6858000"/>
              <a:gd name="connsiteX3709" fmla="*/ 532171 w 5794893"/>
              <a:gd name="connsiteY3709" fmla="*/ 2642473 h 6858000"/>
              <a:gd name="connsiteX3710" fmla="*/ 479323 w 5794893"/>
              <a:gd name="connsiteY3710" fmla="*/ 2662137 h 6858000"/>
              <a:gd name="connsiteX3711" fmla="*/ 518652 w 5794893"/>
              <a:gd name="connsiteY3711" fmla="*/ 2796101 h 6858000"/>
              <a:gd name="connsiteX3712" fmla="*/ 571500 w 5794893"/>
              <a:gd name="connsiteY3712" fmla="*/ 2776437 h 6858000"/>
              <a:gd name="connsiteX3713" fmla="*/ 532171 w 5794893"/>
              <a:gd name="connsiteY3713" fmla="*/ 2642473 h 6858000"/>
              <a:gd name="connsiteX3714" fmla="*/ 179439 w 5794893"/>
              <a:gd name="connsiteY3714" fmla="*/ 2642473 h 6858000"/>
              <a:gd name="connsiteX3715" fmla="*/ 120445 w 5794893"/>
              <a:gd name="connsiteY3715" fmla="*/ 2647389 h 6858000"/>
              <a:gd name="connsiteX3716" fmla="*/ 129048 w 5794893"/>
              <a:gd name="connsiteY3716" fmla="*/ 2796101 h 6858000"/>
              <a:gd name="connsiteX3717" fmla="*/ 189271 w 5794893"/>
              <a:gd name="connsiteY3717" fmla="*/ 2791185 h 6858000"/>
              <a:gd name="connsiteX3718" fmla="*/ 179439 w 5794893"/>
              <a:gd name="connsiteY3718" fmla="*/ 2642473 h 6858000"/>
              <a:gd name="connsiteX3719" fmla="*/ 296197 w 5794893"/>
              <a:gd name="connsiteY3719" fmla="*/ 2642473 h 6858000"/>
              <a:gd name="connsiteX3720" fmla="*/ 239661 w 5794893"/>
              <a:gd name="connsiteY3720" fmla="*/ 2652305 h 6858000"/>
              <a:gd name="connsiteX3721" fmla="*/ 259326 w 5794893"/>
              <a:gd name="connsiteY3721" fmla="*/ 2796101 h 6858000"/>
              <a:gd name="connsiteX3722" fmla="*/ 315861 w 5794893"/>
              <a:gd name="connsiteY3722" fmla="*/ 2786269 h 6858000"/>
              <a:gd name="connsiteX3723" fmla="*/ 296197 w 5794893"/>
              <a:gd name="connsiteY3723" fmla="*/ 2642473 h 6858000"/>
              <a:gd name="connsiteX3724" fmla="*/ 178209 w 5794893"/>
              <a:gd name="connsiteY3724" fmla="*/ 2836660 h 6858000"/>
              <a:gd name="connsiteX3725" fmla="*/ 119216 w 5794893"/>
              <a:gd name="connsiteY3725" fmla="*/ 2841576 h 6858000"/>
              <a:gd name="connsiteX3726" fmla="*/ 129048 w 5794893"/>
              <a:gd name="connsiteY3726" fmla="*/ 2990289 h 6858000"/>
              <a:gd name="connsiteX3727" fmla="*/ 188042 w 5794893"/>
              <a:gd name="connsiteY3727" fmla="*/ 2985373 h 6858000"/>
              <a:gd name="connsiteX3728" fmla="*/ 178209 w 5794893"/>
              <a:gd name="connsiteY3728" fmla="*/ 2836660 h 6858000"/>
              <a:gd name="connsiteX3729" fmla="*/ 296197 w 5794893"/>
              <a:gd name="connsiteY3729" fmla="*/ 2836660 h 6858000"/>
              <a:gd name="connsiteX3730" fmla="*/ 239661 w 5794893"/>
              <a:gd name="connsiteY3730" fmla="*/ 2846493 h 6858000"/>
              <a:gd name="connsiteX3731" fmla="*/ 259326 w 5794893"/>
              <a:gd name="connsiteY3731" fmla="*/ 2990289 h 6858000"/>
              <a:gd name="connsiteX3732" fmla="*/ 315861 w 5794893"/>
              <a:gd name="connsiteY3732" fmla="*/ 2980457 h 6858000"/>
              <a:gd name="connsiteX3733" fmla="*/ 296197 w 5794893"/>
              <a:gd name="connsiteY3733" fmla="*/ 2836660 h 6858000"/>
              <a:gd name="connsiteX3734" fmla="*/ 415413 w 5794893"/>
              <a:gd name="connsiteY3734" fmla="*/ 2836660 h 6858000"/>
              <a:gd name="connsiteX3735" fmla="*/ 360106 w 5794893"/>
              <a:gd name="connsiteY3735" fmla="*/ 2851409 h 6858000"/>
              <a:gd name="connsiteX3736" fmla="*/ 389603 w 5794893"/>
              <a:gd name="connsiteY3736" fmla="*/ 2990289 h 6858000"/>
              <a:gd name="connsiteX3737" fmla="*/ 444910 w 5794893"/>
              <a:gd name="connsiteY3737" fmla="*/ 2975540 h 6858000"/>
              <a:gd name="connsiteX3738" fmla="*/ 415413 w 5794893"/>
              <a:gd name="connsiteY3738" fmla="*/ 2836660 h 6858000"/>
              <a:gd name="connsiteX3739" fmla="*/ 532171 w 5794893"/>
              <a:gd name="connsiteY3739" fmla="*/ 2836660 h 6858000"/>
              <a:gd name="connsiteX3740" fmla="*/ 479323 w 5794893"/>
              <a:gd name="connsiteY3740" fmla="*/ 2856325 h 6858000"/>
              <a:gd name="connsiteX3741" fmla="*/ 518652 w 5794893"/>
              <a:gd name="connsiteY3741" fmla="*/ 2990289 h 6858000"/>
              <a:gd name="connsiteX3742" fmla="*/ 571500 w 5794893"/>
              <a:gd name="connsiteY3742" fmla="*/ 2970624 h 6858000"/>
              <a:gd name="connsiteX3743" fmla="*/ 532171 w 5794893"/>
              <a:gd name="connsiteY3743" fmla="*/ 2836660 h 6858000"/>
              <a:gd name="connsiteX3744" fmla="*/ 651388 w 5794893"/>
              <a:gd name="connsiteY3744" fmla="*/ 2836660 h 6858000"/>
              <a:gd name="connsiteX3745" fmla="*/ 599769 w 5794893"/>
              <a:gd name="connsiteY3745" fmla="*/ 2861241 h 6858000"/>
              <a:gd name="connsiteX3746" fmla="*/ 648930 w 5794893"/>
              <a:gd name="connsiteY3746" fmla="*/ 2990289 h 6858000"/>
              <a:gd name="connsiteX3747" fmla="*/ 699320 w 5794893"/>
              <a:gd name="connsiteY3747" fmla="*/ 2964480 h 6858000"/>
              <a:gd name="connsiteX3748" fmla="*/ 651388 w 5794893"/>
              <a:gd name="connsiteY3748" fmla="*/ 2836660 h 6858000"/>
              <a:gd name="connsiteX3749" fmla="*/ 769375 w 5794893"/>
              <a:gd name="connsiteY3749" fmla="*/ 2836660 h 6858000"/>
              <a:gd name="connsiteX3750" fmla="*/ 720214 w 5794893"/>
              <a:gd name="connsiteY3750" fmla="*/ 2864927 h 6858000"/>
              <a:gd name="connsiteX3751" fmla="*/ 777978 w 5794893"/>
              <a:gd name="connsiteY3751" fmla="*/ 2989060 h 6858000"/>
              <a:gd name="connsiteX3752" fmla="*/ 827139 w 5794893"/>
              <a:gd name="connsiteY3752" fmla="*/ 2959564 h 6858000"/>
              <a:gd name="connsiteX3753" fmla="*/ 769375 w 5794893"/>
              <a:gd name="connsiteY3753" fmla="*/ 2836660 h 6858000"/>
              <a:gd name="connsiteX3754" fmla="*/ 887362 w 5794893"/>
              <a:gd name="connsiteY3754" fmla="*/ 2836660 h 6858000"/>
              <a:gd name="connsiteX3755" fmla="*/ 840659 w 5794893"/>
              <a:gd name="connsiteY3755" fmla="*/ 2871073 h 6858000"/>
              <a:gd name="connsiteX3756" fmla="*/ 908255 w 5794893"/>
              <a:gd name="connsiteY3756" fmla="*/ 2990289 h 6858000"/>
              <a:gd name="connsiteX3757" fmla="*/ 954959 w 5794893"/>
              <a:gd name="connsiteY3757" fmla="*/ 2955876 h 6858000"/>
              <a:gd name="connsiteX3758" fmla="*/ 887362 w 5794893"/>
              <a:gd name="connsiteY3758" fmla="*/ 2836660 h 6858000"/>
              <a:gd name="connsiteX3759" fmla="*/ 1005350 w 5794893"/>
              <a:gd name="connsiteY3759" fmla="*/ 2836660 h 6858000"/>
              <a:gd name="connsiteX3760" fmla="*/ 959875 w 5794893"/>
              <a:gd name="connsiteY3760" fmla="*/ 2874760 h 6858000"/>
              <a:gd name="connsiteX3761" fmla="*/ 1037304 w 5794893"/>
              <a:gd name="connsiteY3761" fmla="*/ 2989060 h 6858000"/>
              <a:gd name="connsiteX3762" fmla="*/ 1082778 w 5794893"/>
              <a:gd name="connsiteY3762" fmla="*/ 2949731 h 6858000"/>
              <a:gd name="connsiteX3763" fmla="*/ 1005350 w 5794893"/>
              <a:gd name="connsiteY3763" fmla="*/ 2836660 h 6858000"/>
              <a:gd name="connsiteX3764" fmla="*/ 1240094 w 5794893"/>
              <a:gd name="connsiteY3764" fmla="*/ 2836660 h 6858000"/>
              <a:gd name="connsiteX3765" fmla="*/ 1199537 w 5794893"/>
              <a:gd name="connsiteY3765" fmla="*/ 2885822 h 6858000"/>
              <a:gd name="connsiteX3766" fmla="*/ 1296630 w 5794893"/>
              <a:gd name="connsiteY3766" fmla="*/ 2990289 h 6858000"/>
              <a:gd name="connsiteX3767" fmla="*/ 1338417 w 5794893"/>
              <a:gd name="connsiteY3767" fmla="*/ 2941127 h 6858000"/>
              <a:gd name="connsiteX3768" fmla="*/ 1240094 w 5794893"/>
              <a:gd name="connsiteY3768" fmla="*/ 2836660 h 6858000"/>
              <a:gd name="connsiteX3769" fmla="*/ 1359311 w 5794893"/>
              <a:gd name="connsiteY3769" fmla="*/ 2836660 h 6858000"/>
              <a:gd name="connsiteX3770" fmla="*/ 1319982 w 5794893"/>
              <a:gd name="connsiteY3770" fmla="*/ 2890738 h 6858000"/>
              <a:gd name="connsiteX3771" fmla="*/ 1426908 w 5794893"/>
              <a:gd name="connsiteY3771" fmla="*/ 2989060 h 6858000"/>
              <a:gd name="connsiteX3772" fmla="*/ 1466237 w 5794893"/>
              <a:gd name="connsiteY3772" fmla="*/ 2934983 h 6858000"/>
              <a:gd name="connsiteX3773" fmla="*/ 1359311 w 5794893"/>
              <a:gd name="connsiteY3773" fmla="*/ 2836660 h 6858000"/>
              <a:gd name="connsiteX3774" fmla="*/ 1123337 w 5794893"/>
              <a:gd name="connsiteY3774" fmla="*/ 2837889 h 6858000"/>
              <a:gd name="connsiteX3775" fmla="*/ 1080320 w 5794893"/>
              <a:gd name="connsiteY3775" fmla="*/ 2882134 h 6858000"/>
              <a:gd name="connsiteX3776" fmla="*/ 1167582 w 5794893"/>
              <a:gd name="connsiteY3776" fmla="*/ 2990289 h 6858000"/>
              <a:gd name="connsiteX3777" fmla="*/ 1210598 w 5794893"/>
              <a:gd name="connsiteY3777" fmla="*/ 2946044 h 6858000"/>
              <a:gd name="connsiteX3778" fmla="*/ 1123337 w 5794893"/>
              <a:gd name="connsiteY3778" fmla="*/ 2837889 h 6858000"/>
              <a:gd name="connsiteX3779" fmla="*/ 178209 w 5794893"/>
              <a:gd name="connsiteY3779" fmla="*/ 3030848 h 6858000"/>
              <a:gd name="connsiteX3780" fmla="*/ 119216 w 5794893"/>
              <a:gd name="connsiteY3780" fmla="*/ 3035764 h 6858000"/>
              <a:gd name="connsiteX3781" fmla="*/ 129048 w 5794893"/>
              <a:gd name="connsiteY3781" fmla="*/ 3184476 h 6858000"/>
              <a:gd name="connsiteX3782" fmla="*/ 188042 w 5794893"/>
              <a:gd name="connsiteY3782" fmla="*/ 3179560 h 6858000"/>
              <a:gd name="connsiteX3783" fmla="*/ 178209 w 5794893"/>
              <a:gd name="connsiteY3783" fmla="*/ 3030848 h 6858000"/>
              <a:gd name="connsiteX3784" fmla="*/ 296197 w 5794893"/>
              <a:gd name="connsiteY3784" fmla="*/ 3030848 h 6858000"/>
              <a:gd name="connsiteX3785" fmla="*/ 239661 w 5794893"/>
              <a:gd name="connsiteY3785" fmla="*/ 3040680 h 6858000"/>
              <a:gd name="connsiteX3786" fmla="*/ 259326 w 5794893"/>
              <a:gd name="connsiteY3786" fmla="*/ 3184476 h 6858000"/>
              <a:gd name="connsiteX3787" fmla="*/ 315861 w 5794893"/>
              <a:gd name="connsiteY3787" fmla="*/ 3174644 h 6858000"/>
              <a:gd name="connsiteX3788" fmla="*/ 296197 w 5794893"/>
              <a:gd name="connsiteY3788" fmla="*/ 3030848 h 6858000"/>
              <a:gd name="connsiteX3789" fmla="*/ 415413 w 5794893"/>
              <a:gd name="connsiteY3789" fmla="*/ 3030848 h 6858000"/>
              <a:gd name="connsiteX3790" fmla="*/ 360106 w 5794893"/>
              <a:gd name="connsiteY3790" fmla="*/ 3045596 h 6858000"/>
              <a:gd name="connsiteX3791" fmla="*/ 389603 w 5794893"/>
              <a:gd name="connsiteY3791" fmla="*/ 3184476 h 6858000"/>
              <a:gd name="connsiteX3792" fmla="*/ 444910 w 5794893"/>
              <a:gd name="connsiteY3792" fmla="*/ 3169728 h 6858000"/>
              <a:gd name="connsiteX3793" fmla="*/ 415413 w 5794893"/>
              <a:gd name="connsiteY3793" fmla="*/ 3030848 h 6858000"/>
              <a:gd name="connsiteX3794" fmla="*/ 532171 w 5794893"/>
              <a:gd name="connsiteY3794" fmla="*/ 3030848 h 6858000"/>
              <a:gd name="connsiteX3795" fmla="*/ 479323 w 5794893"/>
              <a:gd name="connsiteY3795" fmla="*/ 3050512 h 6858000"/>
              <a:gd name="connsiteX3796" fmla="*/ 518652 w 5794893"/>
              <a:gd name="connsiteY3796" fmla="*/ 3184476 h 6858000"/>
              <a:gd name="connsiteX3797" fmla="*/ 571500 w 5794893"/>
              <a:gd name="connsiteY3797" fmla="*/ 3164812 h 6858000"/>
              <a:gd name="connsiteX3798" fmla="*/ 532171 w 5794893"/>
              <a:gd name="connsiteY3798" fmla="*/ 3030848 h 6858000"/>
              <a:gd name="connsiteX3799" fmla="*/ 651388 w 5794893"/>
              <a:gd name="connsiteY3799" fmla="*/ 3030848 h 6858000"/>
              <a:gd name="connsiteX3800" fmla="*/ 599769 w 5794893"/>
              <a:gd name="connsiteY3800" fmla="*/ 3055428 h 6858000"/>
              <a:gd name="connsiteX3801" fmla="*/ 648930 w 5794893"/>
              <a:gd name="connsiteY3801" fmla="*/ 3184476 h 6858000"/>
              <a:gd name="connsiteX3802" fmla="*/ 699320 w 5794893"/>
              <a:gd name="connsiteY3802" fmla="*/ 3158667 h 6858000"/>
              <a:gd name="connsiteX3803" fmla="*/ 651388 w 5794893"/>
              <a:gd name="connsiteY3803" fmla="*/ 3030848 h 6858000"/>
              <a:gd name="connsiteX3804" fmla="*/ 887362 w 5794893"/>
              <a:gd name="connsiteY3804" fmla="*/ 3030848 h 6858000"/>
              <a:gd name="connsiteX3805" fmla="*/ 840659 w 5794893"/>
              <a:gd name="connsiteY3805" fmla="*/ 3065260 h 6858000"/>
              <a:gd name="connsiteX3806" fmla="*/ 908255 w 5794893"/>
              <a:gd name="connsiteY3806" fmla="*/ 3184476 h 6858000"/>
              <a:gd name="connsiteX3807" fmla="*/ 954959 w 5794893"/>
              <a:gd name="connsiteY3807" fmla="*/ 3148835 h 6858000"/>
              <a:gd name="connsiteX3808" fmla="*/ 887362 w 5794893"/>
              <a:gd name="connsiteY3808" fmla="*/ 3030848 h 6858000"/>
              <a:gd name="connsiteX3809" fmla="*/ 1005350 w 5794893"/>
              <a:gd name="connsiteY3809" fmla="*/ 3030848 h 6858000"/>
              <a:gd name="connsiteX3810" fmla="*/ 959875 w 5794893"/>
              <a:gd name="connsiteY3810" fmla="*/ 3070177 h 6858000"/>
              <a:gd name="connsiteX3811" fmla="*/ 1037304 w 5794893"/>
              <a:gd name="connsiteY3811" fmla="*/ 3183248 h 6858000"/>
              <a:gd name="connsiteX3812" fmla="*/ 1082778 w 5794893"/>
              <a:gd name="connsiteY3812" fmla="*/ 3143919 h 6858000"/>
              <a:gd name="connsiteX3813" fmla="*/ 1005350 w 5794893"/>
              <a:gd name="connsiteY3813" fmla="*/ 3030848 h 6858000"/>
              <a:gd name="connsiteX3814" fmla="*/ 1240094 w 5794893"/>
              <a:gd name="connsiteY3814" fmla="*/ 3030848 h 6858000"/>
              <a:gd name="connsiteX3815" fmla="*/ 1199537 w 5794893"/>
              <a:gd name="connsiteY3815" fmla="*/ 3080009 h 6858000"/>
              <a:gd name="connsiteX3816" fmla="*/ 1296630 w 5794893"/>
              <a:gd name="connsiteY3816" fmla="*/ 3184476 h 6858000"/>
              <a:gd name="connsiteX3817" fmla="*/ 1338417 w 5794893"/>
              <a:gd name="connsiteY3817" fmla="*/ 3135315 h 6858000"/>
              <a:gd name="connsiteX3818" fmla="*/ 1240094 w 5794893"/>
              <a:gd name="connsiteY3818" fmla="*/ 3030848 h 6858000"/>
              <a:gd name="connsiteX3819" fmla="*/ 1359311 w 5794893"/>
              <a:gd name="connsiteY3819" fmla="*/ 3032076 h 6858000"/>
              <a:gd name="connsiteX3820" fmla="*/ 1319982 w 5794893"/>
              <a:gd name="connsiteY3820" fmla="*/ 3086153 h 6858000"/>
              <a:gd name="connsiteX3821" fmla="*/ 1426908 w 5794893"/>
              <a:gd name="connsiteY3821" fmla="*/ 3185706 h 6858000"/>
              <a:gd name="connsiteX3822" fmla="*/ 1466237 w 5794893"/>
              <a:gd name="connsiteY3822" fmla="*/ 3130399 h 6858000"/>
              <a:gd name="connsiteX3823" fmla="*/ 1359311 w 5794893"/>
              <a:gd name="connsiteY3823" fmla="*/ 3032076 h 6858000"/>
              <a:gd name="connsiteX3824" fmla="*/ 1123337 w 5794893"/>
              <a:gd name="connsiteY3824" fmla="*/ 3032076 h 6858000"/>
              <a:gd name="connsiteX3825" fmla="*/ 1080320 w 5794893"/>
              <a:gd name="connsiteY3825" fmla="*/ 3076321 h 6858000"/>
              <a:gd name="connsiteX3826" fmla="*/ 1167582 w 5794893"/>
              <a:gd name="connsiteY3826" fmla="*/ 3184476 h 6858000"/>
              <a:gd name="connsiteX3827" fmla="*/ 1210598 w 5794893"/>
              <a:gd name="connsiteY3827" fmla="*/ 3140231 h 6858000"/>
              <a:gd name="connsiteX3828" fmla="*/ 1123337 w 5794893"/>
              <a:gd name="connsiteY3828" fmla="*/ 3032076 h 6858000"/>
              <a:gd name="connsiteX3829" fmla="*/ 770604 w 5794893"/>
              <a:gd name="connsiteY3829" fmla="*/ 3032076 h 6858000"/>
              <a:gd name="connsiteX3830" fmla="*/ 721442 w 5794893"/>
              <a:gd name="connsiteY3830" fmla="*/ 3061573 h 6858000"/>
              <a:gd name="connsiteX3831" fmla="*/ 779207 w 5794893"/>
              <a:gd name="connsiteY3831" fmla="*/ 3185706 h 6858000"/>
              <a:gd name="connsiteX3832" fmla="*/ 828369 w 5794893"/>
              <a:gd name="connsiteY3832" fmla="*/ 3154979 h 6858000"/>
              <a:gd name="connsiteX3833" fmla="*/ 770604 w 5794893"/>
              <a:gd name="connsiteY3833" fmla="*/ 3032076 h 6858000"/>
              <a:gd name="connsiteX3834" fmla="*/ 178209 w 5794893"/>
              <a:gd name="connsiteY3834" fmla="*/ 3225035 h 6858000"/>
              <a:gd name="connsiteX3835" fmla="*/ 119216 w 5794893"/>
              <a:gd name="connsiteY3835" fmla="*/ 3229951 h 6858000"/>
              <a:gd name="connsiteX3836" fmla="*/ 129048 w 5794893"/>
              <a:gd name="connsiteY3836" fmla="*/ 3378663 h 6858000"/>
              <a:gd name="connsiteX3837" fmla="*/ 188042 w 5794893"/>
              <a:gd name="connsiteY3837" fmla="*/ 3373747 h 6858000"/>
              <a:gd name="connsiteX3838" fmla="*/ 178209 w 5794893"/>
              <a:gd name="connsiteY3838" fmla="*/ 3225035 h 6858000"/>
              <a:gd name="connsiteX3839" fmla="*/ 296197 w 5794893"/>
              <a:gd name="connsiteY3839" fmla="*/ 3225035 h 6858000"/>
              <a:gd name="connsiteX3840" fmla="*/ 239661 w 5794893"/>
              <a:gd name="connsiteY3840" fmla="*/ 3234867 h 6858000"/>
              <a:gd name="connsiteX3841" fmla="*/ 259326 w 5794893"/>
              <a:gd name="connsiteY3841" fmla="*/ 3378663 h 6858000"/>
              <a:gd name="connsiteX3842" fmla="*/ 315861 w 5794893"/>
              <a:gd name="connsiteY3842" fmla="*/ 3368831 h 6858000"/>
              <a:gd name="connsiteX3843" fmla="*/ 296197 w 5794893"/>
              <a:gd name="connsiteY3843" fmla="*/ 3225035 h 6858000"/>
              <a:gd name="connsiteX3844" fmla="*/ 415413 w 5794893"/>
              <a:gd name="connsiteY3844" fmla="*/ 3225035 h 6858000"/>
              <a:gd name="connsiteX3845" fmla="*/ 360106 w 5794893"/>
              <a:gd name="connsiteY3845" fmla="*/ 3239783 h 6858000"/>
              <a:gd name="connsiteX3846" fmla="*/ 389603 w 5794893"/>
              <a:gd name="connsiteY3846" fmla="*/ 3378663 h 6858000"/>
              <a:gd name="connsiteX3847" fmla="*/ 444910 w 5794893"/>
              <a:gd name="connsiteY3847" fmla="*/ 3363915 h 6858000"/>
              <a:gd name="connsiteX3848" fmla="*/ 415413 w 5794893"/>
              <a:gd name="connsiteY3848" fmla="*/ 3225035 h 6858000"/>
              <a:gd name="connsiteX3849" fmla="*/ 532171 w 5794893"/>
              <a:gd name="connsiteY3849" fmla="*/ 3225035 h 6858000"/>
              <a:gd name="connsiteX3850" fmla="*/ 479323 w 5794893"/>
              <a:gd name="connsiteY3850" fmla="*/ 3244699 h 6858000"/>
              <a:gd name="connsiteX3851" fmla="*/ 518652 w 5794893"/>
              <a:gd name="connsiteY3851" fmla="*/ 3378663 h 6858000"/>
              <a:gd name="connsiteX3852" fmla="*/ 571500 w 5794893"/>
              <a:gd name="connsiteY3852" fmla="*/ 3358999 h 6858000"/>
              <a:gd name="connsiteX3853" fmla="*/ 532171 w 5794893"/>
              <a:gd name="connsiteY3853" fmla="*/ 3225035 h 6858000"/>
              <a:gd name="connsiteX3854" fmla="*/ 651388 w 5794893"/>
              <a:gd name="connsiteY3854" fmla="*/ 3225035 h 6858000"/>
              <a:gd name="connsiteX3855" fmla="*/ 599769 w 5794893"/>
              <a:gd name="connsiteY3855" fmla="*/ 3249616 h 6858000"/>
              <a:gd name="connsiteX3856" fmla="*/ 648930 w 5794893"/>
              <a:gd name="connsiteY3856" fmla="*/ 3378663 h 6858000"/>
              <a:gd name="connsiteX3857" fmla="*/ 699320 w 5794893"/>
              <a:gd name="connsiteY3857" fmla="*/ 3352854 h 6858000"/>
              <a:gd name="connsiteX3858" fmla="*/ 651388 w 5794893"/>
              <a:gd name="connsiteY3858" fmla="*/ 3225035 h 6858000"/>
              <a:gd name="connsiteX3859" fmla="*/ 1123337 w 5794893"/>
              <a:gd name="connsiteY3859" fmla="*/ 3225035 h 6858000"/>
              <a:gd name="connsiteX3860" fmla="*/ 1080320 w 5794893"/>
              <a:gd name="connsiteY3860" fmla="*/ 3269280 h 6858000"/>
              <a:gd name="connsiteX3861" fmla="*/ 1167582 w 5794893"/>
              <a:gd name="connsiteY3861" fmla="*/ 3378663 h 6858000"/>
              <a:gd name="connsiteX3862" fmla="*/ 1210598 w 5794893"/>
              <a:gd name="connsiteY3862" fmla="*/ 3334418 h 6858000"/>
              <a:gd name="connsiteX3863" fmla="*/ 1123337 w 5794893"/>
              <a:gd name="connsiteY3863" fmla="*/ 3225035 h 6858000"/>
              <a:gd name="connsiteX3864" fmla="*/ 1241324 w 5794893"/>
              <a:gd name="connsiteY3864" fmla="*/ 3225035 h 6858000"/>
              <a:gd name="connsiteX3865" fmla="*/ 1200765 w 5794893"/>
              <a:gd name="connsiteY3865" fmla="*/ 3274196 h 6858000"/>
              <a:gd name="connsiteX3866" fmla="*/ 1297860 w 5794893"/>
              <a:gd name="connsiteY3866" fmla="*/ 3378663 h 6858000"/>
              <a:gd name="connsiteX3867" fmla="*/ 1338417 w 5794893"/>
              <a:gd name="connsiteY3867" fmla="*/ 3329502 h 6858000"/>
              <a:gd name="connsiteX3868" fmla="*/ 1241324 w 5794893"/>
              <a:gd name="connsiteY3868" fmla="*/ 3225035 h 6858000"/>
              <a:gd name="connsiteX3869" fmla="*/ 1359311 w 5794893"/>
              <a:gd name="connsiteY3869" fmla="*/ 3226263 h 6858000"/>
              <a:gd name="connsiteX3870" fmla="*/ 1319982 w 5794893"/>
              <a:gd name="connsiteY3870" fmla="*/ 3280341 h 6858000"/>
              <a:gd name="connsiteX3871" fmla="*/ 1426908 w 5794893"/>
              <a:gd name="connsiteY3871" fmla="*/ 3379893 h 6858000"/>
              <a:gd name="connsiteX3872" fmla="*/ 1466237 w 5794893"/>
              <a:gd name="connsiteY3872" fmla="*/ 3324586 h 6858000"/>
              <a:gd name="connsiteX3873" fmla="*/ 1359311 w 5794893"/>
              <a:gd name="connsiteY3873" fmla="*/ 3226263 h 6858000"/>
              <a:gd name="connsiteX3874" fmla="*/ 1477299 w 5794893"/>
              <a:gd name="connsiteY3874" fmla="*/ 3226263 h 6858000"/>
              <a:gd name="connsiteX3875" fmla="*/ 1440428 w 5794893"/>
              <a:gd name="connsiteY3875" fmla="*/ 3285257 h 6858000"/>
              <a:gd name="connsiteX3876" fmla="*/ 1557185 w 5794893"/>
              <a:gd name="connsiteY3876" fmla="*/ 3378663 h 6858000"/>
              <a:gd name="connsiteX3877" fmla="*/ 1594056 w 5794893"/>
              <a:gd name="connsiteY3877" fmla="*/ 3319670 h 6858000"/>
              <a:gd name="connsiteX3878" fmla="*/ 1477299 w 5794893"/>
              <a:gd name="connsiteY3878" fmla="*/ 3226263 h 6858000"/>
              <a:gd name="connsiteX3879" fmla="*/ 769375 w 5794893"/>
              <a:gd name="connsiteY3879" fmla="*/ 3226263 h 6858000"/>
              <a:gd name="connsiteX3880" fmla="*/ 720214 w 5794893"/>
              <a:gd name="connsiteY3880" fmla="*/ 3255760 h 6858000"/>
              <a:gd name="connsiteX3881" fmla="*/ 777978 w 5794893"/>
              <a:gd name="connsiteY3881" fmla="*/ 3379893 h 6858000"/>
              <a:gd name="connsiteX3882" fmla="*/ 827139 w 5794893"/>
              <a:gd name="connsiteY3882" fmla="*/ 3350396 h 6858000"/>
              <a:gd name="connsiteX3883" fmla="*/ 769375 w 5794893"/>
              <a:gd name="connsiteY3883" fmla="*/ 3226263 h 6858000"/>
              <a:gd name="connsiteX3884" fmla="*/ 887362 w 5794893"/>
              <a:gd name="connsiteY3884" fmla="*/ 3226263 h 6858000"/>
              <a:gd name="connsiteX3885" fmla="*/ 840659 w 5794893"/>
              <a:gd name="connsiteY3885" fmla="*/ 3260676 h 6858000"/>
              <a:gd name="connsiteX3886" fmla="*/ 908255 w 5794893"/>
              <a:gd name="connsiteY3886" fmla="*/ 3378663 h 6858000"/>
              <a:gd name="connsiteX3887" fmla="*/ 954959 w 5794893"/>
              <a:gd name="connsiteY3887" fmla="*/ 3344250 h 6858000"/>
              <a:gd name="connsiteX3888" fmla="*/ 887362 w 5794893"/>
              <a:gd name="connsiteY3888" fmla="*/ 3226263 h 6858000"/>
              <a:gd name="connsiteX3889" fmla="*/ 1005350 w 5794893"/>
              <a:gd name="connsiteY3889" fmla="*/ 3226263 h 6858000"/>
              <a:gd name="connsiteX3890" fmla="*/ 959875 w 5794893"/>
              <a:gd name="connsiteY3890" fmla="*/ 3265592 h 6858000"/>
              <a:gd name="connsiteX3891" fmla="*/ 1037304 w 5794893"/>
              <a:gd name="connsiteY3891" fmla="*/ 3378663 h 6858000"/>
              <a:gd name="connsiteX3892" fmla="*/ 1082778 w 5794893"/>
              <a:gd name="connsiteY3892" fmla="*/ 3339334 h 6858000"/>
              <a:gd name="connsiteX3893" fmla="*/ 1005350 w 5794893"/>
              <a:gd name="connsiteY3893" fmla="*/ 3226263 h 6858000"/>
              <a:gd name="connsiteX3894" fmla="*/ 415413 w 5794893"/>
              <a:gd name="connsiteY3894" fmla="*/ 3419222 h 6858000"/>
              <a:gd name="connsiteX3895" fmla="*/ 360106 w 5794893"/>
              <a:gd name="connsiteY3895" fmla="*/ 3433971 h 6858000"/>
              <a:gd name="connsiteX3896" fmla="*/ 389603 w 5794893"/>
              <a:gd name="connsiteY3896" fmla="*/ 3572851 h 6858000"/>
              <a:gd name="connsiteX3897" fmla="*/ 444910 w 5794893"/>
              <a:gd name="connsiteY3897" fmla="*/ 3556874 h 6858000"/>
              <a:gd name="connsiteX3898" fmla="*/ 415413 w 5794893"/>
              <a:gd name="connsiteY3898" fmla="*/ 3419222 h 6858000"/>
              <a:gd name="connsiteX3899" fmla="*/ 1359311 w 5794893"/>
              <a:gd name="connsiteY3899" fmla="*/ 3419222 h 6858000"/>
              <a:gd name="connsiteX3900" fmla="*/ 1319982 w 5794893"/>
              <a:gd name="connsiteY3900" fmla="*/ 3474528 h 6858000"/>
              <a:gd name="connsiteX3901" fmla="*/ 1426908 w 5794893"/>
              <a:gd name="connsiteY3901" fmla="*/ 3571622 h 6858000"/>
              <a:gd name="connsiteX3902" fmla="*/ 1466237 w 5794893"/>
              <a:gd name="connsiteY3902" fmla="*/ 3517545 h 6858000"/>
              <a:gd name="connsiteX3903" fmla="*/ 1359311 w 5794893"/>
              <a:gd name="connsiteY3903" fmla="*/ 3419222 h 6858000"/>
              <a:gd name="connsiteX3904" fmla="*/ 532171 w 5794893"/>
              <a:gd name="connsiteY3904" fmla="*/ 3420451 h 6858000"/>
              <a:gd name="connsiteX3905" fmla="*/ 479323 w 5794893"/>
              <a:gd name="connsiteY3905" fmla="*/ 3440115 h 6858000"/>
              <a:gd name="connsiteX3906" fmla="*/ 518652 w 5794893"/>
              <a:gd name="connsiteY3906" fmla="*/ 3574080 h 6858000"/>
              <a:gd name="connsiteX3907" fmla="*/ 571500 w 5794893"/>
              <a:gd name="connsiteY3907" fmla="*/ 3554416 h 6858000"/>
              <a:gd name="connsiteX3908" fmla="*/ 532171 w 5794893"/>
              <a:gd name="connsiteY3908" fmla="*/ 3420451 h 6858000"/>
              <a:gd name="connsiteX3909" fmla="*/ 651388 w 5794893"/>
              <a:gd name="connsiteY3909" fmla="*/ 3420451 h 6858000"/>
              <a:gd name="connsiteX3910" fmla="*/ 599769 w 5794893"/>
              <a:gd name="connsiteY3910" fmla="*/ 3445031 h 6858000"/>
              <a:gd name="connsiteX3911" fmla="*/ 648930 w 5794893"/>
              <a:gd name="connsiteY3911" fmla="*/ 3574080 h 6858000"/>
              <a:gd name="connsiteX3912" fmla="*/ 699320 w 5794893"/>
              <a:gd name="connsiteY3912" fmla="*/ 3549500 h 6858000"/>
              <a:gd name="connsiteX3913" fmla="*/ 651388 w 5794893"/>
              <a:gd name="connsiteY3913" fmla="*/ 3420451 h 6858000"/>
              <a:gd name="connsiteX3914" fmla="*/ 768145 w 5794893"/>
              <a:gd name="connsiteY3914" fmla="*/ 3420451 h 6858000"/>
              <a:gd name="connsiteX3915" fmla="*/ 720214 w 5794893"/>
              <a:gd name="connsiteY3915" fmla="*/ 3449947 h 6858000"/>
              <a:gd name="connsiteX3916" fmla="*/ 777978 w 5794893"/>
              <a:gd name="connsiteY3916" fmla="*/ 3572851 h 6858000"/>
              <a:gd name="connsiteX3917" fmla="*/ 827139 w 5794893"/>
              <a:gd name="connsiteY3917" fmla="*/ 3543354 h 6858000"/>
              <a:gd name="connsiteX3918" fmla="*/ 768145 w 5794893"/>
              <a:gd name="connsiteY3918" fmla="*/ 3420451 h 6858000"/>
              <a:gd name="connsiteX3919" fmla="*/ 887362 w 5794893"/>
              <a:gd name="connsiteY3919" fmla="*/ 3420451 h 6858000"/>
              <a:gd name="connsiteX3920" fmla="*/ 840659 w 5794893"/>
              <a:gd name="connsiteY3920" fmla="*/ 3454863 h 6858000"/>
              <a:gd name="connsiteX3921" fmla="*/ 908255 w 5794893"/>
              <a:gd name="connsiteY3921" fmla="*/ 3574080 h 6858000"/>
              <a:gd name="connsiteX3922" fmla="*/ 954959 w 5794893"/>
              <a:gd name="connsiteY3922" fmla="*/ 3539667 h 6858000"/>
              <a:gd name="connsiteX3923" fmla="*/ 887362 w 5794893"/>
              <a:gd name="connsiteY3923" fmla="*/ 3420451 h 6858000"/>
              <a:gd name="connsiteX3924" fmla="*/ 1005350 w 5794893"/>
              <a:gd name="connsiteY3924" fmla="*/ 3420451 h 6858000"/>
              <a:gd name="connsiteX3925" fmla="*/ 959875 w 5794893"/>
              <a:gd name="connsiteY3925" fmla="*/ 3459780 h 6858000"/>
              <a:gd name="connsiteX3926" fmla="*/ 1037304 w 5794893"/>
              <a:gd name="connsiteY3926" fmla="*/ 3572851 h 6858000"/>
              <a:gd name="connsiteX3927" fmla="*/ 1082778 w 5794893"/>
              <a:gd name="connsiteY3927" fmla="*/ 3533522 h 6858000"/>
              <a:gd name="connsiteX3928" fmla="*/ 1005350 w 5794893"/>
              <a:gd name="connsiteY3928" fmla="*/ 3420451 h 6858000"/>
              <a:gd name="connsiteX3929" fmla="*/ 1123337 w 5794893"/>
              <a:gd name="connsiteY3929" fmla="*/ 3420451 h 6858000"/>
              <a:gd name="connsiteX3930" fmla="*/ 1080320 w 5794893"/>
              <a:gd name="connsiteY3930" fmla="*/ 3464696 h 6858000"/>
              <a:gd name="connsiteX3931" fmla="*/ 1167582 w 5794893"/>
              <a:gd name="connsiteY3931" fmla="*/ 3574080 h 6858000"/>
              <a:gd name="connsiteX3932" fmla="*/ 1210598 w 5794893"/>
              <a:gd name="connsiteY3932" fmla="*/ 3529835 h 6858000"/>
              <a:gd name="connsiteX3933" fmla="*/ 1123337 w 5794893"/>
              <a:gd name="connsiteY3933" fmla="*/ 3420451 h 6858000"/>
              <a:gd name="connsiteX3934" fmla="*/ 1242552 w 5794893"/>
              <a:gd name="connsiteY3934" fmla="*/ 3420451 h 6858000"/>
              <a:gd name="connsiteX3935" fmla="*/ 1200765 w 5794893"/>
              <a:gd name="connsiteY3935" fmla="*/ 3469612 h 6858000"/>
              <a:gd name="connsiteX3936" fmla="*/ 1297860 w 5794893"/>
              <a:gd name="connsiteY3936" fmla="*/ 3574080 h 6858000"/>
              <a:gd name="connsiteX3937" fmla="*/ 1338417 w 5794893"/>
              <a:gd name="connsiteY3937" fmla="*/ 3524919 h 6858000"/>
              <a:gd name="connsiteX3938" fmla="*/ 1242552 w 5794893"/>
              <a:gd name="connsiteY3938" fmla="*/ 3420451 h 6858000"/>
              <a:gd name="connsiteX3939" fmla="*/ 178209 w 5794893"/>
              <a:gd name="connsiteY3939" fmla="*/ 3420451 h 6858000"/>
              <a:gd name="connsiteX3940" fmla="*/ 119216 w 5794893"/>
              <a:gd name="connsiteY3940" fmla="*/ 3425367 h 6858000"/>
              <a:gd name="connsiteX3941" fmla="*/ 129048 w 5794893"/>
              <a:gd name="connsiteY3941" fmla="*/ 3574080 h 6858000"/>
              <a:gd name="connsiteX3942" fmla="*/ 188042 w 5794893"/>
              <a:gd name="connsiteY3942" fmla="*/ 3569164 h 6858000"/>
              <a:gd name="connsiteX3943" fmla="*/ 178209 w 5794893"/>
              <a:gd name="connsiteY3943" fmla="*/ 3420451 h 6858000"/>
              <a:gd name="connsiteX3944" fmla="*/ 296197 w 5794893"/>
              <a:gd name="connsiteY3944" fmla="*/ 3420451 h 6858000"/>
              <a:gd name="connsiteX3945" fmla="*/ 239661 w 5794893"/>
              <a:gd name="connsiteY3945" fmla="*/ 3430283 h 6858000"/>
              <a:gd name="connsiteX3946" fmla="*/ 259326 w 5794893"/>
              <a:gd name="connsiteY3946" fmla="*/ 3574080 h 6858000"/>
              <a:gd name="connsiteX3947" fmla="*/ 315861 w 5794893"/>
              <a:gd name="connsiteY3947" fmla="*/ 3564248 h 6858000"/>
              <a:gd name="connsiteX3948" fmla="*/ 296197 w 5794893"/>
              <a:gd name="connsiteY3948" fmla="*/ 3420451 h 6858000"/>
              <a:gd name="connsiteX3949" fmla="*/ 415413 w 5794893"/>
              <a:gd name="connsiteY3949" fmla="*/ 3607264 h 6858000"/>
              <a:gd name="connsiteX3950" fmla="*/ 360106 w 5794893"/>
              <a:gd name="connsiteY3950" fmla="*/ 3622012 h 6858000"/>
              <a:gd name="connsiteX3951" fmla="*/ 389603 w 5794893"/>
              <a:gd name="connsiteY3951" fmla="*/ 3760894 h 6858000"/>
              <a:gd name="connsiteX3952" fmla="*/ 444910 w 5794893"/>
              <a:gd name="connsiteY3952" fmla="*/ 3746145 h 6858000"/>
              <a:gd name="connsiteX3953" fmla="*/ 415413 w 5794893"/>
              <a:gd name="connsiteY3953" fmla="*/ 3607264 h 6858000"/>
              <a:gd name="connsiteX3954" fmla="*/ 651388 w 5794893"/>
              <a:gd name="connsiteY3954" fmla="*/ 3607264 h 6858000"/>
              <a:gd name="connsiteX3955" fmla="*/ 599769 w 5794893"/>
              <a:gd name="connsiteY3955" fmla="*/ 3631844 h 6858000"/>
              <a:gd name="connsiteX3956" fmla="*/ 648930 w 5794893"/>
              <a:gd name="connsiteY3956" fmla="*/ 3760894 h 6858000"/>
              <a:gd name="connsiteX3957" fmla="*/ 699320 w 5794893"/>
              <a:gd name="connsiteY3957" fmla="*/ 3736313 h 6858000"/>
              <a:gd name="connsiteX3958" fmla="*/ 651388 w 5794893"/>
              <a:gd name="connsiteY3958" fmla="*/ 3607264 h 6858000"/>
              <a:gd name="connsiteX3959" fmla="*/ 1123337 w 5794893"/>
              <a:gd name="connsiteY3959" fmla="*/ 3607264 h 6858000"/>
              <a:gd name="connsiteX3960" fmla="*/ 1080320 w 5794893"/>
              <a:gd name="connsiteY3960" fmla="*/ 3652739 h 6858000"/>
              <a:gd name="connsiteX3961" fmla="*/ 1167582 w 5794893"/>
              <a:gd name="connsiteY3961" fmla="*/ 3760894 h 6858000"/>
              <a:gd name="connsiteX3962" fmla="*/ 1210598 w 5794893"/>
              <a:gd name="connsiteY3962" fmla="*/ 3716648 h 6858000"/>
              <a:gd name="connsiteX3963" fmla="*/ 1123337 w 5794893"/>
              <a:gd name="connsiteY3963" fmla="*/ 3607264 h 6858000"/>
              <a:gd name="connsiteX3964" fmla="*/ 1241324 w 5794893"/>
              <a:gd name="connsiteY3964" fmla="*/ 3607264 h 6858000"/>
              <a:gd name="connsiteX3965" fmla="*/ 1199537 w 5794893"/>
              <a:gd name="connsiteY3965" fmla="*/ 3657655 h 6858000"/>
              <a:gd name="connsiteX3966" fmla="*/ 1297860 w 5794893"/>
              <a:gd name="connsiteY3966" fmla="*/ 3760894 h 6858000"/>
              <a:gd name="connsiteX3967" fmla="*/ 1338417 w 5794893"/>
              <a:gd name="connsiteY3967" fmla="*/ 3711732 h 6858000"/>
              <a:gd name="connsiteX3968" fmla="*/ 1241324 w 5794893"/>
              <a:gd name="connsiteY3968" fmla="*/ 3607264 h 6858000"/>
              <a:gd name="connsiteX3969" fmla="*/ 1359311 w 5794893"/>
              <a:gd name="connsiteY3969" fmla="*/ 3607264 h 6858000"/>
              <a:gd name="connsiteX3970" fmla="*/ 1319982 w 5794893"/>
              <a:gd name="connsiteY3970" fmla="*/ 3662571 h 6858000"/>
              <a:gd name="connsiteX3971" fmla="*/ 1426908 w 5794893"/>
              <a:gd name="connsiteY3971" fmla="*/ 3759664 h 6858000"/>
              <a:gd name="connsiteX3972" fmla="*/ 1466237 w 5794893"/>
              <a:gd name="connsiteY3972" fmla="*/ 3705586 h 6858000"/>
              <a:gd name="connsiteX3973" fmla="*/ 1359311 w 5794893"/>
              <a:gd name="connsiteY3973" fmla="*/ 3607264 h 6858000"/>
              <a:gd name="connsiteX3974" fmla="*/ 769375 w 5794893"/>
              <a:gd name="connsiteY3974" fmla="*/ 3608493 h 6858000"/>
              <a:gd name="connsiteX3975" fmla="*/ 720214 w 5794893"/>
              <a:gd name="connsiteY3975" fmla="*/ 3639219 h 6858000"/>
              <a:gd name="connsiteX3976" fmla="*/ 777978 w 5794893"/>
              <a:gd name="connsiteY3976" fmla="*/ 3762122 h 6858000"/>
              <a:gd name="connsiteX3977" fmla="*/ 827139 w 5794893"/>
              <a:gd name="connsiteY3977" fmla="*/ 3732625 h 6858000"/>
              <a:gd name="connsiteX3978" fmla="*/ 769375 w 5794893"/>
              <a:gd name="connsiteY3978" fmla="*/ 3608493 h 6858000"/>
              <a:gd name="connsiteX3979" fmla="*/ 1005350 w 5794893"/>
              <a:gd name="connsiteY3979" fmla="*/ 3608493 h 6858000"/>
              <a:gd name="connsiteX3980" fmla="*/ 959875 w 5794893"/>
              <a:gd name="connsiteY3980" fmla="*/ 3649051 h 6858000"/>
              <a:gd name="connsiteX3981" fmla="*/ 1037304 w 5794893"/>
              <a:gd name="connsiteY3981" fmla="*/ 3762122 h 6858000"/>
              <a:gd name="connsiteX3982" fmla="*/ 1082778 w 5794893"/>
              <a:gd name="connsiteY3982" fmla="*/ 3722793 h 6858000"/>
              <a:gd name="connsiteX3983" fmla="*/ 1005350 w 5794893"/>
              <a:gd name="connsiteY3983" fmla="*/ 3608493 h 6858000"/>
              <a:gd name="connsiteX3984" fmla="*/ 887362 w 5794893"/>
              <a:gd name="connsiteY3984" fmla="*/ 3609722 h 6858000"/>
              <a:gd name="connsiteX3985" fmla="*/ 840659 w 5794893"/>
              <a:gd name="connsiteY3985" fmla="*/ 3644135 h 6858000"/>
              <a:gd name="connsiteX3986" fmla="*/ 908255 w 5794893"/>
              <a:gd name="connsiteY3986" fmla="*/ 3762122 h 6858000"/>
              <a:gd name="connsiteX3987" fmla="*/ 954959 w 5794893"/>
              <a:gd name="connsiteY3987" fmla="*/ 3728939 h 6858000"/>
              <a:gd name="connsiteX3988" fmla="*/ 887362 w 5794893"/>
              <a:gd name="connsiteY3988" fmla="*/ 3609722 h 6858000"/>
              <a:gd name="connsiteX3989" fmla="*/ 532171 w 5794893"/>
              <a:gd name="connsiteY3989" fmla="*/ 3608493 h 6858000"/>
              <a:gd name="connsiteX3990" fmla="*/ 479323 w 5794893"/>
              <a:gd name="connsiteY3990" fmla="*/ 3628158 h 6858000"/>
              <a:gd name="connsiteX3991" fmla="*/ 518652 w 5794893"/>
              <a:gd name="connsiteY3991" fmla="*/ 3760894 h 6858000"/>
              <a:gd name="connsiteX3992" fmla="*/ 571500 w 5794893"/>
              <a:gd name="connsiteY3992" fmla="*/ 3742457 h 6858000"/>
              <a:gd name="connsiteX3993" fmla="*/ 532171 w 5794893"/>
              <a:gd name="connsiteY3993" fmla="*/ 3608493 h 6858000"/>
              <a:gd name="connsiteX3994" fmla="*/ 178209 w 5794893"/>
              <a:gd name="connsiteY3994" fmla="*/ 3608493 h 6858000"/>
              <a:gd name="connsiteX3995" fmla="*/ 119216 w 5794893"/>
              <a:gd name="connsiteY3995" fmla="*/ 3613409 h 6858000"/>
              <a:gd name="connsiteX3996" fmla="*/ 129048 w 5794893"/>
              <a:gd name="connsiteY3996" fmla="*/ 3762122 h 6858000"/>
              <a:gd name="connsiteX3997" fmla="*/ 188042 w 5794893"/>
              <a:gd name="connsiteY3997" fmla="*/ 3757206 h 6858000"/>
              <a:gd name="connsiteX3998" fmla="*/ 178209 w 5794893"/>
              <a:gd name="connsiteY3998" fmla="*/ 3608493 h 6858000"/>
              <a:gd name="connsiteX3999" fmla="*/ 296197 w 5794893"/>
              <a:gd name="connsiteY3999" fmla="*/ 3608493 h 6858000"/>
              <a:gd name="connsiteX4000" fmla="*/ 239661 w 5794893"/>
              <a:gd name="connsiteY4000" fmla="*/ 3618326 h 6858000"/>
              <a:gd name="connsiteX4001" fmla="*/ 259326 w 5794893"/>
              <a:gd name="connsiteY4001" fmla="*/ 3762122 h 6858000"/>
              <a:gd name="connsiteX4002" fmla="*/ 315861 w 5794893"/>
              <a:gd name="connsiteY4002" fmla="*/ 3752290 h 6858000"/>
              <a:gd name="connsiteX4003" fmla="*/ 296197 w 5794893"/>
              <a:gd name="connsiteY4003" fmla="*/ 3608493 h 6858000"/>
              <a:gd name="connsiteX4004" fmla="*/ 178209 w 5794893"/>
              <a:gd name="connsiteY4004" fmla="*/ 3798993 h 6858000"/>
              <a:gd name="connsiteX4005" fmla="*/ 119216 w 5794893"/>
              <a:gd name="connsiteY4005" fmla="*/ 3803909 h 6858000"/>
              <a:gd name="connsiteX4006" fmla="*/ 129048 w 5794893"/>
              <a:gd name="connsiteY4006" fmla="*/ 3952623 h 6858000"/>
              <a:gd name="connsiteX4007" fmla="*/ 188042 w 5794893"/>
              <a:gd name="connsiteY4007" fmla="*/ 3947707 h 6858000"/>
              <a:gd name="connsiteX4008" fmla="*/ 178209 w 5794893"/>
              <a:gd name="connsiteY4008" fmla="*/ 3798993 h 6858000"/>
              <a:gd name="connsiteX4009" fmla="*/ 296197 w 5794893"/>
              <a:gd name="connsiteY4009" fmla="*/ 3798993 h 6858000"/>
              <a:gd name="connsiteX4010" fmla="*/ 239661 w 5794893"/>
              <a:gd name="connsiteY4010" fmla="*/ 3808825 h 6858000"/>
              <a:gd name="connsiteX4011" fmla="*/ 259326 w 5794893"/>
              <a:gd name="connsiteY4011" fmla="*/ 3952623 h 6858000"/>
              <a:gd name="connsiteX4012" fmla="*/ 315861 w 5794893"/>
              <a:gd name="connsiteY4012" fmla="*/ 3942790 h 6858000"/>
              <a:gd name="connsiteX4013" fmla="*/ 296197 w 5794893"/>
              <a:gd name="connsiteY4013" fmla="*/ 3798993 h 6858000"/>
              <a:gd name="connsiteX4014" fmla="*/ 651388 w 5794893"/>
              <a:gd name="connsiteY4014" fmla="*/ 3798993 h 6858000"/>
              <a:gd name="connsiteX4015" fmla="*/ 599769 w 5794893"/>
              <a:gd name="connsiteY4015" fmla="*/ 3823574 h 6858000"/>
              <a:gd name="connsiteX4016" fmla="*/ 648930 w 5794893"/>
              <a:gd name="connsiteY4016" fmla="*/ 3952623 h 6858000"/>
              <a:gd name="connsiteX4017" fmla="*/ 699320 w 5794893"/>
              <a:gd name="connsiteY4017" fmla="*/ 3928042 h 6858000"/>
              <a:gd name="connsiteX4018" fmla="*/ 651388 w 5794893"/>
              <a:gd name="connsiteY4018" fmla="*/ 3798993 h 6858000"/>
              <a:gd name="connsiteX4019" fmla="*/ 887362 w 5794893"/>
              <a:gd name="connsiteY4019" fmla="*/ 3798993 h 6858000"/>
              <a:gd name="connsiteX4020" fmla="*/ 840659 w 5794893"/>
              <a:gd name="connsiteY4020" fmla="*/ 3833406 h 6858000"/>
              <a:gd name="connsiteX4021" fmla="*/ 908255 w 5794893"/>
              <a:gd name="connsiteY4021" fmla="*/ 3952623 h 6858000"/>
              <a:gd name="connsiteX4022" fmla="*/ 954959 w 5794893"/>
              <a:gd name="connsiteY4022" fmla="*/ 3918210 h 6858000"/>
              <a:gd name="connsiteX4023" fmla="*/ 887362 w 5794893"/>
              <a:gd name="connsiteY4023" fmla="*/ 3798993 h 6858000"/>
              <a:gd name="connsiteX4024" fmla="*/ 1005350 w 5794893"/>
              <a:gd name="connsiteY4024" fmla="*/ 3800223 h 6858000"/>
              <a:gd name="connsiteX4025" fmla="*/ 959875 w 5794893"/>
              <a:gd name="connsiteY4025" fmla="*/ 3839552 h 6858000"/>
              <a:gd name="connsiteX4026" fmla="*/ 1037304 w 5794893"/>
              <a:gd name="connsiteY4026" fmla="*/ 3952623 h 6858000"/>
              <a:gd name="connsiteX4027" fmla="*/ 1082778 w 5794893"/>
              <a:gd name="connsiteY4027" fmla="*/ 3913294 h 6858000"/>
              <a:gd name="connsiteX4028" fmla="*/ 1005350 w 5794893"/>
              <a:gd name="connsiteY4028" fmla="*/ 3800223 h 6858000"/>
              <a:gd name="connsiteX4029" fmla="*/ 1123337 w 5794893"/>
              <a:gd name="connsiteY4029" fmla="*/ 3800223 h 6858000"/>
              <a:gd name="connsiteX4030" fmla="*/ 1080320 w 5794893"/>
              <a:gd name="connsiteY4030" fmla="*/ 3844468 h 6858000"/>
              <a:gd name="connsiteX4031" fmla="*/ 1167582 w 5794893"/>
              <a:gd name="connsiteY4031" fmla="*/ 3952623 h 6858000"/>
              <a:gd name="connsiteX4032" fmla="*/ 1210598 w 5794893"/>
              <a:gd name="connsiteY4032" fmla="*/ 3908378 h 6858000"/>
              <a:gd name="connsiteX4033" fmla="*/ 1123337 w 5794893"/>
              <a:gd name="connsiteY4033" fmla="*/ 3800223 h 6858000"/>
              <a:gd name="connsiteX4034" fmla="*/ 1241324 w 5794893"/>
              <a:gd name="connsiteY4034" fmla="*/ 3800223 h 6858000"/>
              <a:gd name="connsiteX4035" fmla="*/ 1199537 w 5794893"/>
              <a:gd name="connsiteY4035" fmla="*/ 3849384 h 6858000"/>
              <a:gd name="connsiteX4036" fmla="*/ 1297860 w 5794893"/>
              <a:gd name="connsiteY4036" fmla="*/ 3953851 h 6858000"/>
              <a:gd name="connsiteX4037" fmla="*/ 1338417 w 5794893"/>
              <a:gd name="connsiteY4037" fmla="*/ 3904690 h 6858000"/>
              <a:gd name="connsiteX4038" fmla="*/ 1241324 w 5794893"/>
              <a:gd name="connsiteY4038" fmla="*/ 3800223 h 6858000"/>
              <a:gd name="connsiteX4039" fmla="*/ 1359311 w 5794893"/>
              <a:gd name="connsiteY4039" fmla="*/ 3800223 h 6858000"/>
              <a:gd name="connsiteX4040" fmla="*/ 1319982 w 5794893"/>
              <a:gd name="connsiteY4040" fmla="*/ 3854300 h 6858000"/>
              <a:gd name="connsiteX4041" fmla="*/ 1426908 w 5794893"/>
              <a:gd name="connsiteY4041" fmla="*/ 3952623 h 6858000"/>
              <a:gd name="connsiteX4042" fmla="*/ 1466237 w 5794893"/>
              <a:gd name="connsiteY4042" fmla="*/ 3898545 h 6858000"/>
              <a:gd name="connsiteX4043" fmla="*/ 1359311 w 5794893"/>
              <a:gd name="connsiteY4043" fmla="*/ 3800223 h 6858000"/>
              <a:gd name="connsiteX4044" fmla="*/ 769375 w 5794893"/>
              <a:gd name="connsiteY4044" fmla="*/ 3800223 h 6858000"/>
              <a:gd name="connsiteX4045" fmla="*/ 720214 w 5794893"/>
              <a:gd name="connsiteY4045" fmla="*/ 3829719 h 6858000"/>
              <a:gd name="connsiteX4046" fmla="*/ 777978 w 5794893"/>
              <a:gd name="connsiteY4046" fmla="*/ 3953851 h 6858000"/>
              <a:gd name="connsiteX4047" fmla="*/ 827139 w 5794893"/>
              <a:gd name="connsiteY4047" fmla="*/ 3924354 h 6858000"/>
              <a:gd name="connsiteX4048" fmla="*/ 769375 w 5794893"/>
              <a:gd name="connsiteY4048" fmla="*/ 3800223 h 6858000"/>
              <a:gd name="connsiteX4049" fmla="*/ 415413 w 5794893"/>
              <a:gd name="connsiteY4049" fmla="*/ 3800223 h 6858000"/>
              <a:gd name="connsiteX4050" fmla="*/ 360106 w 5794893"/>
              <a:gd name="connsiteY4050" fmla="*/ 3814971 h 6858000"/>
              <a:gd name="connsiteX4051" fmla="*/ 389603 w 5794893"/>
              <a:gd name="connsiteY4051" fmla="*/ 3952623 h 6858000"/>
              <a:gd name="connsiteX4052" fmla="*/ 444910 w 5794893"/>
              <a:gd name="connsiteY4052" fmla="*/ 3939103 h 6858000"/>
              <a:gd name="connsiteX4053" fmla="*/ 415413 w 5794893"/>
              <a:gd name="connsiteY4053" fmla="*/ 3800223 h 6858000"/>
              <a:gd name="connsiteX4054" fmla="*/ 532171 w 5794893"/>
              <a:gd name="connsiteY4054" fmla="*/ 3800223 h 6858000"/>
              <a:gd name="connsiteX4055" fmla="*/ 479323 w 5794893"/>
              <a:gd name="connsiteY4055" fmla="*/ 3819887 h 6858000"/>
              <a:gd name="connsiteX4056" fmla="*/ 518652 w 5794893"/>
              <a:gd name="connsiteY4056" fmla="*/ 3952623 h 6858000"/>
              <a:gd name="connsiteX4057" fmla="*/ 571500 w 5794893"/>
              <a:gd name="connsiteY4057" fmla="*/ 3934187 h 6858000"/>
              <a:gd name="connsiteX4058" fmla="*/ 532171 w 5794893"/>
              <a:gd name="connsiteY4058" fmla="*/ 3800223 h 6858000"/>
              <a:gd name="connsiteX4059" fmla="*/ 1240094 w 5794893"/>
              <a:gd name="connsiteY4059" fmla="*/ 3990722 h 6858000"/>
              <a:gd name="connsiteX4060" fmla="*/ 1198307 w 5794893"/>
              <a:gd name="connsiteY4060" fmla="*/ 4039883 h 6858000"/>
              <a:gd name="connsiteX4061" fmla="*/ 1200765 w 5794893"/>
              <a:gd name="connsiteY4061" fmla="*/ 4042342 h 6858000"/>
              <a:gd name="connsiteX4062" fmla="*/ 1199537 w 5794893"/>
              <a:gd name="connsiteY4062" fmla="*/ 4044800 h 6858000"/>
              <a:gd name="connsiteX4063" fmla="*/ 1296630 w 5794893"/>
              <a:gd name="connsiteY4063" fmla="*/ 4149268 h 6858000"/>
              <a:gd name="connsiteX4064" fmla="*/ 1338417 w 5794893"/>
              <a:gd name="connsiteY4064" fmla="*/ 4100107 h 6858000"/>
              <a:gd name="connsiteX4065" fmla="*/ 1335959 w 5794893"/>
              <a:gd name="connsiteY4065" fmla="*/ 4097649 h 6858000"/>
              <a:gd name="connsiteX4066" fmla="*/ 1337189 w 5794893"/>
              <a:gd name="connsiteY4066" fmla="*/ 4095191 h 6858000"/>
              <a:gd name="connsiteX4067" fmla="*/ 1240094 w 5794893"/>
              <a:gd name="connsiteY4067" fmla="*/ 3990722 h 6858000"/>
              <a:gd name="connsiteX4068" fmla="*/ 1359311 w 5794893"/>
              <a:gd name="connsiteY4068" fmla="*/ 3991952 h 6858000"/>
              <a:gd name="connsiteX4069" fmla="*/ 1319982 w 5794893"/>
              <a:gd name="connsiteY4069" fmla="*/ 4046029 h 6858000"/>
              <a:gd name="connsiteX4070" fmla="*/ 1322440 w 5794893"/>
              <a:gd name="connsiteY4070" fmla="*/ 4048487 h 6858000"/>
              <a:gd name="connsiteX4071" fmla="*/ 1321211 w 5794893"/>
              <a:gd name="connsiteY4071" fmla="*/ 4050945 h 6858000"/>
              <a:gd name="connsiteX4072" fmla="*/ 1428137 w 5794893"/>
              <a:gd name="connsiteY4072" fmla="*/ 4149268 h 6858000"/>
              <a:gd name="connsiteX4073" fmla="*/ 1467466 w 5794893"/>
              <a:gd name="connsiteY4073" fmla="*/ 4095191 h 6858000"/>
              <a:gd name="connsiteX4074" fmla="*/ 1465008 w 5794893"/>
              <a:gd name="connsiteY4074" fmla="*/ 4092733 h 6858000"/>
              <a:gd name="connsiteX4075" fmla="*/ 1466237 w 5794893"/>
              <a:gd name="connsiteY4075" fmla="*/ 4090275 h 6858000"/>
              <a:gd name="connsiteX4076" fmla="*/ 1359311 w 5794893"/>
              <a:gd name="connsiteY4076" fmla="*/ 3991952 h 6858000"/>
              <a:gd name="connsiteX4077" fmla="*/ 178209 w 5794893"/>
              <a:gd name="connsiteY4077" fmla="*/ 3991952 h 6858000"/>
              <a:gd name="connsiteX4078" fmla="*/ 119216 w 5794893"/>
              <a:gd name="connsiteY4078" fmla="*/ 3996868 h 6858000"/>
              <a:gd name="connsiteX4079" fmla="*/ 119216 w 5794893"/>
              <a:gd name="connsiteY4079" fmla="*/ 4000554 h 6858000"/>
              <a:gd name="connsiteX4080" fmla="*/ 129048 w 5794893"/>
              <a:gd name="connsiteY4080" fmla="*/ 4149268 h 6858000"/>
              <a:gd name="connsiteX4081" fmla="*/ 188042 w 5794893"/>
              <a:gd name="connsiteY4081" fmla="*/ 4144352 h 6858000"/>
              <a:gd name="connsiteX4082" fmla="*/ 188042 w 5794893"/>
              <a:gd name="connsiteY4082" fmla="*/ 4140664 h 6858000"/>
              <a:gd name="connsiteX4083" fmla="*/ 178209 w 5794893"/>
              <a:gd name="connsiteY4083" fmla="*/ 3991952 h 6858000"/>
              <a:gd name="connsiteX4084" fmla="*/ 296197 w 5794893"/>
              <a:gd name="connsiteY4084" fmla="*/ 3991952 h 6858000"/>
              <a:gd name="connsiteX4085" fmla="*/ 239661 w 5794893"/>
              <a:gd name="connsiteY4085" fmla="*/ 4001784 h 6858000"/>
              <a:gd name="connsiteX4086" fmla="*/ 240891 w 5794893"/>
              <a:gd name="connsiteY4086" fmla="*/ 4006700 h 6858000"/>
              <a:gd name="connsiteX4087" fmla="*/ 239661 w 5794893"/>
              <a:gd name="connsiteY4087" fmla="*/ 4006700 h 6858000"/>
              <a:gd name="connsiteX4088" fmla="*/ 259326 w 5794893"/>
              <a:gd name="connsiteY4088" fmla="*/ 4150497 h 6858000"/>
              <a:gd name="connsiteX4089" fmla="*/ 315861 w 5794893"/>
              <a:gd name="connsiteY4089" fmla="*/ 4140664 h 6858000"/>
              <a:gd name="connsiteX4090" fmla="*/ 314633 w 5794893"/>
              <a:gd name="connsiteY4090" fmla="*/ 4135748 h 6858000"/>
              <a:gd name="connsiteX4091" fmla="*/ 315861 w 5794893"/>
              <a:gd name="connsiteY4091" fmla="*/ 4135748 h 6858000"/>
              <a:gd name="connsiteX4092" fmla="*/ 296197 w 5794893"/>
              <a:gd name="connsiteY4092" fmla="*/ 3991952 h 6858000"/>
              <a:gd name="connsiteX4093" fmla="*/ 415413 w 5794893"/>
              <a:gd name="connsiteY4093" fmla="*/ 3991952 h 6858000"/>
              <a:gd name="connsiteX4094" fmla="*/ 360106 w 5794893"/>
              <a:gd name="connsiteY4094" fmla="*/ 4006700 h 6858000"/>
              <a:gd name="connsiteX4095" fmla="*/ 361336 w 5794893"/>
              <a:gd name="connsiteY4095" fmla="*/ 4011616 h 6858000"/>
              <a:gd name="connsiteX4096" fmla="*/ 360106 w 5794893"/>
              <a:gd name="connsiteY4096" fmla="*/ 4011616 h 6858000"/>
              <a:gd name="connsiteX4097" fmla="*/ 388375 w 5794893"/>
              <a:gd name="connsiteY4097" fmla="*/ 4150497 h 6858000"/>
              <a:gd name="connsiteX4098" fmla="*/ 443681 w 5794893"/>
              <a:gd name="connsiteY4098" fmla="*/ 4134520 h 6858000"/>
              <a:gd name="connsiteX4099" fmla="*/ 443681 w 5794893"/>
              <a:gd name="connsiteY4099" fmla="*/ 4129604 h 6858000"/>
              <a:gd name="connsiteX4100" fmla="*/ 444910 w 5794893"/>
              <a:gd name="connsiteY4100" fmla="*/ 4129604 h 6858000"/>
              <a:gd name="connsiteX4101" fmla="*/ 415413 w 5794893"/>
              <a:gd name="connsiteY4101" fmla="*/ 3991952 h 6858000"/>
              <a:gd name="connsiteX4102" fmla="*/ 532171 w 5794893"/>
              <a:gd name="connsiteY4102" fmla="*/ 3991952 h 6858000"/>
              <a:gd name="connsiteX4103" fmla="*/ 479323 w 5794893"/>
              <a:gd name="connsiteY4103" fmla="*/ 4011616 h 6858000"/>
              <a:gd name="connsiteX4104" fmla="*/ 480552 w 5794893"/>
              <a:gd name="connsiteY4104" fmla="*/ 4015303 h 6858000"/>
              <a:gd name="connsiteX4105" fmla="*/ 479323 w 5794893"/>
              <a:gd name="connsiteY4105" fmla="*/ 4015303 h 6858000"/>
              <a:gd name="connsiteX4106" fmla="*/ 518652 w 5794893"/>
              <a:gd name="connsiteY4106" fmla="*/ 4149268 h 6858000"/>
              <a:gd name="connsiteX4107" fmla="*/ 571500 w 5794893"/>
              <a:gd name="connsiteY4107" fmla="*/ 4129604 h 6858000"/>
              <a:gd name="connsiteX4108" fmla="*/ 570272 w 5794893"/>
              <a:gd name="connsiteY4108" fmla="*/ 4125916 h 6858000"/>
              <a:gd name="connsiteX4109" fmla="*/ 571500 w 5794893"/>
              <a:gd name="connsiteY4109" fmla="*/ 4125916 h 6858000"/>
              <a:gd name="connsiteX4110" fmla="*/ 532171 w 5794893"/>
              <a:gd name="connsiteY4110" fmla="*/ 3991952 h 6858000"/>
              <a:gd name="connsiteX4111" fmla="*/ 651388 w 5794893"/>
              <a:gd name="connsiteY4111" fmla="*/ 3991952 h 6858000"/>
              <a:gd name="connsiteX4112" fmla="*/ 599769 w 5794893"/>
              <a:gd name="connsiteY4112" fmla="*/ 4016532 h 6858000"/>
              <a:gd name="connsiteX4113" fmla="*/ 600997 w 5794893"/>
              <a:gd name="connsiteY4113" fmla="*/ 4020219 h 6858000"/>
              <a:gd name="connsiteX4114" fmla="*/ 599769 w 5794893"/>
              <a:gd name="connsiteY4114" fmla="*/ 4020219 h 6858000"/>
              <a:gd name="connsiteX4115" fmla="*/ 648930 w 5794893"/>
              <a:gd name="connsiteY4115" fmla="*/ 4149268 h 6858000"/>
              <a:gd name="connsiteX4116" fmla="*/ 699320 w 5794893"/>
              <a:gd name="connsiteY4116" fmla="*/ 4124687 h 6858000"/>
              <a:gd name="connsiteX4117" fmla="*/ 698091 w 5794893"/>
              <a:gd name="connsiteY4117" fmla="*/ 4121000 h 6858000"/>
              <a:gd name="connsiteX4118" fmla="*/ 699320 w 5794893"/>
              <a:gd name="connsiteY4118" fmla="*/ 4121000 h 6858000"/>
              <a:gd name="connsiteX4119" fmla="*/ 651388 w 5794893"/>
              <a:gd name="connsiteY4119" fmla="*/ 3991952 h 6858000"/>
              <a:gd name="connsiteX4120" fmla="*/ 769375 w 5794893"/>
              <a:gd name="connsiteY4120" fmla="*/ 3991952 h 6858000"/>
              <a:gd name="connsiteX4121" fmla="*/ 720214 w 5794893"/>
              <a:gd name="connsiteY4121" fmla="*/ 4021449 h 6858000"/>
              <a:gd name="connsiteX4122" fmla="*/ 722672 w 5794893"/>
              <a:gd name="connsiteY4122" fmla="*/ 4023907 h 6858000"/>
              <a:gd name="connsiteX4123" fmla="*/ 721442 w 5794893"/>
              <a:gd name="connsiteY4123" fmla="*/ 4025135 h 6858000"/>
              <a:gd name="connsiteX4124" fmla="*/ 779207 w 5794893"/>
              <a:gd name="connsiteY4124" fmla="*/ 4149268 h 6858000"/>
              <a:gd name="connsiteX4125" fmla="*/ 828369 w 5794893"/>
              <a:gd name="connsiteY4125" fmla="*/ 4119771 h 6858000"/>
              <a:gd name="connsiteX4126" fmla="*/ 827139 w 5794893"/>
              <a:gd name="connsiteY4126" fmla="*/ 4116084 h 6858000"/>
              <a:gd name="connsiteX4127" fmla="*/ 828369 w 5794893"/>
              <a:gd name="connsiteY4127" fmla="*/ 4114855 h 6858000"/>
              <a:gd name="connsiteX4128" fmla="*/ 769375 w 5794893"/>
              <a:gd name="connsiteY4128" fmla="*/ 3991952 h 6858000"/>
              <a:gd name="connsiteX4129" fmla="*/ 1005350 w 5794893"/>
              <a:gd name="connsiteY4129" fmla="*/ 3991952 h 6858000"/>
              <a:gd name="connsiteX4130" fmla="*/ 959875 w 5794893"/>
              <a:gd name="connsiteY4130" fmla="*/ 4031281 h 6858000"/>
              <a:gd name="connsiteX4131" fmla="*/ 962333 w 5794893"/>
              <a:gd name="connsiteY4131" fmla="*/ 4033739 h 6858000"/>
              <a:gd name="connsiteX4132" fmla="*/ 959875 w 5794893"/>
              <a:gd name="connsiteY4132" fmla="*/ 4034967 h 6858000"/>
              <a:gd name="connsiteX4133" fmla="*/ 1037304 w 5794893"/>
              <a:gd name="connsiteY4133" fmla="*/ 4148039 h 6858000"/>
              <a:gd name="connsiteX4134" fmla="*/ 1082778 w 5794893"/>
              <a:gd name="connsiteY4134" fmla="*/ 4108709 h 6858000"/>
              <a:gd name="connsiteX4135" fmla="*/ 1081550 w 5794893"/>
              <a:gd name="connsiteY4135" fmla="*/ 4106251 h 6858000"/>
              <a:gd name="connsiteX4136" fmla="*/ 1082778 w 5794893"/>
              <a:gd name="connsiteY4136" fmla="*/ 4105023 h 6858000"/>
              <a:gd name="connsiteX4137" fmla="*/ 1005350 w 5794893"/>
              <a:gd name="connsiteY4137" fmla="*/ 3991952 h 6858000"/>
              <a:gd name="connsiteX4138" fmla="*/ 1123337 w 5794893"/>
              <a:gd name="connsiteY4138" fmla="*/ 3991952 h 6858000"/>
              <a:gd name="connsiteX4139" fmla="*/ 1080320 w 5794893"/>
              <a:gd name="connsiteY4139" fmla="*/ 4036197 h 6858000"/>
              <a:gd name="connsiteX4140" fmla="*/ 1081550 w 5794893"/>
              <a:gd name="connsiteY4140" fmla="*/ 4041113 h 6858000"/>
              <a:gd name="connsiteX4141" fmla="*/ 1080320 w 5794893"/>
              <a:gd name="connsiteY4141" fmla="*/ 4042342 h 6858000"/>
              <a:gd name="connsiteX4142" fmla="*/ 1167582 w 5794893"/>
              <a:gd name="connsiteY4142" fmla="*/ 4150497 h 6858000"/>
              <a:gd name="connsiteX4143" fmla="*/ 1210598 w 5794893"/>
              <a:gd name="connsiteY4143" fmla="*/ 4106251 h 6858000"/>
              <a:gd name="connsiteX4144" fmla="*/ 1209369 w 5794893"/>
              <a:gd name="connsiteY4144" fmla="*/ 4103793 h 6858000"/>
              <a:gd name="connsiteX4145" fmla="*/ 1210598 w 5794893"/>
              <a:gd name="connsiteY4145" fmla="*/ 4101335 h 6858000"/>
              <a:gd name="connsiteX4146" fmla="*/ 1123337 w 5794893"/>
              <a:gd name="connsiteY4146" fmla="*/ 3991952 h 6858000"/>
              <a:gd name="connsiteX4147" fmla="*/ 887362 w 5794893"/>
              <a:gd name="connsiteY4147" fmla="*/ 3993180 h 6858000"/>
              <a:gd name="connsiteX4148" fmla="*/ 840659 w 5794893"/>
              <a:gd name="connsiteY4148" fmla="*/ 4027593 h 6858000"/>
              <a:gd name="connsiteX4149" fmla="*/ 841887 w 5794893"/>
              <a:gd name="connsiteY4149" fmla="*/ 4030051 h 6858000"/>
              <a:gd name="connsiteX4150" fmla="*/ 840659 w 5794893"/>
              <a:gd name="connsiteY4150" fmla="*/ 4031281 h 6858000"/>
              <a:gd name="connsiteX4151" fmla="*/ 908255 w 5794893"/>
              <a:gd name="connsiteY4151" fmla="*/ 4149268 h 6858000"/>
              <a:gd name="connsiteX4152" fmla="*/ 954959 w 5794893"/>
              <a:gd name="connsiteY4152" fmla="*/ 4114855 h 6858000"/>
              <a:gd name="connsiteX4153" fmla="*/ 953730 w 5794893"/>
              <a:gd name="connsiteY4153" fmla="*/ 4112397 h 6858000"/>
              <a:gd name="connsiteX4154" fmla="*/ 954959 w 5794893"/>
              <a:gd name="connsiteY4154" fmla="*/ 4111167 h 6858000"/>
              <a:gd name="connsiteX4155" fmla="*/ 887362 w 5794893"/>
              <a:gd name="connsiteY4155" fmla="*/ 3993180 h 6858000"/>
              <a:gd name="connsiteX4156" fmla="*/ 415413 w 5794893"/>
              <a:gd name="connsiteY4156" fmla="*/ 4189826 h 6858000"/>
              <a:gd name="connsiteX4157" fmla="*/ 360106 w 5794893"/>
              <a:gd name="connsiteY4157" fmla="*/ 4205804 h 6858000"/>
              <a:gd name="connsiteX4158" fmla="*/ 389603 w 5794893"/>
              <a:gd name="connsiteY4158" fmla="*/ 4343456 h 6858000"/>
              <a:gd name="connsiteX4159" fmla="*/ 444910 w 5794893"/>
              <a:gd name="connsiteY4159" fmla="*/ 4328707 h 6858000"/>
              <a:gd name="connsiteX4160" fmla="*/ 415413 w 5794893"/>
              <a:gd name="connsiteY4160" fmla="*/ 4189826 h 6858000"/>
              <a:gd name="connsiteX4161" fmla="*/ 532171 w 5794893"/>
              <a:gd name="connsiteY4161" fmla="*/ 4189826 h 6858000"/>
              <a:gd name="connsiteX4162" fmla="*/ 479323 w 5794893"/>
              <a:gd name="connsiteY4162" fmla="*/ 4209490 h 6858000"/>
              <a:gd name="connsiteX4163" fmla="*/ 518652 w 5794893"/>
              <a:gd name="connsiteY4163" fmla="*/ 4343456 h 6858000"/>
              <a:gd name="connsiteX4164" fmla="*/ 571500 w 5794893"/>
              <a:gd name="connsiteY4164" fmla="*/ 4323791 h 6858000"/>
              <a:gd name="connsiteX4165" fmla="*/ 532171 w 5794893"/>
              <a:gd name="connsiteY4165" fmla="*/ 4189826 h 6858000"/>
              <a:gd name="connsiteX4166" fmla="*/ 651388 w 5794893"/>
              <a:gd name="connsiteY4166" fmla="*/ 4189826 h 6858000"/>
              <a:gd name="connsiteX4167" fmla="*/ 599769 w 5794893"/>
              <a:gd name="connsiteY4167" fmla="*/ 4214406 h 6858000"/>
              <a:gd name="connsiteX4168" fmla="*/ 648930 w 5794893"/>
              <a:gd name="connsiteY4168" fmla="*/ 4343456 h 6858000"/>
              <a:gd name="connsiteX4169" fmla="*/ 699320 w 5794893"/>
              <a:gd name="connsiteY4169" fmla="*/ 4317645 h 6858000"/>
              <a:gd name="connsiteX4170" fmla="*/ 651388 w 5794893"/>
              <a:gd name="connsiteY4170" fmla="*/ 4189826 h 6858000"/>
              <a:gd name="connsiteX4171" fmla="*/ 769375 w 5794893"/>
              <a:gd name="connsiteY4171" fmla="*/ 4189826 h 6858000"/>
              <a:gd name="connsiteX4172" fmla="*/ 720214 w 5794893"/>
              <a:gd name="connsiteY4172" fmla="*/ 4220552 h 6858000"/>
              <a:gd name="connsiteX4173" fmla="*/ 777978 w 5794893"/>
              <a:gd name="connsiteY4173" fmla="*/ 4343456 h 6858000"/>
              <a:gd name="connsiteX4174" fmla="*/ 827139 w 5794893"/>
              <a:gd name="connsiteY4174" fmla="*/ 4313959 h 6858000"/>
              <a:gd name="connsiteX4175" fmla="*/ 769375 w 5794893"/>
              <a:gd name="connsiteY4175" fmla="*/ 4189826 h 6858000"/>
              <a:gd name="connsiteX4176" fmla="*/ 887362 w 5794893"/>
              <a:gd name="connsiteY4176" fmla="*/ 4189826 h 6858000"/>
              <a:gd name="connsiteX4177" fmla="*/ 840659 w 5794893"/>
              <a:gd name="connsiteY4177" fmla="*/ 4225468 h 6858000"/>
              <a:gd name="connsiteX4178" fmla="*/ 908255 w 5794893"/>
              <a:gd name="connsiteY4178" fmla="*/ 4343456 h 6858000"/>
              <a:gd name="connsiteX4179" fmla="*/ 954959 w 5794893"/>
              <a:gd name="connsiteY4179" fmla="*/ 4309043 h 6858000"/>
              <a:gd name="connsiteX4180" fmla="*/ 887362 w 5794893"/>
              <a:gd name="connsiteY4180" fmla="*/ 4189826 h 6858000"/>
              <a:gd name="connsiteX4181" fmla="*/ 1005350 w 5794893"/>
              <a:gd name="connsiteY4181" fmla="*/ 4189826 h 6858000"/>
              <a:gd name="connsiteX4182" fmla="*/ 959875 w 5794893"/>
              <a:gd name="connsiteY4182" fmla="*/ 4230384 h 6858000"/>
              <a:gd name="connsiteX4183" fmla="*/ 1037304 w 5794893"/>
              <a:gd name="connsiteY4183" fmla="*/ 4343456 h 6858000"/>
              <a:gd name="connsiteX4184" fmla="*/ 1082778 w 5794893"/>
              <a:gd name="connsiteY4184" fmla="*/ 4304126 h 6858000"/>
              <a:gd name="connsiteX4185" fmla="*/ 1005350 w 5794893"/>
              <a:gd name="connsiteY4185" fmla="*/ 4189826 h 6858000"/>
              <a:gd name="connsiteX4186" fmla="*/ 1123337 w 5794893"/>
              <a:gd name="connsiteY4186" fmla="*/ 4189826 h 6858000"/>
              <a:gd name="connsiteX4187" fmla="*/ 1080320 w 5794893"/>
              <a:gd name="connsiteY4187" fmla="*/ 4235301 h 6858000"/>
              <a:gd name="connsiteX4188" fmla="*/ 1167582 w 5794893"/>
              <a:gd name="connsiteY4188" fmla="*/ 4343456 h 6858000"/>
              <a:gd name="connsiteX4189" fmla="*/ 1210598 w 5794893"/>
              <a:gd name="connsiteY4189" fmla="*/ 4299210 h 6858000"/>
              <a:gd name="connsiteX4190" fmla="*/ 1123337 w 5794893"/>
              <a:gd name="connsiteY4190" fmla="*/ 4189826 h 6858000"/>
              <a:gd name="connsiteX4191" fmla="*/ 1241324 w 5794893"/>
              <a:gd name="connsiteY4191" fmla="*/ 4191055 h 6858000"/>
              <a:gd name="connsiteX4192" fmla="*/ 1199537 w 5794893"/>
              <a:gd name="connsiteY4192" fmla="*/ 4240217 h 6858000"/>
              <a:gd name="connsiteX4193" fmla="*/ 1297860 w 5794893"/>
              <a:gd name="connsiteY4193" fmla="*/ 4343456 h 6858000"/>
              <a:gd name="connsiteX4194" fmla="*/ 1338417 w 5794893"/>
              <a:gd name="connsiteY4194" fmla="*/ 4294294 h 6858000"/>
              <a:gd name="connsiteX4195" fmla="*/ 1241324 w 5794893"/>
              <a:gd name="connsiteY4195" fmla="*/ 4191055 h 6858000"/>
              <a:gd name="connsiteX4196" fmla="*/ 1359311 w 5794893"/>
              <a:gd name="connsiteY4196" fmla="*/ 4191055 h 6858000"/>
              <a:gd name="connsiteX4197" fmla="*/ 1319982 w 5794893"/>
              <a:gd name="connsiteY4197" fmla="*/ 4245133 h 6858000"/>
              <a:gd name="connsiteX4198" fmla="*/ 1426908 w 5794893"/>
              <a:gd name="connsiteY4198" fmla="*/ 4343456 h 6858000"/>
              <a:gd name="connsiteX4199" fmla="*/ 1466237 w 5794893"/>
              <a:gd name="connsiteY4199" fmla="*/ 4289378 h 6858000"/>
              <a:gd name="connsiteX4200" fmla="*/ 1359311 w 5794893"/>
              <a:gd name="connsiteY4200" fmla="*/ 4191055 h 6858000"/>
              <a:gd name="connsiteX4201" fmla="*/ 1477299 w 5794893"/>
              <a:gd name="connsiteY4201" fmla="*/ 4191055 h 6858000"/>
              <a:gd name="connsiteX4202" fmla="*/ 1440428 w 5794893"/>
              <a:gd name="connsiteY4202" fmla="*/ 4250049 h 6858000"/>
              <a:gd name="connsiteX4203" fmla="*/ 1557185 w 5794893"/>
              <a:gd name="connsiteY4203" fmla="*/ 4343456 h 6858000"/>
              <a:gd name="connsiteX4204" fmla="*/ 1594056 w 5794893"/>
              <a:gd name="connsiteY4204" fmla="*/ 4284462 h 6858000"/>
              <a:gd name="connsiteX4205" fmla="*/ 1477299 w 5794893"/>
              <a:gd name="connsiteY4205" fmla="*/ 4191055 h 6858000"/>
              <a:gd name="connsiteX4206" fmla="*/ 178209 w 5794893"/>
              <a:gd name="connsiteY4206" fmla="*/ 4191055 h 6858000"/>
              <a:gd name="connsiteX4207" fmla="*/ 119216 w 5794893"/>
              <a:gd name="connsiteY4207" fmla="*/ 4195972 h 6858000"/>
              <a:gd name="connsiteX4208" fmla="*/ 129048 w 5794893"/>
              <a:gd name="connsiteY4208" fmla="*/ 4343456 h 6858000"/>
              <a:gd name="connsiteX4209" fmla="*/ 188042 w 5794893"/>
              <a:gd name="connsiteY4209" fmla="*/ 4339768 h 6858000"/>
              <a:gd name="connsiteX4210" fmla="*/ 178209 w 5794893"/>
              <a:gd name="connsiteY4210" fmla="*/ 4191055 h 6858000"/>
              <a:gd name="connsiteX4211" fmla="*/ 296197 w 5794893"/>
              <a:gd name="connsiteY4211" fmla="*/ 4191055 h 6858000"/>
              <a:gd name="connsiteX4212" fmla="*/ 240891 w 5794893"/>
              <a:gd name="connsiteY4212" fmla="*/ 4200888 h 6858000"/>
              <a:gd name="connsiteX4213" fmla="*/ 259326 w 5794893"/>
              <a:gd name="connsiteY4213" fmla="*/ 4343456 h 6858000"/>
              <a:gd name="connsiteX4214" fmla="*/ 315861 w 5794893"/>
              <a:gd name="connsiteY4214" fmla="*/ 4334852 h 6858000"/>
              <a:gd name="connsiteX4215" fmla="*/ 296197 w 5794893"/>
              <a:gd name="connsiteY4215" fmla="*/ 4191055 h 6858000"/>
              <a:gd name="connsiteX4216" fmla="*/ 651388 w 5794893"/>
              <a:gd name="connsiteY4216" fmla="*/ 4384013 h 6858000"/>
              <a:gd name="connsiteX4217" fmla="*/ 599769 w 5794893"/>
              <a:gd name="connsiteY4217" fmla="*/ 4408594 h 6858000"/>
              <a:gd name="connsiteX4218" fmla="*/ 648930 w 5794893"/>
              <a:gd name="connsiteY4218" fmla="*/ 4537643 h 6858000"/>
              <a:gd name="connsiteX4219" fmla="*/ 699320 w 5794893"/>
              <a:gd name="connsiteY4219" fmla="*/ 4511832 h 6858000"/>
              <a:gd name="connsiteX4220" fmla="*/ 651388 w 5794893"/>
              <a:gd name="connsiteY4220" fmla="*/ 4384013 h 6858000"/>
              <a:gd name="connsiteX4221" fmla="*/ 887362 w 5794893"/>
              <a:gd name="connsiteY4221" fmla="*/ 4384013 h 6858000"/>
              <a:gd name="connsiteX4222" fmla="*/ 840659 w 5794893"/>
              <a:gd name="connsiteY4222" fmla="*/ 4419656 h 6858000"/>
              <a:gd name="connsiteX4223" fmla="*/ 908255 w 5794893"/>
              <a:gd name="connsiteY4223" fmla="*/ 4538871 h 6858000"/>
              <a:gd name="connsiteX4224" fmla="*/ 954959 w 5794893"/>
              <a:gd name="connsiteY4224" fmla="*/ 4503230 h 6858000"/>
              <a:gd name="connsiteX4225" fmla="*/ 887362 w 5794893"/>
              <a:gd name="connsiteY4225" fmla="*/ 4384013 h 6858000"/>
              <a:gd name="connsiteX4226" fmla="*/ 1123337 w 5794893"/>
              <a:gd name="connsiteY4226" fmla="*/ 4384013 h 6858000"/>
              <a:gd name="connsiteX4227" fmla="*/ 1080320 w 5794893"/>
              <a:gd name="connsiteY4227" fmla="*/ 4428258 h 6858000"/>
              <a:gd name="connsiteX4228" fmla="*/ 1167582 w 5794893"/>
              <a:gd name="connsiteY4228" fmla="*/ 4537643 h 6858000"/>
              <a:gd name="connsiteX4229" fmla="*/ 1210598 w 5794893"/>
              <a:gd name="connsiteY4229" fmla="*/ 4493398 h 6858000"/>
              <a:gd name="connsiteX4230" fmla="*/ 1123337 w 5794893"/>
              <a:gd name="connsiteY4230" fmla="*/ 4384013 h 6858000"/>
              <a:gd name="connsiteX4231" fmla="*/ 1240094 w 5794893"/>
              <a:gd name="connsiteY4231" fmla="*/ 4384013 h 6858000"/>
              <a:gd name="connsiteX4232" fmla="*/ 1199537 w 5794893"/>
              <a:gd name="connsiteY4232" fmla="*/ 4433174 h 6858000"/>
              <a:gd name="connsiteX4233" fmla="*/ 1296630 w 5794893"/>
              <a:gd name="connsiteY4233" fmla="*/ 4537643 h 6858000"/>
              <a:gd name="connsiteX4234" fmla="*/ 1338417 w 5794893"/>
              <a:gd name="connsiteY4234" fmla="*/ 4488482 h 6858000"/>
              <a:gd name="connsiteX4235" fmla="*/ 1240094 w 5794893"/>
              <a:gd name="connsiteY4235" fmla="*/ 4384013 h 6858000"/>
              <a:gd name="connsiteX4236" fmla="*/ 1359311 w 5794893"/>
              <a:gd name="connsiteY4236" fmla="*/ 4385243 h 6858000"/>
              <a:gd name="connsiteX4237" fmla="*/ 1319982 w 5794893"/>
              <a:gd name="connsiteY4237" fmla="*/ 4439320 h 6858000"/>
              <a:gd name="connsiteX4238" fmla="*/ 1426908 w 5794893"/>
              <a:gd name="connsiteY4238" fmla="*/ 4537643 h 6858000"/>
              <a:gd name="connsiteX4239" fmla="*/ 1466237 w 5794893"/>
              <a:gd name="connsiteY4239" fmla="*/ 4483565 h 6858000"/>
              <a:gd name="connsiteX4240" fmla="*/ 1359311 w 5794893"/>
              <a:gd name="connsiteY4240" fmla="*/ 4385243 h 6858000"/>
              <a:gd name="connsiteX4241" fmla="*/ 1005350 w 5794893"/>
              <a:gd name="connsiteY4241" fmla="*/ 4385243 h 6858000"/>
              <a:gd name="connsiteX4242" fmla="*/ 959875 w 5794893"/>
              <a:gd name="connsiteY4242" fmla="*/ 4423342 h 6858000"/>
              <a:gd name="connsiteX4243" fmla="*/ 1037304 w 5794893"/>
              <a:gd name="connsiteY4243" fmla="*/ 4537643 h 6858000"/>
              <a:gd name="connsiteX4244" fmla="*/ 1082778 w 5794893"/>
              <a:gd name="connsiteY4244" fmla="*/ 4498314 h 6858000"/>
              <a:gd name="connsiteX4245" fmla="*/ 1005350 w 5794893"/>
              <a:gd name="connsiteY4245" fmla="*/ 4385243 h 6858000"/>
              <a:gd name="connsiteX4246" fmla="*/ 769375 w 5794893"/>
              <a:gd name="connsiteY4246" fmla="*/ 4385243 h 6858000"/>
              <a:gd name="connsiteX4247" fmla="*/ 720214 w 5794893"/>
              <a:gd name="connsiteY4247" fmla="*/ 4413510 h 6858000"/>
              <a:gd name="connsiteX4248" fmla="*/ 777978 w 5794893"/>
              <a:gd name="connsiteY4248" fmla="*/ 4537643 h 6858000"/>
              <a:gd name="connsiteX4249" fmla="*/ 827139 w 5794893"/>
              <a:gd name="connsiteY4249" fmla="*/ 4508146 h 6858000"/>
              <a:gd name="connsiteX4250" fmla="*/ 769375 w 5794893"/>
              <a:gd name="connsiteY4250" fmla="*/ 4385243 h 6858000"/>
              <a:gd name="connsiteX4251" fmla="*/ 178209 w 5794893"/>
              <a:gd name="connsiteY4251" fmla="*/ 4385243 h 6858000"/>
              <a:gd name="connsiteX4252" fmla="*/ 119216 w 5794893"/>
              <a:gd name="connsiteY4252" fmla="*/ 4390159 h 6858000"/>
              <a:gd name="connsiteX4253" fmla="*/ 129048 w 5794893"/>
              <a:gd name="connsiteY4253" fmla="*/ 4538871 h 6858000"/>
              <a:gd name="connsiteX4254" fmla="*/ 188042 w 5794893"/>
              <a:gd name="connsiteY4254" fmla="*/ 4533955 h 6858000"/>
              <a:gd name="connsiteX4255" fmla="*/ 178209 w 5794893"/>
              <a:gd name="connsiteY4255" fmla="*/ 4385243 h 6858000"/>
              <a:gd name="connsiteX4256" fmla="*/ 296197 w 5794893"/>
              <a:gd name="connsiteY4256" fmla="*/ 4385243 h 6858000"/>
              <a:gd name="connsiteX4257" fmla="*/ 239661 w 5794893"/>
              <a:gd name="connsiteY4257" fmla="*/ 4395075 h 6858000"/>
              <a:gd name="connsiteX4258" fmla="*/ 259326 w 5794893"/>
              <a:gd name="connsiteY4258" fmla="*/ 4538871 h 6858000"/>
              <a:gd name="connsiteX4259" fmla="*/ 315861 w 5794893"/>
              <a:gd name="connsiteY4259" fmla="*/ 4529039 h 6858000"/>
              <a:gd name="connsiteX4260" fmla="*/ 296197 w 5794893"/>
              <a:gd name="connsiteY4260" fmla="*/ 4385243 h 6858000"/>
              <a:gd name="connsiteX4261" fmla="*/ 415413 w 5794893"/>
              <a:gd name="connsiteY4261" fmla="*/ 4385243 h 6858000"/>
              <a:gd name="connsiteX4262" fmla="*/ 360106 w 5794893"/>
              <a:gd name="connsiteY4262" fmla="*/ 4399991 h 6858000"/>
              <a:gd name="connsiteX4263" fmla="*/ 389603 w 5794893"/>
              <a:gd name="connsiteY4263" fmla="*/ 4538871 h 6858000"/>
              <a:gd name="connsiteX4264" fmla="*/ 444910 w 5794893"/>
              <a:gd name="connsiteY4264" fmla="*/ 4524123 h 6858000"/>
              <a:gd name="connsiteX4265" fmla="*/ 415413 w 5794893"/>
              <a:gd name="connsiteY4265" fmla="*/ 4385243 h 6858000"/>
              <a:gd name="connsiteX4266" fmla="*/ 532171 w 5794893"/>
              <a:gd name="connsiteY4266" fmla="*/ 4385243 h 6858000"/>
              <a:gd name="connsiteX4267" fmla="*/ 479323 w 5794893"/>
              <a:gd name="connsiteY4267" fmla="*/ 4404907 h 6858000"/>
              <a:gd name="connsiteX4268" fmla="*/ 518652 w 5794893"/>
              <a:gd name="connsiteY4268" fmla="*/ 4538871 h 6858000"/>
              <a:gd name="connsiteX4269" fmla="*/ 571500 w 5794893"/>
              <a:gd name="connsiteY4269" fmla="*/ 4519207 h 6858000"/>
              <a:gd name="connsiteX4270" fmla="*/ 532171 w 5794893"/>
              <a:gd name="connsiteY4270" fmla="*/ 4385243 h 6858000"/>
              <a:gd name="connsiteX4271" fmla="*/ 651388 w 5794893"/>
              <a:gd name="connsiteY4271" fmla="*/ 4578200 h 6858000"/>
              <a:gd name="connsiteX4272" fmla="*/ 599769 w 5794893"/>
              <a:gd name="connsiteY4272" fmla="*/ 4602781 h 6858000"/>
              <a:gd name="connsiteX4273" fmla="*/ 648930 w 5794893"/>
              <a:gd name="connsiteY4273" fmla="*/ 4731830 h 6858000"/>
              <a:gd name="connsiteX4274" fmla="*/ 699320 w 5794893"/>
              <a:gd name="connsiteY4274" fmla="*/ 4706020 h 6858000"/>
              <a:gd name="connsiteX4275" fmla="*/ 651388 w 5794893"/>
              <a:gd name="connsiteY4275" fmla="*/ 4578200 h 6858000"/>
              <a:gd name="connsiteX4276" fmla="*/ 769375 w 5794893"/>
              <a:gd name="connsiteY4276" fmla="*/ 4579430 h 6858000"/>
              <a:gd name="connsiteX4277" fmla="*/ 720214 w 5794893"/>
              <a:gd name="connsiteY4277" fmla="*/ 4607697 h 6858000"/>
              <a:gd name="connsiteX4278" fmla="*/ 777978 w 5794893"/>
              <a:gd name="connsiteY4278" fmla="*/ 4731830 h 6858000"/>
              <a:gd name="connsiteX4279" fmla="*/ 827139 w 5794893"/>
              <a:gd name="connsiteY4279" fmla="*/ 4702333 h 6858000"/>
              <a:gd name="connsiteX4280" fmla="*/ 769375 w 5794893"/>
              <a:gd name="connsiteY4280" fmla="*/ 4579430 h 6858000"/>
              <a:gd name="connsiteX4281" fmla="*/ 887362 w 5794893"/>
              <a:gd name="connsiteY4281" fmla="*/ 4579430 h 6858000"/>
              <a:gd name="connsiteX4282" fmla="*/ 840659 w 5794893"/>
              <a:gd name="connsiteY4282" fmla="*/ 4613843 h 6858000"/>
              <a:gd name="connsiteX4283" fmla="*/ 908255 w 5794893"/>
              <a:gd name="connsiteY4283" fmla="*/ 4733059 h 6858000"/>
              <a:gd name="connsiteX4284" fmla="*/ 954959 w 5794893"/>
              <a:gd name="connsiteY4284" fmla="*/ 4697417 h 6858000"/>
              <a:gd name="connsiteX4285" fmla="*/ 887362 w 5794893"/>
              <a:gd name="connsiteY4285" fmla="*/ 4579430 h 6858000"/>
              <a:gd name="connsiteX4286" fmla="*/ 1005350 w 5794893"/>
              <a:gd name="connsiteY4286" fmla="*/ 4579430 h 6858000"/>
              <a:gd name="connsiteX4287" fmla="*/ 959875 w 5794893"/>
              <a:gd name="connsiteY4287" fmla="*/ 4618759 h 6858000"/>
              <a:gd name="connsiteX4288" fmla="*/ 1037304 w 5794893"/>
              <a:gd name="connsiteY4288" fmla="*/ 4731830 h 6858000"/>
              <a:gd name="connsiteX4289" fmla="*/ 1082778 w 5794893"/>
              <a:gd name="connsiteY4289" fmla="*/ 4692501 h 6858000"/>
              <a:gd name="connsiteX4290" fmla="*/ 1005350 w 5794893"/>
              <a:gd name="connsiteY4290" fmla="*/ 4579430 h 6858000"/>
              <a:gd name="connsiteX4291" fmla="*/ 1123337 w 5794893"/>
              <a:gd name="connsiteY4291" fmla="*/ 4579430 h 6858000"/>
              <a:gd name="connsiteX4292" fmla="*/ 1080320 w 5794893"/>
              <a:gd name="connsiteY4292" fmla="*/ 4623675 h 6858000"/>
              <a:gd name="connsiteX4293" fmla="*/ 1167582 w 5794893"/>
              <a:gd name="connsiteY4293" fmla="*/ 4733059 h 6858000"/>
              <a:gd name="connsiteX4294" fmla="*/ 1210598 w 5794893"/>
              <a:gd name="connsiteY4294" fmla="*/ 4688813 h 6858000"/>
              <a:gd name="connsiteX4295" fmla="*/ 1123337 w 5794893"/>
              <a:gd name="connsiteY4295" fmla="*/ 4579430 h 6858000"/>
              <a:gd name="connsiteX4296" fmla="*/ 1240094 w 5794893"/>
              <a:gd name="connsiteY4296" fmla="*/ 4579430 h 6858000"/>
              <a:gd name="connsiteX4297" fmla="*/ 1199537 w 5794893"/>
              <a:gd name="connsiteY4297" fmla="*/ 4628591 h 6858000"/>
              <a:gd name="connsiteX4298" fmla="*/ 1296630 w 5794893"/>
              <a:gd name="connsiteY4298" fmla="*/ 4733059 h 6858000"/>
              <a:gd name="connsiteX4299" fmla="*/ 1338417 w 5794893"/>
              <a:gd name="connsiteY4299" fmla="*/ 4683897 h 6858000"/>
              <a:gd name="connsiteX4300" fmla="*/ 1240094 w 5794893"/>
              <a:gd name="connsiteY4300" fmla="*/ 4579430 h 6858000"/>
              <a:gd name="connsiteX4301" fmla="*/ 1359311 w 5794893"/>
              <a:gd name="connsiteY4301" fmla="*/ 4579430 h 6858000"/>
              <a:gd name="connsiteX4302" fmla="*/ 1319982 w 5794893"/>
              <a:gd name="connsiteY4302" fmla="*/ 4633507 h 6858000"/>
              <a:gd name="connsiteX4303" fmla="*/ 1426908 w 5794893"/>
              <a:gd name="connsiteY4303" fmla="*/ 4731830 h 6858000"/>
              <a:gd name="connsiteX4304" fmla="*/ 1466237 w 5794893"/>
              <a:gd name="connsiteY4304" fmla="*/ 4677753 h 6858000"/>
              <a:gd name="connsiteX4305" fmla="*/ 1359311 w 5794893"/>
              <a:gd name="connsiteY4305" fmla="*/ 4579430 h 6858000"/>
              <a:gd name="connsiteX4306" fmla="*/ 178209 w 5794893"/>
              <a:gd name="connsiteY4306" fmla="*/ 4579430 h 6858000"/>
              <a:gd name="connsiteX4307" fmla="*/ 119216 w 5794893"/>
              <a:gd name="connsiteY4307" fmla="*/ 4584346 h 6858000"/>
              <a:gd name="connsiteX4308" fmla="*/ 129048 w 5794893"/>
              <a:gd name="connsiteY4308" fmla="*/ 4733059 h 6858000"/>
              <a:gd name="connsiteX4309" fmla="*/ 188042 w 5794893"/>
              <a:gd name="connsiteY4309" fmla="*/ 4728142 h 6858000"/>
              <a:gd name="connsiteX4310" fmla="*/ 178209 w 5794893"/>
              <a:gd name="connsiteY4310" fmla="*/ 4579430 h 6858000"/>
              <a:gd name="connsiteX4311" fmla="*/ 296197 w 5794893"/>
              <a:gd name="connsiteY4311" fmla="*/ 4579430 h 6858000"/>
              <a:gd name="connsiteX4312" fmla="*/ 239661 w 5794893"/>
              <a:gd name="connsiteY4312" fmla="*/ 4589262 h 6858000"/>
              <a:gd name="connsiteX4313" fmla="*/ 259326 w 5794893"/>
              <a:gd name="connsiteY4313" fmla="*/ 4733059 h 6858000"/>
              <a:gd name="connsiteX4314" fmla="*/ 315861 w 5794893"/>
              <a:gd name="connsiteY4314" fmla="*/ 4723226 h 6858000"/>
              <a:gd name="connsiteX4315" fmla="*/ 296197 w 5794893"/>
              <a:gd name="connsiteY4315" fmla="*/ 4579430 h 6858000"/>
              <a:gd name="connsiteX4316" fmla="*/ 415413 w 5794893"/>
              <a:gd name="connsiteY4316" fmla="*/ 4579430 h 6858000"/>
              <a:gd name="connsiteX4317" fmla="*/ 360106 w 5794893"/>
              <a:gd name="connsiteY4317" fmla="*/ 4594178 h 6858000"/>
              <a:gd name="connsiteX4318" fmla="*/ 389603 w 5794893"/>
              <a:gd name="connsiteY4318" fmla="*/ 4733059 h 6858000"/>
              <a:gd name="connsiteX4319" fmla="*/ 444910 w 5794893"/>
              <a:gd name="connsiteY4319" fmla="*/ 4718310 h 6858000"/>
              <a:gd name="connsiteX4320" fmla="*/ 415413 w 5794893"/>
              <a:gd name="connsiteY4320" fmla="*/ 4579430 h 6858000"/>
              <a:gd name="connsiteX4321" fmla="*/ 532171 w 5794893"/>
              <a:gd name="connsiteY4321" fmla="*/ 4580658 h 6858000"/>
              <a:gd name="connsiteX4322" fmla="*/ 479323 w 5794893"/>
              <a:gd name="connsiteY4322" fmla="*/ 4600323 h 6858000"/>
              <a:gd name="connsiteX4323" fmla="*/ 518652 w 5794893"/>
              <a:gd name="connsiteY4323" fmla="*/ 4733059 h 6858000"/>
              <a:gd name="connsiteX4324" fmla="*/ 571500 w 5794893"/>
              <a:gd name="connsiteY4324" fmla="*/ 4714624 h 6858000"/>
              <a:gd name="connsiteX4325" fmla="*/ 532171 w 5794893"/>
              <a:gd name="connsiteY4325" fmla="*/ 4580658 h 6858000"/>
              <a:gd name="connsiteX4326" fmla="*/ 415413 w 5794893"/>
              <a:gd name="connsiteY4326" fmla="*/ 4772388 h 6858000"/>
              <a:gd name="connsiteX4327" fmla="*/ 360106 w 5794893"/>
              <a:gd name="connsiteY4327" fmla="*/ 4788366 h 6858000"/>
              <a:gd name="connsiteX4328" fmla="*/ 389603 w 5794893"/>
              <a:gd name="connsiteY4328" fmla="*/ 4927246 h 6858000"/>
              <a:gd name="connsiteX4329" fmla="*/ 444910 w 5794893"/>
              <a:gd name="connsiteY4329" fmla="*/ 4911269 h 6858000"/>
              <a:gd name="connsiteX4330" fmla="*/ 415413 w 5794893"/>
              <a:gd name="connsiteY4330" fmla="*/ 4772388 h 6858000"/>
              <a:gd name="connsiteX4331" fmla="*/ 532171 w 5794893"/>
              <a:gd name="connsiteY4331" fmla="*/ 4773617 h 6858000"/>
              <a:gd name="connsiteX4332" fmla="*/ 479323 w 5794893"/>
              <a:gd name="connsiteY4332" fmla="*/ 4794510 h 6858000"/>
              <a:gd name="connsiteX4333" fmla="*/ 518652 w 5794893"/>
              <a:gd name="connsiteY4333" fmla="*/ 4927246 h 6858000"/>
              <a:gd name="connsiteX4334" fmla="*/ 571500 w 5794893"/>
              <a:gd name="connsiteY4334" fmla="*/ 4907581 h 6858000"/>
              <a:gd name="connsiteX4335" fmla="*/ 532171 w 5794893"/>
              <a:gd name="connsiteY4335" fmla="*/ 4773617 h 6858000"/>
              <a:gd name="connsiteX4336" fmla="*/ 651388 w 5794893"/>
              <a:gd name="connsiteY4336" fmla="*/ 4773617 h 6858000"/>
              <a:gd name="connsiteX4337" fmla="*/ 599769 w 5794893"/>
              <a:gd name="connsiteY4337" fmla="*/ 4798198 h 6858000"/>
              <a:gd name="connsiteX4338" fmla="*/ 648930 w 5794893"/>
              <a:gd name="connsiteY4338" fmla="*/ 4927246 h 6858000"/>
              <a:gd name="connsiteX4339" fmla="*/ 699320 w 5794893"/>
              <a:gd name="connsiteY4339" fmla="*/ 4902665 h 6858000"/>
              <a:gd name="connsiteX4340" fmla="*/ 651388 w 5794893"/>
              <a:gd name="connsiteY4340" fmla="*/ 4773617 h 6858000"/>
              <a:gd name="connsiteX4341" fmla="*/ 769375 w 5794893"/>
              <a:gd name="connsiteY4341" fmla="*/ 4773617 h 6858000"/>
              <a:gd name="connsiteX4342" fmla="*/ 721442 w 5794893"/>
              <a:gd name="connsiteY4342" fmla="*/ 4803114 h 6858000"/>
              <a:gd name="connsiteX4343" fmla="*/ 779207 w 5794893"/>
              <a:gd name="connsiteY4343" fmla="*/ 4927246 h 6858000"/>
              <a:gd name="connsiteX4344" fmla="*/ 828369 w 5794893"/>
              <a:gd name="connsiteY4344" fmla="*/ 4897749 h 6858000"/>
              <a:gd name="connsiteX4345" fmla="*/ 769375 w 5794893"/>
              <a:gd name="connsiteY4345" fmla="*/ 4773617 h 6858000"/>
              <a:gd name="connsiteX4346" fmla="*/ 887362 w 5794893"/>
              <a:gd name="connsiteY4346" fmla="*/ 4773617 h 6858000"/>
              <a:gd name="connsiteX4347" fmla="*/ 840659 w 5794893"/>
              <a:gd name="connsiteY4347" fmla="*/ 4808030 h 6858000"/>
              <a:gd name="connsiteX4348" fmla="*/ 908255 w 5794893"/>
              <a:gd name="connsiteY4348" fmla="*/ 4927246 h 6858000"/>
              <a:gd name="connsiteX4349" fmla="*/ 954959 w 5794893"/>
              <a:gd name="connsiteY4349" fmla="*/ 4892833 h 6858000"/>
              <a:gd name="connsiteX4350" fmla="*/ 887362 w 5794893"/>
              <a:gd name="connsiteY4350" fmla="*/ 4773617 h 6858000"/>
              <a:gd name="connsiteX4351" fmla="*/ 1005350 w 5794893"/>
              <a:gd name="connsiteY4351" fmla="*/ 4773617 h 6858000"/>
              <a:gd name="connsiteX4352" fmla="*/ 959875 w 5794893"/>
              <a:gd name="connsiteY4352" fmla="*/ 4812946 h 6858000"/>
              <a:gd name="connsiteX4353" fmla="*/ 1037304 w 5794893"/>
              <a:gd name="connsiteY4353" fmla="*/ 4926017 h 6858000"/>
              <a:gd name="connsiteX4354" fmla="*/ 1082778 w 5794893"/>
              <a:gd name="connsiteY4354" fmla="*/ 4886688 h 6858000"/>
              <a:gd name="connsiteX4355" fmla="*/ 1005350 w 5794893"/>
              <a:gd name="connsiteY4355" fmla="*/ 4773617 h 6858000"/>
              <a:gd name="connsiteX4356" fmla="*/ 1123337 w 5794893"/>
              <a:gd name="connsiteY4356" fmla="*/ 4773617 h 6858000"/>
              <a:gd name="connsiteX4357" fmla="*/ 1080320 w 5794893"/>
              <a:gd name="connsiteY4357" fmla="*/ 4817863 h 6858000"/>
              <a:gd name="connsiteX4358" fmla="*/ 1167582 w 5794893"/>
              <a:gd name="connsiteY4358" fmla="*/ 4927246 h 6858000"/>
              <a:gd name="connsiteX4359" fmla="*/ 1210598 w 5794893"/>
              <a:gd name="connsiteY4359" fmla="*/ 4883001 h 6858000"/>
              <a:gd name="connsiteX4360" fmla="*/ 1123337 w 5794893"/>
              <a:gd name="connsiteY4360" fmla="*/ 4773617 h 6858000"/>
              <a:gd name="connsiteX4361" fmla="*/ 1240094 w 5794893"/>
              <a:gd name="connsiteY4361" fmla="*/ 4773617 h 6858000"/>
              <a:gd name="connsiteX4362" fmla="*/ 1199537 w 5794893"/>
              <a:gd name="connsiteY4362" fmla="*/ 4822779 h 6858000"/>
              <a:gd name="connsiteX4363" fmla="*/ 1296630 w 5794893"/>
              <a:gd name="connsiteY4363" fmla="*/ 4927246 h 6858000"/>
              <a:gd name="connsiteX4364" fmla="*/ 1338417 w 5794893"/>
              <a:gd name="connsiteY4364" fmla="*/ 4878085 h 6858000"/>
              <a:gd name="connsiteX4365" fmla="*/ 1240094 w 5794893"/>
              <a:gd name="connsiteY4365" fmla="*/ 4773617 h 6858000"/>
              <a:gd name="connsiteX4366" fmla="*/ 1359311 w 5794893"/>
              <a:gd name="connsiteY4366" fmla="*/ 4773617 h 6858000"/>
              <a:gd name="connsiteX4367" fmla="*/ 1319982 w 5794893"/>
              <a:gd name="connsiteY4367" fmla="*/ 4827695 h 6858000"/>
              <a:gd name="connsiteX4368" fmla="*/ 1426908 w 5794893"/>
              <a:gd name="connsiteY4368" fmla="*/ 4926017 h 6858000"/>
              <a:gd name="connsiteX4369" fmla="*/ 1466237 w 5794893"/>
              <a:gd name="connsiteY4369" fmla="*/ 4873168 h 6858000"/>
              <a:gd name="connsiteX4370" fmla="*/ 1359311 w 5794893"/>
              <a:gd name="connsiteY4370" fmla="*/ 4773617 h 6858000"/>
              <a:gd name="connsiteX4371" fmla="*/ 178209 w 5794893"/>
              <a:gd name="connsiteY4371" fmla="*/ 4773617 h 6858000"/>
              <a:gd name="connsiteX4372" fmla="*/ 119216 w 5794893"/>
              <a:gd name="connsiteY4372" fmla="*/ 4778533 h 6858000"/>
              <a:gd name="connsiteX4373" fmla="*/ 129048 w 5794893"/>
              <a:gd name="connsiteY4373" fmla="*/ 4927246 h 6858000"/>
              <a:gd name="connsiteX4374" fmla="*/ 188042 w 5794893"/>
              <a:gd name="connsiteY4374" fmla="*/ 4922330 h 6858000"/>
              <a:gd name="connsiteX4375" fmla="*/ 178209 w 5794893"/>
              <a:gd name="connsiteY4375" fmla="*/ 4773617 h 6858000"/>
              <a:gd name="connsiteX4376" fmla="*/ 296197 w 5794893"/>
              <a:gd name="connsiteY4376" fmla="*/ 4773617 h 6858000"/>
              <a:gd name="connsiteX4377" fmla="*/ 239661 w 5794893"/>
              <a:gd name="connsiteY4377" fmla="*/ 4783450 h 6858000"/>
              <a:gd name="connsiteX4378" fmla="*/ 259326 w 5794893"/>
              <a:gd name="connsiteY4378" fmla="*/ 4927246 h 6858000"/>
              <a:gd name="connsiteX4379" fmla="*/ 315861 w 5794893"/>
              <a:gd name="connsiteY4379" fmla="*/ 4917414 h 6858000"/>
              <a:gd name="connsiteX4380" fmla="*/ 296197 w 5794893"/>
              <a:gd name="connsiteY4380" fmla="*/ 4773617 h 6858000"/>
              <a:gd name="connsiteX4381" fmla="*/ 178209 w 5794893"/>
              <a:gd name="connsiteY4381" fmla="*/ 4967805 h 6858000"/>
              <a:gd name="connsiteX4382" fmla="*/ 119216 w 5794893"/>
              <a:gd name="connsiteY4382" fmla="*/ 4972721 h 6858000"/>
              <a:gd name="connsiteX4383" fmla="*/ 129048 w 5794893"/>
              <a:gd name="connsiteY4383" fmla="*/ 5121433 h 6858000"/>
              <a:gd name="connsiteX4384" fmla="*/ 188042 w 5794893"/>
              <a:gd name="connsiteY4384" fmla="*/ 5116517 h 6858000"/>
              <a:gd name="connsiteX4385" fmla="*/ 178209 w 5794893"/>
              <a:gd name="connsiteY4385" fmla="*/ 4967805 h 6858000"/>
              <a:gd name="connsiteX4386" fmla="*/ 296197 w 5794893"/>
              <a:gd name="connsiteY4386" fmla="*/ 4967805 h 6858000"/>
              <a:gd name="connsiteX4387" fmla="*/ 239661 w 5794893"/>
              <a:gd name="connsiteY4387" fmla="*/ 4977637 h 6858000"/>
              <a:gd name="connsiteX4388" fmla="*/ 259326 w 5794893"/>
              <a:gd name="connsiteY4388" fmla="*/ 5121433 h 6858000"/>
              <a:gd name="connsiteX4389" fmla="*/ 315861 w 5794893"/>
              <a:gd name="connsiteY4389" fmla="*/ 5111601 h 6858000"/>
              <a:gd name="connsiteX4390" fmla="*/ 296197 w 5794893"/>
              <a:gd name="connsiteY4390" fmla="*/ 4967805 h 6858000"/>
              <a:gd name="connsiteX4391" fmla="*/ 651388 w 5794893"/>
              <a:gd name="connsiteY4391" fmla="*/ 4967805 h 6858000"/>
              <a:gd name="connsiteX4392" fmla="*/ 599769 w 5794893"/>
              <a:gd name="connsiteY4392" fmla="*/ 4992385 h 6858000"/>
              <a:gd name="connsiteX4393" fmla="*/ 648930 w 5794893"/>
              <a:gd name="connsiteY4393" fmla="*/ 5121433 h 6858000"/>
              <a:gd name="connsiteX4394" fmla="*/ 699320 w 5794893"/>
              <a:gd name="connsiteY4394" fmla="*/ 5095624 h 6858000"/>
              <a:gd name="connsiteX4395" fmla="*/ 651388 w 5794893"/>
              <a:gd name="connsiteY4395" fmla="*/ 4967805 h 6858000"/>
              <a:gd name="connsiteX4396" fmla="*/ 769375 w 5794893"/>
              <a:gd name="connsiteY4396" fmla="*/ 4967805 h 6858000"/>
              <a:gd name="connsiteX4397" fmla="*/ 720214 w 5794893"/>
              <a:gd name="connsiteY4397" fmla="*/ 4998530 h 6858000"/>
              <a:gd name="connsiteX4398" fmla="*/ 777978 w 5794893"/>
              <a:gd name="connsiteY4398" fmla="*/ 5121433 h 6858000"/>
              <a:gd name="connsiteX4399" fmla="*/ 827139 w 5794893"/>
              <a:gd name="connsiteY4399" fmla="*/ 5091936 h 6858000"/>
              <a:gd name="connsiteX4400" fmla="*/ 769375 w 5794893"/>
              <a:gd name="connsiteY4400" fmla="*/ 4967805 h 6858000"/>
              <a:gd name="connsiteX4401" fmla="*/ 887362 w 5794893"/>
              <a:gd name="connsiteY4401" fmla="*/ 4967805 h 6858000"/>
              <a:gd name="connsiteX4402" fmla="*/ 840659 w 5794893"/>
              <a:gd name="connsiteY4402" fmla="*/ 5002218 h 6858000"/>
              <a:gd name="connsiteX4403" fmla="*/ 908255 w 5794893"/>
              <a:gd name="connsiteY4403" fmla="*/ 5121433 h 6858000"/>
              <a:gd name="connsiteX4404" fmla="*/ 954959 w 5794893"/>
              <a:gd name="connsiteY4404" fmla="*/ 5087020 h 6858000"/>
              <a:gd name="connsiteX4405" fmla="*/ 887362 w 5794893"/>
              <a:gd name="connsiteY4405" fmla="*/ 4967805 h 6858000"/>
              <a:gd name="connsiteX4406" fmla="*/ 1005350 w 5794893"/>
              <a:gd name="connsiteY4406" fmla="*/ 4967805 h 6858000"/>
              <a:gd name="connsiteX4407" fmla="*/ 959875 w 5794893"/>
              <a:gd name="connsiteY4407" fmla="*/ 5007134 h 6858000"/>
              <a:gd name="connsiteX4408" fmla="*/ 1037304 w 5794893"/>
              <a:gd name="connsiteY4408" fmla="*/ 5120205 h 6858000"/>
              <a:gd name="connsiteX4409" fmla="*/ 1082778 w 5794893"/>
              <a:gd name="connsiteY4409" fmla="*/ 5080876 h 6858000"/>
              <a:gd name="connsiteX4410" fmla="*/ 1005350 w 5794893"/>
              <a:gd name="connsiteY4410" fmla="*/ 4967805 h 6858000"/>
              <a:gd name="connsiteX4411" fmla="*/ 1123337 w 5794893"/>
              <a:gd name="connsiteY4411" fmla="*/ 4969033 h 6858000"/>
              <a:gd name="connsiteX4412" fmla="*/ 1080320 w 5794893"/>
              <a:gd name="connsiteY4412" fmla="*/ 5013278 h 6858000"/>
              <a:gd name="connsiteX4413" fmla="*/ 1167582 w 5794893"/>
              <a:gd name="connsiteY4413" fmla="*/ 5121433 h 6858000"/>
              <a:gd name="connsiteX4414" fmla="*/ 1210598 w 5794893"/>
              <a:gd name="connsiteY4414" fmla="*/ 5077188 h 6858000"/>
              <a:gd name="connsiteX4415" fmla="*/ 1123337 w 5794893"/>
              <a:gd name="connsiteY4415" fmla="*/ 4969033 h 6858000"/>
              <a:gd name="connsiteX4416" fmla="*/ 1241324 w 5794893"/>
              <a:gd name="connsiteY4416" fmla="*/ 4969033 h 6858000"/>
              <a:gd name="connsiteX4417" fmla="*/ 1200765 w 5794893"/>
              <a:gd name="connsiteY4417" fmla="*/ 5018194 h 6858000"/>
              <a:gd name="connsiteX4418" fmla="*/ 1297860 w 5794893"/>
              <a:gd name="connsiteY4418" fmla="*/ 5121433 h 6858000"/>
              <a:gd name="connsiteX4419" fmla="*/ 1338417 w 5794893"/>
              <a:gd name="connsiteY4419" fmla="*/ 5072272 h 6858000"/>
              <a:gd name="connsiteX4420" fmla="*/ 1241324 w 5794893"/>
              <a:gd name="connsiteY4420" fmla="*/ 4969033 h 6858000"/>
              <a:gd name="connsiteX4421" fmla="*/ 1359311 w 5794893"/>
              <a:gd name="connsiteY4421" fmla="*/ 4969033 h 6858000"/>
              <a:gd name="connsiteX4422" fmla="*/ 1319982 w 5794893"/>
              <a:gd name="connsiteY4422" fmla="*/ 5023110 h 6858000"/>
              <a:gd name="connsiteX4423" fmla="*/ 1426908 w 5794893"/>
              <a:gd name="connsiteY4423" fmla="*/ 5121433 h 6858000"/>
              <a:gd name="connsiteX4424" fmla="*/ 1466237 w 5794893"/>
              <a:gd name="connsiteY4424" fmla="*/ 5067356 h 6858000"/>
              <a:gd name="connsiteX4425" fmla="*/ 1359311 w 5794893"/>
              <a:gd name="connsiteY4425" fmla="*/ 4969033 h 6858000"/>
              <a:gd name="connsiteX4426" fmla="*/ 415413 w 5794893"/>
              <a:gd name="connsiteY4426" fmla="*/ 4969033 h 6858000"/>
              <a:gd name="connsiteX4427" fmla="*/ 360106 w 5794893"/>
              <a:gd name="connsiteY4427" fmla="*/ 4983781 h 6858000"/>
              <a:gd name="connsiteX4428" fmla="*/ 389603 w 5794893"/>
              <a:gd name="connsiteY4428" fmla="*/ 5122663 h 6858000"/>
              <a:gd name="connsiteX4429" fmla="*/ 444910 w 5794893"/>
              <a:gd name="connsiteY4429" fmla="*/ 5107914 h 6858000"/>
              <a:gd name="connsiteX4430" fmla="*/ 415413 w 5794893"/>
              <a:gd name="connsiteY4430" fmla="*/ 4969033 h 6858000"/>
              <a:gd name="connsiteX4431" fmla="*/ 532171 w 5794893"/>
              <a:gd name="connsiteY4431" fmla="*/ 4969033 h 6858000"/>
              <a:gd name="connsiteX4432" fmla="*/ 479323 w 5794893"/>
              <a:gd name="connsiteY4432" fmla="*/ 4988698 h 6858000"/>
              <a:gd name="connsiteX4433" fmla="*/ 518652 w 5794893"/>
              <a:gd name="connsiteY4433" fmla="*/ 5122663 h 6858000"/>
              <a:gd name="connsiteX4434" fmla="*/ 571500 w 5794893"/>
              <a:gd name="connsiteY4434" fmla="*/ 5102998 h 6858000"/>
              <a:gd name="connsiteX4435" fmla="*/ 532171 w 5794893"/>
              <a:gd name="connsiteY4435" fmla="*/ 4969033 h 6858000"/>
              <a:gd name="connsiteX4436" fmla="*/ 178209 w 5794893"/>
              <a:gd name="connsiteY4436" fmla="*/ 5161992 h 6858000"/>
              <a:gd name="connsiteX4437" fmla="*/ 119216 w 5794893"/>
              <a:gd name="connsiteY4437" fmla="*/ 5166908 h 6858000"/>
              <a:gd name="connsiteX4438" fmla="*/ 129048 w 5794893"/>
              <a:gd name="connsiteY4438" fmla="*/ 5315620 h 6858000"/>
              <a:gd name="connsiteX4439" fmla="*/ 188042 w 5794893"/>
              <a:gd name="connsiteY4439" fmla="*/ 5310704 h 6858000"/>
              <a:gd name="connsiteX4440" fmla="*/ 178209 w 5794893"/>
              <a:gd name="connsiteY4440" fmla="*/ 5161992 h 6858000"/>
              <a:gd name="connsiteX4441" fmla="*/ 296197 w 5794893"/>
              <a:gd name="connsiteY4441" fmla="*/ 5161992 h 6858000"/>
              <a:gd name="connsiteX4442" fmla="*/ 239661 w 5794893"/>
              <a:gd name="connsiteY4442" fmla="*/ 5171824 h 6858000"/>
              <a:gd name="connsiteX4443" fmla="*/ 259326 w 5794893"/>
              <a:gd name="connsiteY4443" fmla="*/ 5315620 h 6858000"/>
              <a:gd name="connsiteX4444" fmla="*/ 315861 w 5794893"/>
              <a:gd name="connsiteY4444" fmla="*/ 5305788 h 6858000"/>
              <a:gd name="connsiteX4445" fmla="*/ 296197 w 5794893"/>
              <a:gd name="connsiteY4445" fmla="*/ 5161992 h 6858000"/>
              <a:gd name="connsiteX4446" fmla="*/ 651388 w 5794893"/>
              <a:gd name="connsiteY4446" fmla="*/ 5161992 h 6858000"/>
              <a:gd name="connsiteX4447" fmla="*/ 599769 w 5794893"/>
              <a:gd name="connsiteY4447" fmla="*/ 5186573 h 6858000"/>
              <a:gd name="connsiteX4448" fmla="*/ 648930 w 5794893"/>
              <a:gd name="connsiteY4448" fmla="*/ 5315620 h 6858000"/>
              <a:gd name="connsiteX4449" fmla="*/ 699320 w 5794893"/>
              <a:gd name="connsiteY4449" fmla="*/ 5291040 h 6858000"/>
              <a:gd name="connsiteX4450" fmla="*/ 651388 w 5794893"/>
              <a:gd name="connsiteY4450" fmla="*/ 5161992 h 6858000"/>
              <a:gd name="connsiteX4451" fmla="*/ 769375 w 5794893"/>
              <a:gd name="connsiteY4451" fmla="*/ 5161992 h 6858000"/>
              <a:gd name="connsiteX4452" fmla="*/ 720214 w 5794893"/>
              <a:gd name="connsiteY4452" fmla="*/ 5192717 h 6858000"/>
              <a:gd name="connsiteX4453" fmla="*/ 777978 w 5794893"/>
              <a:gd name="connsiteY4453" fmla="*/ 5315620 h 6858000"/>
              <a:gd name="connsiteX4454" fmla="*/ 827139 w 5794893"/>
              <a:gd name="connsiteY4454" fmla="*/ 5286124 h 6858000"/>
              <a:gd name="connsiteX4455" fmla="*/ 769375 w 5794893"/>
              <a:gd name="connsiteY4455" fmla="*/ 5161992 h 6858000"/>
              <a:gd name="connsiteX4456" fmla="*/ 1359311 w 5794893"/>
              <a:gd name="connsiteY4456" fmla="*/ 5161992 h 6858000"/>
              <a:gd name="connsiteX4457" fmla="*/ 1319982 w 5794893"/>
              <a:gd name="connsiteY4457" fmla="*/ 5217298 h 6858000"/>
              <a:gd name="connsiteX4458" fmla="*/ 1426908 w 5794893"/>
              <a:gd name="connsiteY4458" fmla="*/ 5314392 h 6858000"/>
              <a:gd name="connsiteX4459" fmla="*/ 1466237 w 5794893"/>
              <a:gd name="connsiteY4459" fmla="*/ 5260315 h 6858000"/>
              <a:gd name="connsiteX4460" fmla="*/ 1359311 w 5794893"/>
              <a:gd name="connsiteY4460" fmla="*/ 5161992 h 6858000"/>
              <a:gd name="connsiteX4461" fmla="*/ 1476069 w 5794893"/>
              <a:gd name="connsiteY4461" fmla="*/ 5163220 h 6858000"/>
              <a:gd name="connsiteX4462" fmla="*/ 1439198 w 5794893"/>
              <a:gd name="connsiteY4462" fmla="*/ 5222214 h 6858000"/>
              <a:gd name="connsiteX4463" fmla="*/ 1555957 w 5794893"/>
              <a:gd name="connsiteY4463" fmla="*/ 5315620 h 6858000"/>
              <a:gd name="connsiteX4464" fmla="*/ 1592828 w 5794893"/>
              <a:gd name="connsiteY4464" fmla="*/ 5256627 h 6858000"/>
              <a:gd name="connsiteX4465" fmla="*/ 1476069 w 5794893"/>
              <a:gd name="connsiteY4465" fmla="*/ 5163220 h 6858000"/>
              <a:gd name="connsiteX4466" fmla="*/ 887362 w 5794893"/>
              <a:gd name="connsiteY4466" fmla="*/ 5163220 h 6858000"/>
              <a:gd name="connsiteX4467" fmla="*/ 840659 w 5794893"/>
              <a:gd name="connsiteY4467" fmla="*/ 5197633 h 6858000"/>
              <a:gd name="connsiteX4468" fmla="*/ 908255 w 5794893"/>
              <a:gd name="connsiteY4468" fmla="*/ 5315620 h 6858000"/>
              <a:gd name="connsiteX4469" fmla="*/ 954959 w 5794893"/>
              <a:gd name="connsiteY4469" fmla="*/ 5282437 h 6858000"/>
              <a:gd name="connsiteX4470" fmla="*/ 887362 w 5794893"/>
              <a:gd name="connsiteY4470" fmla="*/ 5163220 h 6858000"/>
              <a:gd name="connsiteX4471" fmla="*/ 1005350 w 5794893"/>
              <a:gd name="connsiteY4471" fmla="*/ 5163220 h 6858000"/>
              <a:gd name="connsiteX4472" fmla="*/ 959875 w 5794893"/>
              <a:gd name="connsiteY4472" fmla="*/ 5202549 h 6858000"/>
              <a:gd name="connsiteX4473" fmla="*/ 1037304 w 5794893"/>
              <a:gd name="connsiteY4473" fmla="*/ 5315620 h 6858000"/>
              <a:gd name="connsiteX4474" fmla="*/ 1082778 w 5794893"/>
              <a:gd name="connsiteY4474" fmla="*/ 5276291 h 6858000"/>
              <a:gd name="connsiteX4475" fmla="*/ 1005350 w 5794893"/>
              <a:gd name="connsiteY4475" fmla="*/ 5163220 h 6858000"/>
              <a:gd name="connsiteX4476" fmla="*/ 1123337 w 5794893"/>
              <a:gd name="connsiteY4476" fmla="*/ 5163220 h 6858000"/>
              <a:gd name="connsiteX4477" fmla="*/ 1080320 w 5794893"/>
              <a:gd name="connsiteY4477" fmla="*/ 5207466 h 6858000"/>
              <a:gd name="connsiteX4478" fmla="*/ 1167582 w 5794893"/>
              <a:gd name="connsiteY4478" fmla="*/ 5315620 h 6858000"/>
              <a:gd name="connsiteX4479" fmla="*/ 1210598 w 5794893"/>
              <a:gd name="connsiteY4479" fmla="*/ 5271375 h 6858000"/>
              <a:gd name="connsiteX4480" fmla="*/ 1123337 w 5794893"/>
              <a:gd name="connsiteY4480" fmla="*/ 5163220 h 6858000"/>
              <a:gd name="connsiteX4481" fmla="*/ 1242552 w 5794893"/>
              <a:gd name="connsiteY4481" fmla="*/ 5163220 h 6858000"/>
              <a:gd name="connsiteX4482" fmla="*/ 1200765 w 5794893"/>
              <a:gd name="connsiteY4482" fmla="*/ 5212382 h 6858000"/>
              <a:gd name="connsiteX4483" fmla="*/ 1297860 w 5794893"/>
              <a:gd name="connsiteY4483" fmla="*/ 5315620 h 6858000"/>
              <a:gd name="connsiteX4484" fmla="*/ 1338417 w 5794893"/>
              <a:gd name="connsiteY4484" fmla="*/ 5266459 h 6858000"/>
              <a:gd name="connsiteX4485" fmla="*/ 1242552 w 5794893"/>
              <a:gd name="connsiteY4485" fmla="*/ 5163220 h 6858000"/>
              <a:gd name="connsiteX4486" fmla="*/ 415413 w 5794893"/>
              <a:gd name="connsiteY4486" fmla="*/ 5163220 h 6858000"/>
              <a:gd name="connsiteX4487" fmla="*/ 360106 w 5794893"/>
              <a:gd name="connsiteY4487" fmla="*/ 5177969 h 6858000"/>
              <a:gd name="connsiteX4488" fmla="*/ 389603 w 5794893"/>
              <a:gd name="connsiteY4488" fmla="*/ 5316850 h 6858000"/>
              <a:gd name="connsiteX4489" fmla="*/ 444910 w 5794893"/>
              <a:gd name="connsiteY4489" fmla="*/ 5302102 h 6858000"/>
              <a:gd name="connsiteX4490" fmla="*/ 415413 w 5794893"/>
              <a:gd name="connsiteY4490" fmla="*/ 5163220 h 6858000"/>
              <a:gd name="connsiteX4491" fmla="*/ 532171 w 5794893"/>
              <a:gd name="connsiteY4491" fmla="*/ 5163220 h 6858000"/>
              <a:gd name="connsiteX4492" fmla="*/ 479323 w 5794893"/>
              <a:gd name="connsiteY4492" fmla="*/ 5182885 h 6858000"/>
              <a:gd name="connsiteX4493" fmla="*/ 518652 w 5794893"/>
              <a:gd name="connsiteY4493" fmla="*/ 5315620 h 6858000"/>
              <a:gd name="connsiteX4494" fmla="*/ 571500 w 5794893"/>
              <a:gd name="connsiteY4494" fmla="*/ 5297186 h 6858000"/>
              <a:gd name="connsiteX4495" fmla="*/ 532171 w 5794893"/>
              <a:gd name="connsiteY4495" fmla="*/ 5163220 h 6858000"/>
              <a:gd name="connsiteX4496" fmla="*/ 178209 w 5794893"/>
              <a:gd name="connsiteY4496" fmla="*/ 5350033 h 6858000"/>
              <a:gd name="connsiteX4497" fmla="*/ 119216 w 5794893"/>
              <a:gd name="connsiteY4497" fmla="*/ 5354950 h 6858000"/>
              <a:gd name="connsiteX4498" fmla="*/ 129048 w 5794893"/>
              <a:gd name="connsiteY4498" fmla="*/ 5503663 h 6858000"/>
              <a:gd name="connsiteX4499" fmla="*/ 188042 w 5794893"/>
              <a:gd name="connsiteY4499" fmla="*/ 5498747 h 6858000"/>
              <a:gd name="connsiteX4500" fmla="*/ 178209 w 5794893"/>
              <a:gd name="connsiteY4500" fmla="*/ 5350033 h 6858000"/>
              <a:gd name="connsiteX4501" fmla="*/ 296197 w 5794893"/>
              <a:gd name="connsiteY4501" fmla="*/ 5350033 h 6858000"/>
              <a:gd name="connsiteX4502" fmla="*/ 239661 w 5794893"/>
              <a:gd name="connsiteY4502" fmla="*/ 5359867 h 6858000"/>
              <a:gd name="connsiteX4503" fmla="*/ 259326 w 5794893"/>
              <a:gd name="connsiteY4503" fmla="*/ 5503663 h 6858000"/>
              <a:gd name="connsiteX4504" fmla="*/ 315861 w 5794893"/>
              <a:gd name="connsiteY4504" fmla="*/ 5493831 h 6858000"/>
              <a:gd name="connsiteX4505" fmla="*/ 296197 w 5794893"/>
              <a:gd name="connsiteY4505" fmla="*/ 5350033 h 6858000"/>
              <a:gd name="connsiteX4506" fmla="*/ 415413 w 5794893"/>
              <a:gd name="connsiteY4506" fmla="*/ 5350033 h 6858000"/>
              <a:gd name="connsiteX4507" fmla="*/ 360106 w 5794893"/>
              <a:gd name="connsiteY4507" fmla="*/ 5364783 h 6858000"/>
              <a:gd name="connsiteX4508" fmla="*/ 389603 w 5794893"/>
              <a:gd name="connsiteY4508" fmla="*/ 5503663 h 6858000"/>
              <a:gd name="connsiteX4509" fmla="*/ 444910 w 5794893"/>
              <a:gd name="connsiteY4509" fmla="*/ 5488915 h 6858000"/>
              <a:gd name="connsiteX4510" fmla="*/ 415413 w 5794893"/>
              <a:gd name="connsiteY4510" fmla="*/ 5350033 h 6858000"/>
              <a:gd name="connsiteX4511" fmla="*/ 532171 w 5794893"/>
              <a:gd name="connsiteY4511" fmla="*/ 5350033 h 6858000"/>
              <a:gd name="connsiteX4512" fmla="*/ 479323 w 5794893"/>
              <a:gd name="connsiteY4512" fmla="*/ 5369698 h 6858000"/>
              <a:gd name="connsiteX4513" fmla="*/ 518652 w 5794893"/>
              <a:gd name="connsiteY4513" fmla="*/ 5503663 h 6858000"/>
              <a:gd name="connsiteX4514" fmla="*/ 571500 w 5794893"/>
              <a:gd name="connsiteY4514" fmla="*/ 5483999 h 6858000"/>
              <a:gd name="connsiteX4515" fmla="*/ 532171 w 5794893"/>
              <a:gd name="connsiteY4515" fmla="*/ 5350033 h 6858000"/>
              <a:gd name="connsiteX4516" fmla="*/ 651388 w 5794893"/>
              <a:gd name="connsiteY4516" fmla="*/ 5350033 h 6858000"/>
              <a:gd name="connsiteX4517" fmla="*/ 599769 w 5794893"/>
              <a:gd name="connsiteY4517" fmla="*/ 5374614 h 6858000"/>
              <a:gd name="connsiteX4518" fmla="*/ 648930 w 5794893"/>
              <a:gd name="connsiteY4518" fmla="*/ 5503663 h 6858000"/>
              <a:gd name="connsiteX4519" fmla="*/ 699320 w 5794893"/>
              <a:gd name="connsiteY4519" fmla="*/ 5479083 h 6858000"/>
              <a:gd name="connsiteX4520" fmla="*/ 651388 w 5794893"/>
              <a:gd name="connsiteY4520" fmla="*/ 5350033 h 6858000"/>
              <a:gd name="connsiteX4521" fmla="*/ 769375 w 5794893"/>
              <a:gd name="connsiteY4521" fmla="*/ 5350033 h 6858000"/>
              <a:gd name="connsiteX4522" fmla="*/ 720214 w 5794893"/>
              <a:gd name="connsiteY4522" fmla="*/ 5378302 h 6858000"/>
              <a:gd name="connsiteX4523" fmla="*/ 777978 w 5794893"/>
              <a:gd name="connsiteY4523" fmla="*/ 5502434 h 6858000"/>
              <a:gd name="connsiteX4524" fmla="*/ 827139 w 5794893"/>
              <a:gd name="connsiteY4524" fmla="*/ 5472937 h 6858000"/>
              <a:gd name="connsiteX4525" fmla="*/ 769375 w 5794893"/>
              <a:gd name="connsiteY4525" fmla="*/ 5350033 h 6858000"/>
              <a:gd name="connsiteX4526" fmla="*/ 887362 w 5794893"/>
              <a:gd name="connsiteY4526" fmla="*/ 5350033 h 6858000"/>
              <a:gd name="connsiteX4527" fmla="*/ 840659 w 5794893"/>
              <a:gd name="connsiteY4527" fmla="*/ 5384448 h 6858000"/>
              <a:gd name="connsiteX4528" fmla="*/ 908255 w 5794893"/>
              <a:gd name="connsiteY4528" fmla="*/ 5503663 h 6858000"/>
              <a:gd name="connsiteX4529" fmla="*/ 954959 w 5794893"/>
              <a:gd name="connsiteY4529" fmla="*/ 5469250 h 6858000"/>
              <a:gd name="connsiteX4530" fmla="*/ 887362 w 5794893"/>
              <a:gd name="connsiteY4530" fmla="*/ 5350033 h 6858000"/>
              <a:gd name="connsiteX4531" fmla="*/ 1005350 w 5794893"/>
              <a:gd name="connsiteY4531" fmla="*/ 5350033 h 6858000"/>
              <a:gd name="connsiteX4532" fmla="*/ 959875 w 5794893"/>
              <a:gd name="connsiteY4532" fmla="*/ 5388134 h 6858000"/>
              <a:gd name="connsiteX4533" fmla="*/ 1037304 w 5794893"/>
              <a:gd name="connsiteY4533" fmla="*/ 5502434 h 6858000"/>
              <a:gd name="connsiteX4534" fmla="*/ 1082778 w 5794893"/>
              <a:gd name="connsiteY4534" fmla="*/ 5463106 h 6858000"/>
              <a:gd name="connsiteX4535" fmla="*/ 1005350 w 5794893"/>
              <a:gd name="connsiteY4535" fmla="*/ 5350033 h 6858000"/>
              <a:gd name="connsiteX4536" fmla="*/ 1123337 w 5794893"/>
              <a:gd name="connsiteY4536" fmla="*/ 5350033 h 6858000"/>
              <a:gd name="connsiteX4537" fmla="*/ 1080320 w 5794893"/>
              <a:gd name="connsiteY4537" fmla="*/ 5394279 h 6858000"/>
              <a:gd name="connsiteX4538" fmla="*/ 1167582 w 5794893"/>
              <a:gd name="connsiteY4538" fmla="*/ 5503663 h 6858000"/>
              <a:gd name="connsiteX4539" fmla="*/ 1210598 w 5794893"/>
              <a:gd name="connsiteY4539" fmla="*/ 5459418 h 6858000"/>
              <a:gd name="connsiteX4540" fmla="*/ 1123337 w 5794893"/>
              <a:gd name="connsiteY4540" fmla="*/ 5350033 h 6858000"/>
              <a:gd name="connsiteX4541" fmla="*/ 1242552 w 5794893"/>
              <a:gd name="connsiteY4541" fmla="*/ 5350033 h 6858000"/>
              <a:gd name="connsiteX4542" fmla="*/ 1200765 w 5794893"/>
              <a:gd name="connsiteY4542" fmla="*/ 5399195 h 6858000"/>
              <a:gd name="connsiteX4543" fmla="*/ 1297860 w 5794893"/>
              <a:gd name="connsiteY4543" fmla="*/ 5503663 h 6858000"/>
              <a:gd name="connsiteX4544" fmla="*/ 1338417 w 5794893"/>
              <a:gd name="connsiteY4544" fmla="*/ 5454502 h 6858000"/>
              <a:gd name="connsiteX4545" fmla="*/ 1242552 w 5794893"/>
              <a:gd name="connsiteY4545" fmla="*/ 5350033 h 6858000"/>
              <a:gd name="connsiteX4546" fmla="*/ 1359311 w 5794893"/>
              <a:gd name="connsiteY4546" fmla="*/ 5350033 h 6858000"/>
              <a:gd name="connsiteX4547" fmla="*/ 1319982 w 5794893"/>
              <a:gd name="connsiteY4547" fmla="*/ 5404111 h 6858000"/>
              <a:gd name="connsiteX4548" fmla="*/ 1426908 w 5794893"/>
              <a:gd name="connsiteY4548" fmla="*/ 5502434 h 6858000"/>
              <a:gd name="connsiteX4549" fmla="*/ 1466237 w 5794893"/>
              <a:gd name="connsiteY4549" fmla="*/ 5448356 h 6858000"/>
              <a:gd name="connsiteX4550" fmla="*/ 1359311 w 5794893"/>
              <a:gd name="connsiteY4550" fmla="*/ 5350033 h 6858000"/>
              <a:gd name="connsiteX4551" fmla="*/ 1476069 w 5794893"/>
              <a:gd name="connsiteY4551" fmla="*/ 5350033 h 6858000"/>
              <a:gd name="connsiteX4552" fmla="*/ 1439198 w 5794893"/>
              <a:gd name="connsiteY4552" fmla="*/ 5409028 h 6858000"/>
              <a:gd name="connsiteX4553" fmla="*/ 1555957 w 5794893"/>
              <a:gd name="connsiteY4553" fmla="*/ 5503663 h 6858000"/>
              <a:gd name="connsiteX4554" fmla="*/ 1592828 w 5794893"/>
              <a:gd name="connsiteY4554" fmla="*/ 5444670 h 6858000"/>
              <a:gd name="connsiteX4555" fmla="*/ 1476069 w 5794893"/>
              <a:gd name="connsiteY4555" fmla="*/ 5350033 h 6858000"/>
              <a:gd name="connsiteX4556" fmla="*/ 178209 w 5794893"/>
              <a:gd name="connsiteY4556" fmla="*/ 5541763 h 6858000"/>
              <a:gd name="connsiteX4557" fmla="*/ 119216 w 5794893"/>
              <a:gd name="connsiteY4557" fmla="*/ 5546679 h 6858000"/>
              <a:gd name="connsiteX4558" fmla="*/ 129048 w 5794893"/>
              <a:gd name="connsiteY4558" fmla="*/ 5695392 h 6858000"/>
              <a:gd name="connsiteX4559" fmla="*/ 188042 w 5794893"/>
              <a:gd name="connsiteY4559" fmla="*/ 5690476 h 6858000"/>
              <a:gd name="connsiteX4560" fmla="*/ 178209 w 5794893"/>
              <a:gd name="connsiteY4560" fmla="*/ 5541763 h 6858000"/>
              <a:gd name="connsiteX4561" fmla="*/ 296197 w 5794893"/>
              <a:gd name="connsiteY4561" fmla="*/ 5541763 h 6858000"/>
              <a:gd name="connsiteX4562" fmla="*/ 239661 w 5794893"/>
              <a:gd name="connsiteY4562" fmla="*/ 5551595 h 6858000"/>
              <a:gd name="connsiteX4563" fmla="*/ 259326 w 5794893"/>
              <a:gd name="connsiteY4563" fmla="*/ 5695392 h 6858000"/>
              <a:gd name="connsiteX4564" fmla="*/ 315861 w 5794893"/>
              <a:gd name="connsiteY4564" fmla="*/ 5685560 h 6858000"/>
              <a:gd name="connsiteX4565" fmla="*/ 296197 w 5794893"/>
              <a:gd name="connsiteY4565" fmla="*/ 5541763 h 6858000"/>
              <a:gd name="connsiteX4566" fmla="*/ 651388 w 5794893"/>
              <a:gd name="connsiteY4566" fmla="*/ 5541763 h 6858000"/>
              <a:gd name="connsiteX4567" fmla="*/ 599769 w 5794893"/>
              <a:gd name="connsiteY4567" fmla="*/ 5567573 h 6858000"/>
              <a:gd name="connsiteX4568" fmla="*/ 648930 w 5794893"/>
              <a:gd name="connsiteY4568" fmla="*/ 5695392 h 6858000"/>
              <a:gd name="connsiteX4569" fmla="*/ 699320 w 5794893"/>
              <a:gd name="connsiteY4569" fmla="*/ 5670812 h 6858000"/>
              <a:gd name="connsiteX4570" fmla="*/ 651388 w 5794893"/>
              <a:gd name="connsiteY4570" fmla="*/ 5541763 h 6858000"/>
              <a:gd name="connsiteX4571" fmla="*/ 769375 w 5794893"/>
              <a:gd name="connsiteY4571" fmla="*/ 5541763 h 6858000"/>
              <a:gd name="connsiteX4572" fmla="*/ 720214 w 5794893"/>
              <a:gd name="connsiteY4572" fmla="*/ 5572489 h 6858000"/>
              <a:gd name="connsiteX4573" fmla="*/ 777978 w 5794893"/>
              <a:gd name="connsiteY4573" fmla="*/ 5695392 h 6858000"/>
              <a:gd name="connsiteX4574" fmla="*/ 827139 w 5794893"/>
              <a:gd name="connsiteY4574" fmla="*/ 5665896 h 6858000"/>
              <a:gd name="connsiteX4575" fmla="*/ 769375 w 5794893"/>
              <a:gd name="connsiteY4575" fmla="*/ 5541763 h 6858000"/>
              <a:gd name="connsiteX4576" fmla="*/ 887362 w 5794893"/>
              <a:gd name="connsiteY4576" fmla="*/ 5541763 h 6858000"/>
              <a:gd name="connsiteX4577" fmla="*/ 840659 w 5794893"/>
              <a:gd name="connsiteY4577" fmla="*/ 5576176 h 6858000"/>
              <a:gd name="connsiteX4578" fmla="*/ 908255 w 5794893"/>
              <a:gd name="connsiteY4578" fmla="*/ 5695392 h 6858000"/>
              <a:gd name="connsiteX4579" fmla="*/ 954959 w 5794893"/>
              <a:gd name="connsiteY4579" fmla="*/ 5660980 h 6858000"/>
              <a:gd name="connsiteX4580" fmla="*/ 887362 w 5794893"/>
              <a:gd name="connsiteY4580" fmla="*/ 5541763 h 6858000"/>
              <a:gd name="connsiteX4581" fmla="*/ 1005350 w 5794893"/>
              <a:gd name="connsiteY4581" fmla="*/ 5541763 h 6858000"/>
              <a:gd name="connsiteX4582" fmla="*/ 959875 w 5794893"/>
              <a:gd name="connsiteY4582" fmla="*/ 5581093 h 6858000"/>
              <a:gd name="connsiteX4583" fmla="*/ 1037304 w 5794893"/>
              <a:gd name="connsiteY4583" fmla="*/ 5694163 h 6858000"/>
              <a:gd name="connsiteX4584" fmla="*/ 1082778 w 5794893"/>
              <a:gd name="connsiteY4584" fmla="*/ 5654835 h 6858000"/>
              <a:gd name="connsiteX4585" fmla="*/ 1005350 w 5794893"/>
              <a:gd name="connsiteY4585" fmla="*/ 5541763 h 6858000"/>
              <a:gd name="connsiteX4586" fmla="*/ 1123337 w 5794893"/>
              <a:gd name="connsiteY4586" fmla="*/ 5541763 h 6858000"/>
              <a:gd name="connsiteX4587" fmla="*/ 1080320 w 5794893"/>
              <a:gd name="connsiteY4587" fmla="*/ 5587238 h 6858000"/>
              <a:gd name="connsiteX4588" fmla="*/ 1167582 w 5794893"/>
              <a:gd name="connsiteY4588" fmla="*/ 5695392 h 6858000"/>
              <a:gd name="connsiteX4589" fmla="*/ 1210598 w 5794893"/>
              <a:gd name="connsiteY4589" fmla="*/ 5651147 h 6858000"/>
              <a:gd name="connsiteX4590" fmla="*/ 1123337 w 5794893"/>
              <a:gd name="connsiteY4590" fmla="*/ 5541763 h 6858000"/>
              <a:gd name="connsiteX4591" fmla="*/ 1242552 w 5794893"/>
              <a:gd name="connsiteY4591" fmla="*/ 5541763 h 6858000"/>
              <a:gd name="connsiteX4592" fmla="*/ 1200765 w 5794893"/>
              <a:gd name="connsiteY4592" fmla="*/ 5592154 h 6858000"/>
              <a:gd name="connsiteX4593" fmla="*/ 1297860 w 5794893"/>
              <a:gd name="connsiteY4593" fmla="*/ 5695392 h 6858000"/>
              <a:gd name="connsiteX4594" fmla="*/ 1338417 w 5794893"/>
              <a:gd name="connsiteY4594" fmla="*/ 5646231 h 6858000"/>
              <a:gd name="connsiteX4595" fmla="*/ 1242552 w 5794893"/>
              <a:gd name="connsiteY4595" fmla="*/ 5541763 h 6858000"/>
              <a:gd name="connsiteX4596" fmla="*/ 1359311 w 5794893"/>
              <a:gd name="connsiteY4596" fmla="*/ 5541763 h 6858000"/>
              <a:gd name="connsiteX4597" fmla="*/ 1319982 w 5794893"/>
              <a:gd name="connsiteY4597" fmla="*/ 5597070 h 6858000"/>
              <a:gd name="connsiteX4598" fmla="*/ 1426908 w 5794893"/>
              <a:gd name="connsiteY4598" fmla="*/ 5694163 h 6858000"/>
              <a:gd name="connsiteX4599" fmla="*/ 1466237 w 5794893"/>
              <a:gd name="connsiteY4599" fmla="*/ 5640085 h 6858000"/>
              <a:gd name="connsiteX4600" fmla="*/ 1359311 w 5794893"/>
              <a:gd name="connsiteY4600" fmla="*/ 5541763 h 6858000"/>
              <a:gd name="connsiteX4601" fmla="*/ 1476069 w 5794893"/>
              <a:gd name="connsiteY4601" fmla="*/ 5542992 h 6858000"/>
              <a:gd name="connsiteX4602" fmla="*/ 1439198 w 5794893"/>
              <a:gd name="connsiteY4602" fmla="*/ 5601986 h 6858000"/>
              <a:gd name="connsiteX4603" fmla="*/ 1555957 w 5794893"/>
              <a:gd name="connsiteY4603" fmla="*/ 5695392 h 6858000"/>
              <a:gd name="connsiteX4604" fmla="*/ 1592828 w 5794893"/>
              <a:gd name="connsiteY4604" fmla="*/ 5636399 h 6858000"/>
              <a:gd name="connsiteX4605" fmla="*/ 1476069 w 5794893"/>
              <a:gd name="connsiteY4605" fmla="*/ 5542992 h 6858000"/>
              <a:gd name="connsiteX4606" fmla="*/ 415413 w 5794893"/>
              <a:gd name="connsiteY4606" fmla="*/ 5542992 h 6858000"/>
              <a:gd name="connsiteX4607" fmla="*/ 360106 w 5794893"/>
              <a:gd name="connsiteY4607" fmla="*/ 5557741 h 6858000"/>
              <a:gd name="connsiteX4608" fmla="*/ 389603 w 5794893"/>
              <a:gd name="connsiteY4608" fmla="*/ 5695392 h 6858000"/>
              <a:gd name="connsiteX4609" fmla="*/ 444910 w 5794893"/>
              <a:gd name="connsiteY4609" fmla="*/ 5681872 h 6858000"/>
              <a:gd name="connsiteX4610" fmla="*/ 415413 w 5794893"/>
              <a:gd name="connsiteY4610" fmla="*/ 5542992 h 6858000"/>
              <a:gd name="connsiteX4611" fmla="*/ 532171 w 5794893"/>
              <a:gd name="connsiteY4611" fmla="*/ 5542992 h 6858000"/>
              <a:gd name="connsiteX4612" fmla="*/ 479323 w 5794893"/>
              <a:gd name="connsiteY4612" fmla="*/ 5562657 h 6858000"/>
              <a:gd name="connsiteX4613" fmla="*/ 518652 w 5794893"/>
              <a:gd name="connsiteY4613" fmla="*/ 5695392 h 6858000"/>
              <a:gd name="connsiteX4614" fmla="*/ 571500 w 5794893"/>
              <a:gd name="connsiteY4614" fmla="*/ 5676956 h 6858000"/>
              <a:gd name="connsiteX4615" fmla="*/ 532171 w 5794893"/>
              <a:gd name="connsiteY4615" fmla="*/ 5542992 h 6858000"/>
              <a:gd name="connsiteX4616" fmla="*/ 415413 w 5794893"/>
              <a:gd name="connsiteY4616" fmla="*/ 5733493 h 6858000"/>
              <a:gd name="connsiteX4617" fmla="*/ 360106 w 5794893"/>
              <a:gd name="connsiteY4617" fmla="*/ 5748240 h 6858000"/>
              <a:gd name="connsiteX4618" fmla="*/ 389603 w 5794893"/>
              <a:gd name="connsiteY4618" fmla="*/ 5887122 h 6858000"/>
              <a:gd name="connsiteX4619" fmla="*/ 444910 w 5794893"/>
              <a:gd name="connsiteY4619" fmla="*/ 5872373 h 6858000"/>
              <a:gd name="connsiteX4620" fmla="*/ 415413 w 5794893"/>
              <a:gd name="connsiteY4620" fmla="*/ 5733493 h 6858000"/>
              <a:gd name="connsiteX4621" fmla="*/ 651388 w 5794893"/>
              <a:gd name="connsiteY4621" fmla="*/ 5733493 h 6858000"/>
              <a:gd name="connsiteX4622" fmla="*/ 599769 w 5794893"/>
              <a:gd name="connsiteY4622" fmla="*/ 5758074 h 6858000"/>
              <a:gd name="connsiteX4623" fmla="*/ 648930 w 5794893"/>
              <a:gd name="connsiteY4623" fmla="*/ 5887122 h 6858000"/>
              <a:gd name="connsiteX4624" fmla="*/ 699320 w 5794893"/>
              <a:gd name="connsiteY4624" fmla="*/ 5862541 h 6858000"/>
              <a:gd name="connsiteX4625" fmla="*/ 651388 w 5794893"/>
              <a:gd name="connsiteY4625" fmla="*/ 5733493 h 6858000"/>
              <a:gd name="connsiteX4626" fmla="*/ 1123337 w 5794893"/>
              <a:gd name="connsiteY4626" fmla="*/ 5733493 h 6858000"/>
              <a:gd name="connsiteX4627" fmla="*/ 1080320 w 5794893"/>
              <a:gd name="connsiteY4627" fmla="*/ 5778967 h 6858000"/>
              <a:gd name="connsiteX4628" fmla="*/ 1167582 w 5794893"/>
              <a:gd name="connsiteY4628" fmla="*/ 5887122 h 6858000"/>
              <a:gd name="connsiteX4629" fmla="*/ 1210598 w 5794893"/>
              <a:gd name="connsiteY4629" fmla="*/ 5842877 h 6858000"/>
              <a:gd name="connsiteX4630" fmla="*/ 1123337 w 5794893"/>
              <a:gd name="connsiteY4630" fmla="*/ 5733493 h 6858000"/>
              <a:gd name="connsiteX4631" fmla="*/ 1242552 w 5794893"/>
              <a:gd name="connsiteY4631" fmla="*/ 5733493 h 6858000"/>
              <a:gd name="connsiteX4632" fmla="*/ 1200765 w 5794893"/>
              <a:gd name="connsiteY4632" fmla="*/ 5782655 h 6858000"/>
              <a:gd name="connsiteX4633" fmla="*/ 1297860 w 5794893"/>
              <a:gd name="connsiteY4633" fmla="*/ 5887122 h 6858000"/>
              <a:gd name="connsiteX4634" fmla="*/ 1338417 w 5794893"/>
              <a:gd name="connsiteY4634" fmla="*/ 5837960 h 6858000"/>
              <a:gd name="connsiteX4635" fmla="*/ 1242552 w 5794893"/>
              <a:gd name="connsiteY4635" fmla="*/ 5733493 h 6858000"/>
              <a:gd name="connsiteX4636" fmla="*/ 1359311 w 5794893"/>
              <a:gd name="connsiteY4636" fmla="*/ 5734722 h 6858000"/>
              <a:gd name="connsiteX4637" fmla="*/ 1319982 w 5794893"/>
              <a:gd name="connsiteY4637" fmla="*/ 5788799 h 6858000"/>
              <a:gd name="connsiteX4638" fmla="*/ 1426908 w 5794893"/>
              <a:gd name="connsiteY4638" fmla="*/ 5887122 h 6858000"/>
              <a:gd name="connsiteX4639" fmla="*/ 1466237 w 5794893"/>
              <a:gd name="connsiteY4639" fmla="*/ 5833044 h 6858000"/>
              <a:gd name="connsiteX4640" fmla="*/ 1359311 w 5794893"/>
              <a:gd name="connsiteY4640" fmla="*/ 5734722 h 6858000"/>
              <a:gd name="connsiteX4641" fmla="*/ 769375 w 5794893"/>
              <a:gd name="connsiteY4641" fmla="*/ 5734722 h 6858000"/>
              <a:gd name="connsiteX4642" fmla="*/ 720214 w 5794893"/>
              <a:gd name="connsiteY4642" fmla="*/ 5764218 h 6858000"/>
              <a:gd name="connsiteX4643" fmla="*/ 777978 w 5794893"/>
              <a:gd name="connsiteY4643" fmla="*/ 5888351 h 6858000"/>
              <a:gd name="connsiteX4644" fmla="*/ 827139 w 5794893"/>
              <a:gd name="connsiteY4644" fmla="*/ 5858853 h 6858000"/>
              <a:gd name="connsiteX4645" fmla="*/ 769375 w 5794893"/>
              <a:gd name="connsiteY4645" fmla="*/ 5734722 h 6858000"/>
              <a:gd name="connsiteX4646" fmla="*/ 1005350 w 5794893"/>
              <a:gd name="connsiteY4646" fmla="*/ 5734722 h 6858000"/>
              <a:gd name="connsiteX4647" fmla="*/ 959875 w 5794893"/>
              <a:gd name="connsiteY4647" fmla="*/ 5774051 h 6858000"/>
              <a:gd name="connsiteX4648" fmla="*/ 1037304 w 5794893"/>
              <a:gd name="connsiteY4648" fmla="*/ 5887122 h 6858000"/>
              <a:gd name="connsiteX4649" fmla="*/ 1082778 w 5794893"/>
              <a:gd name="connsiteY4649" fmla="*/ 5847793 h 6858000"/>
              <a:gd name="connsiteX4650" fmla="*/ 1005350 w 5794893"/>
              <a:gd name="connsiteY4650" fmla="*/ 5734722 h 6858000"/>
              <a:gd name="connsiteX4651" fmla="*/ 887362 w 5794893"/>
              <a:gd name="connsiteY4651" fmla="*/ 5735950 h 6858000"/>
              <a:gd name="connsiteX4652" fmla="*/ 840659 w 5794893"/>
              <a:gd name="connsiteY4652" fmla="*/ 5770364 h 6858000"/>
              <a:gd name="connsiteX4653" fmla="*/ 908255 w 5794893"/>
              <a:gd name="connsiteY4653" fmla="*/ 5888351 h 6858000"/>
              <a:gd name="connsiteX4654" fmla="*/ 954959 w 5794893"/>
              <a:gd name="connsiteY4654" fmla="*/ 5853937 h 6858000"/>
              <a:gd name="connsiteX4655" fmla="*/ 887362 w 5794893"/>
              <a:gd name="connsiteY4655" fmla="*/ 5735950 h 6858000"/>
              <a:gd name="connsiteX4656" fmla="*/ 532171 w 5794893"/>
              <a:gd name="connsiteY4656" fmla="*/ 5734722 h 6858000"/>
              <a:gd name="connsiteX4657" fmla="*/ 479323 w 5794893"/>
              <a:gd name="connsiteY4657" fmla="*/ 5754386 h 6858000"/>
              <a:gd name="connsiteX4658" fmla="*/ 518652 w 5794893"/>
              <a:gd name="connsiteY4658" fmla="*/ 5887122 h 6858000"/>
              <a:gd name="connsiteX4659" fmla="*/ 571500 w 5794893"/>
              <a:gd name="connsiteY4659" fmla="*/ 5868687 h 6858000"/>
              <a:gd name="connsiteX4660" fmla="*/ 532171 w 5794893"/>
              <a:gd name="connsiteY4660" fmla="*/ 5734722 h 6858000"/>
              <a:gd name="connsiteX4661" fmla="*/ 178209 w 5794893"/>
              <a:gd name="connsiteY4661" fmla="*/ 5734722 h 6858000"/>
              <a:gd name="connsiteX4662" fmla="*/ 119216 w 5794893"/>
              <a:gd name="connsiteY4662" fmla="*/ 5739638 h 6858000"/>
              <a:gd name="connsiteX4663" fmla="*/ 129048 w 5794893"/>
              <a:gd name="connsiteY4663" fmla="*/ 5888351 h 6858000"/>
              <a:gd name="connsiteX4664" fmla="*/ 188042 w 5794893"/>
              <a:gd name="connsiteY4664" fmla="*/ 5883434 h 6858000"/>
              <a:gd name="connsiteX4665" fmla="*/ 178209 w 5794893"/>
              <a:gd name="connsiteY4665" fmla="*/ 5734722 h 6858000"/>
              <a:gd name="connsiteX4666" fmla="*/ 296197 w 5794893"/>
              <a:gd name="connsiteY4666" fmla="*/ 5734722 h 6858000"/>
              <a:gd name="connsiteX4667" fmla="*/ 239661 w 5794893"/>
              <a:gd name="connsiteY4667" fmla="*/ 5744554 h 6858000"/>
              <a:gd name="connsiteX4668" fmla="*/ 259326 w 5794893"/>
              <a:gd name="connsiteY4668" fmla="*/ 5888351 h 6858000"/>
              <a:gd name="connsiteX4669" fmla="*/ 315861 w 5794893"/>
              <a:gd name="connsiteY4669" fmla="*/ 5878518 h 6858000"/>
              <a:gd name="connsiteX4670" fmla="*/ 296197 w 5794893"/>
              <a:gd name="connsiteY4670" fmla="*/ 5734722 h 6858000"/>
              <a:gd name="connsiteX4671" fmla="*/ 887362 w 5794893"/>
              <a:gd name="connsiteY4671" fmla="*/ 5925222 h 6858000"/>
              <a:gd name="connsiteX4672" fmla="*/ 840659 w 5794893"/>
              <a:gd name="connsiteY4672" fmla="*/ 5959634 h 6858000"/>
              <a:gd name="connsiteX4673" fmla="*/ 908255 w 5794893"/>
              <a:gd name="connsiteY4673" fmla="*/ 6078851 h 6858000"/>
              <a:gd name="connsiteX4674" fmla="*/ 954959 w 5794893"/>
              <a:gd name="connsiteY4674" fmla="*/ 6044438 h 6858000"/>
              <a:gd name="connsiteX4675" fmla="*/ 887362 w 5794893"/>
              <a:gd name="connsiteY4675" fmla="*/ 5925222 h 6858000"/>
              <a:gd name="connsiteX4676" fmla="*/ 1359311 w 5794893"/>
              <a:gd name="connsiteY4676" fmla="*/ 5925222 h 6858000"/>
              <a:gd name="connsiteX4677" fmla="*/ 1319982 w 5794893"/>
              <a:gd name="connsiteY4677" fmla="*/ 5980528 h 6858000"/>
              <a:gd name="connsiteX4678" fmla="*/ 1426908 w 5794893"/>
              <a:gd name="connsiteY4678" fmla="*/ 6077623 h 6858000"/>
              <a:gd name="connsiteX4679" fmla="*/ 1466237 w 5794893"/>
              <a:gd name="connsiteY4679" fmla="*/ 6023545 h 6858000"/>
              <a:gd name="connsiteX4680" fmla="*/ 1359311 w 5794893"/>
              <a:gd name="connsiteY4680" fmla="*/ 5925222 h 6858000"/>
              <a:gd name="connsiteX4681" fmla="*/ 1005350 w 5794893"/>
              <a:gd name="connsiteY4681" fmla="*/ 5926451 h 6858000"/>
              <a:gd name="connsiteX4682" fmla="*/ 959875 w 5794893"/>
              <a:gd name="connsiteY4682" fmla="*/ 5965780 h 6858000"/>
              <a:gd name="connsiteX4683" fmla="*/ 1037304 w 5794893"/>
              <a:gd name="connsiteY4683" fmla="*/ 6078851 h 6858000"/>
              <a:gd name="connsiteX4684" fmla="*/ 1082778 w 5794893"/>
              <a:gd name="connsiteY4684" fmla="*/ 6039522 h 6858000"/>
              <a:gd name="connsiteX4685" fmla="*/ 1005350 w 5794893"/>
              <a:gd name="connsiteY4685" fmla="*/ 5926451 h 6858000"/>
              <a:gd name="connsiteX4686" fmla="*/ 1123337 w 5794893"/>
              <a:gd name="connsiteY4686" fmla="*/ 5926451 h 6858000"/>
              <a:gd name="connsiteX4687" fmla="*/ 1080320 w 5794893"/>
              <a:gd name="connsiteY4687" fmla="*/ 5970696 h 6858000"/>
              <a:gd name="connsiteX4688" fmla="*/ 1167582 w 5794893"/>
              <a:gd name="connsiteY4688" fmla="*/ 6080079 h 6858000"/>
              <a:gd name="connsiteX4689" fmla="*/ 1210598 w 5794893"/>
              <a:gd name="connsiteY4689" fmla="*/ 6035835 h 6858000"/>
              <a:gd name="connsiteX4690" fmla="*/ 1123337 w 5794893"/>
              <a:gd name="connsiteY4690" fmla="*/ 5926451 h 6858000"/>
              <a:gd name="connsiteX4691" fmla="*/ 1242552 w 5794893"/>
              <a:gd name="connsiteY4691" fmla="*/ 5927679 h 6858000"/>
              <a:gd name="connsiteX4692" fmla="*/ 1200765 w 5794893"/>
              <a:gd name="connsiteY4692" fmla="*/ 5976841 h 6858000"/>
              <a:gd name="connsiteX4693" fmla="*/ 1297860 w 5794893"/>
              <a:gd name="connsiteY4693" fmla="*/ 6080079 h 6858000"/>
              <a:gd name="connsiteX4694" fmla="*/ 1338417 w 5794893"/>
              <a:gd name="connsiteY4694" fmla="*/ 6030918 h 6858000"/>
              <a:gd name="connsiteX4695" fmla="*/ 1242552 w 5794893"/>
              <a:gd name="connsiteY4695" fmla="*/ 5927679 h 6858000"/>
              <a:gd name="connsiteX4696" fmla="*/ 178209 w 5794893"/>
              <a:gd name="connsiteY4696" fmla="*/ 5926451 h 6858000"/>
              <a:gd name="connsiteX4697" fmla="*/ 119216 w 5794893"/>
              <a:gd name="connsiteY4697" fmla="*/ 5931367 h 6858000"/>
              <a:gd name="connsiteX4698" fmla="*/ 129048 w 5794893"/>
              <a:gd name="connsiteY4698" fmla="*/ 6080079 h 6858000"/>
              <a:gd name="connsiteX4699" fmla="*/ 188042 w 5794893"/>
              <a:gd name="connsiteY4699" fmla="*/ 6075163 h 6858000"/>
              <a:gd name="connsiteX4700" fmla="*/ 178209 w 5794893"/>
              <a:gd name="connsiteY4700" fmla="*/ 5926451 h 6858000"/>
              <a:gd name="connsiteX4701" fmla="*/ 296197 w 5794893"/>
              <a:gd name="connsiteY4701" fmla="*/ 5926451 h 6858000"/>
              <a:gd name="connsiteX4702" fmla="*/ 239661 w 5794893"/>
              <a:gd name="connsiteY4702" fmla="*/ 5936283 h 6858000"/>
              <a:gd name="connsiteX4703" fmla="*/ 259326 w 5794893"/>
              <a:gd name="connsiteY4703" fmla="*/ 6080079 h 6858000"/>
              <a:gd name="connsiteX4704" fmla="*/ 315861 w 5794893"/>
              <a:gd name="connsiteY4704" fmla="*/ 6070247 h 6858000"/>
              <a:gd name="connsiteX4705" fmla="*/ 296197 w 5794893"/>
              <a:gd name="connsiteY4705" fmla="*/ 5926451 h 6858000"/>
              <a:gd name="connsiteX4706" fmla="*/ 415413 w 5794893"/>
              <a:gd name="connsiteY4706" fmla="*/ 5926451 h 6858000"/>
              <a:gd name="connsiteX4707" fmla="*/ 360106 w 5794893"/>
              <a:gd name="connsiteY4707" fmla="*/ 5941199 h 6858000"/>
              <a:gd name="connsiteX4708" fmla="*/ 389603 w 5794893"/>
              <a:gd name="connsiteY4708" fmla="*/ 6080079 h 6858000"/>
              <a:gd name="connsiteX4709" fmla="*/ 444910 w 5794893"/>
              <a:gd name="connsiteY4709" fmla="*/ 6065332 h 6858000"/>
              <a:gd name="connsiteX4710" fmla="*/ 415413 w 5794893"/>
              <a:gd name="connsiteY4710" fmla="*/ 5926451 h 6858000"/>
              <a:gd name="connsiteX4711" fmla="*/ 532171 w 5794893"/>
              <a:gd name="connsiteY4711" fmla="*/ 5926451 h 6858000"/>
              <a:gd name="connsiteX4712" fmla="*/ 479323 w 5794893"/>
              <a:gd name="connsiteY4712" fmla="*/ 5946115 h 6858000"/>
              <a:gd name="connsiteX4713" fmla="*/ 518652 w 5794893"/>
              <a:gd name="connsiteY4713" fmla="*/ 6080079 h 6858000"/>
              <a:gd name="connsiteX4714" fmla="*/ 571500 w 5794893"/>
              <a:gd name="connsiteY4714" fmla="*/ 6060416 h 6858000"/>
              <a:gd name="connsiteX4715" fmla="*/ 532171 w 5794893"/>
              <a:gd name="connsiteY4715" fmla="*/ 5926451 h 6858000"/>
              <a:gd name="connsiteX4716" fmla="*/ 651388 w 5794893"/>
              <a:gd name="connsiteY4716" fmla="*/ 5926451 h 6858000"/>
              <a:gd name="connsiteX4717" fmla="*/ 599769 w 5794893"/>
              <a:gd name="connsiteY4717" fmla="*/ 5951031 h 6858000"/>
              <a:gd name="connsiteX4718" fmla="*/ 648930 w 5794893"/>
              <a:gd name="connsiteY4718" fmla="*/ 6080079 h 6858000"/>
              <a:gd name="connsiteX4719" fmla="*/ 699320 w 5794893"/>
              <a:gd name="connsiteY4719" fmla="*/ 6055499 h 6858000"/>
              <a:gd name="connsiteX4720" fmla="*/ 651388 w 5794893"/>
              <a:gd name="connsiteY4720" fmla="*/ 5926451 h 6858000"/>
              <a:gd name="connsiteX4721" fmla="*/ 769375 w 5794893"/>
              <a:gd name="connsiteY4721" fmla="*/ 5926451 h 6858000"/>
              <a:gd name="connsiteX4722" fmla="*/ 720214 w 5794893"/>
              <a:gd name="connsiteY4722" fmla="*/ 5957176 h 6858000"/>
              <a:gd name="connsiteX4723" fmla="*/ 777978 w 5794893"/>
              <a:gd name="connsiteY4723" fmla="*/ 6080079 h 6858000"/>
              <a:gd name="connsiteX4724" fmla="*/ 827139 w 5794893"/>
              <a:gd name="connsiteY4724" fmla="*/ 6050583 h 6858000"/>
              <a:gd name="connsiteX4725" fmla="*/ 769375 w 5794893"/>
              <a:gd name="connsiteY4725" fmla="*/ 5926451 h 6858000"/>
              <a:gd name="connsiteX4726" fmla="*/ 178209 w 5794893"/>
              <a:gd name="connsiteY4726" fmla="*/ 6115722 h 6858000"/>
              <a:gd name="connsiteX4727" fmla="*/ 119216 w 5794893"/>
              <a:gd name="connsiteY4727" fmla="*/ 6120638 h 6858000"/>
              <a:gd name="connsiteX4728" fmla="*/ 129048 w 5794893"/>
              <a:gd name="connsiteY4728" fmla="*/ 6269352 h 6858000"/>
              <a:gd name="connsiteX4729" fmla="*/ 188042 w 5794893"/>
              <a:gd name="connsiteY4729" fmla="*/ 6264434 h 6858000"/>
              <a:gd name="connsiteX4730" fmla="*/ 178209 w 5794893"/>
              <a:gd name="connsiteY4730" fmla="*/ 6115722 h 6858000"/>
              <a:gd name="connsiteX4731" fmla="*/ 296197 w 5794893"/>
              <a:gd name="connsiteY4731" fmla="*/ 6115722 h 6858000"/>
              <a:gd name="connsiteX4732" fmla="*/ 239661 w 5794893"/>
              <a:gd name="connsiteY4732" fmla="*/ 6125554 h 6858000"/>
              <a:gd name="connsiteX4733" fmla="*/ 259326 w 5794893"/>
              <a:gd name="connsiteY4733" fmla="*/ 6269352 h 6858000"/>
              <a:gd name="connsiteX4734" fmla="*/ 315861 w 5794893"/>
              <a:gd name="connsiteY4734" fmla="*/ 6259520 h 6858000"/>
              <a:gd name="connsiteX4735" fmla="*/ 296197 w 5794893"/>
              <a:gd name="connsiteY4735" fmla="*/ 6115722 h 6858000"/>
              <a:gd name="connsiteX4736" fmla="*/ 415413 w 5794893"/>
              <a:gd name="connsiteY4736" fmla="*/ 6115722 h 6858000"/>
              <a:gd name="connsiteX4737" fmla="*/ 360106 w 5794893"/>
              <a:gd name="connsiteY4737" fmla="*/ 6130470 h 6858000"/>
              <a:gd name="connsiteX4738" fmla="*/ 389603 w 5794893"/>
              <a:gd name="connsiteY4738" fmla="*/ 6269352 h 6858000"/>
              <a:gd name="connsiteX4739" fmla="*/ 444910 w 5794893"/>
              <a:gd name="connsiteY4739" fmla="*/ 6254602 h 6858000"/>
              <a:gd name="connsiteX4740" fmla="*/ 415413 w 5794893"/>
              <a:gd name="connsiteY4740" fmla="*/ 6115722 h 6858000"/>
              <a:gd name="connsiteX4741" fmla="*/ 651388 w 5794893"/>
              <a:gd name="connsiteY4741" fmla="*/ 6115722 h 6858000"/>
              <a:gd name="connsiteX4742" fmla="*/ 599769 w 5794893"/>
              <a:gd name="connsiteY4742" fmla="*/ 6140303 h 6858000"/>
              <a:gd name="connsiteX4743" fmla="*/ 648930 w 5794893"/>
              <a:gd name="connsiteY4743" fmla="*/ 6269352 h 6858000"/>
              <a:gd name="connsiteX4744" fmla="*/ 699320 w 5794893"/>
              <a:gd name="connsiteY4744" fmla="*/ 6244771 h 6858000"/>
              <a:gd name="connsiteX4745" fmla="*/ 651388 w 5794893"/>
              <a:gd name="connsiteY4745" fmla="*/ 6115722 h 6858000"/>
              <a:gd name="connsiteX4746" fmla="*/ 887362 w 5794893"/>
              <a:gd name="connsiteY4746" fmla="*/ 6115722 h 6858000"/>
              <a:gd name="connsiteX4747" fmla="*/ 840659 w 5794893"/>
              <a:gd name="connsiteY4747" fmla="*/ 6150135 h 6858000"/>
              <a:gd name="connsiteX4748" fmla="*/ 908255 w 5794893"/>
              <a:gd name="connsiteY4748" fmla="*/ 6269352 h 6858000"/>
              <a:gd name="connsiteX4749" fmla="*/ 954959 w 5794893"/>
              <a:gd name="connsiteY4749" fmla="*/ 6234938 h 6858000"/>
              <a:gd name="connsiteX4750" fmla="*/ 887362 w 5794893"/>
              <a:gd name="connsiteY4750" fmla="*/ 6115722 h 6858000"/>
              <a:gd name="connsiteX4751" fmla="*/ 1123337 w 5794893"/>
              <a:gd name="connsiteY4751" fmla="*/ 6115722 h 6858000"/>
              <a:gd name="connsiteX4752" fmla="*/ 1080320 w 5794893"/>
              <a:gd name="connsiteY4752" fmla="*/ 6159967 h 6858000"/>
              <a:gd name="connsiteX4753" fmla="*/ 1167582 w 5794893"/>
              <a:gd name="connsiteY4753" fmla="*/ 6269352 h 6858000"/>
              <a:gd name="connsiteX4754" fmla="*/ 1210598 w 5794893"/>
              <a:gd name="connsiteY4754" fmla="*/ 6225107 h 6858000"/>
              <a:gd name="connsiteX4755" fmla="*/ 1123337 w 5794893"/>
              <a:gd name="connsiteY4755" fmla="*/ 6115722 h 6858000"/>
              <a:gd name="connsiteX4756" fmla="*/ 1242552 w 5794893"/>
              <a:gd name="connsiteY4756" fmla="*/ 6115722 h 6858000"/>
              <a:gd name="connsiteX4757" fmla="*/ 1200765 w 5794893"/>
              <a:gd name="connsiteY4757" fmla="*/ 6164883 h 6858000"/>
              <a:gd name="connsiteX4758" fmla="*/ 1297860 w 5794893"/>
              <a:gd name="connsiteY4758" fmla="*/ 6269352 h 6858000"/>
              <a:gd name="connsiteX4759" fmla="*/ 1338417 w 5794893"/>
              <a:gd name="connsiteY4759" fmla="*/ 6220190 h 6858000"/>
              <a:gd name="connsiteX4760" fmla="*/ 1242552 w 5794893"/>
              <a:gd name="connsiteY4760" fmla="*/ 6115722 h 6858000"/>
              <a:gd name="connsiteX4761" fmla="*/ 1476069 w 5794893"/>
              <a:gd name="connsiteY4761" fmla="*/ 6115722 h 6858000"/>
              <a:gd name="connsiteX4762" fmla="*/ 1439198 w 5794893"/>
              <a:gd name="connsiteY4762" fmla="*/ 6174716 h 6858000"/>
              <a:gd name="connsiteX4763" fmla="*/ 1555957 w 5794893"/>
              <a:gd name="connsiteY4763" fmla="*/ 6269352 h 6858000"/>
              <a:gd name="connsiteX4764" fmla="*/ 1592828 w 5794893"/>
              <a:gd name="connsiteY4764" fmla="*/ 6210357 h 6858000"/>
              <a:gd name="connsiteX4765" fmla="*/ 1476069 w 5794893"/>
              <a:gd name="connsiteY4765" fmla="*/ 6115722 h 6858000"/>
              <a:gd name="connsiteX4766" fmla="*/ 1359311 w 5794893"/>
              <a:gd name="connsiteY4766" fmla="*/ 6116950 h 6858000"/>
              <a:gd name="connsiteX4767" fmla="*/ 1319982 w 5794893"/>
              <a:gd name="connsiteY4767" fmla="*/ 6171029 h 6858000"/>
              <a:gd name="connsiteX4768" fmla="*/ 1426908 w 5794893"/>
              <a:gd name="connsiteY4768" fmla="*/ 6269352 h 6858000"/>
              <a:gd name="connsiteX4769" fmla="*/ 1466237 w 5794893"/>
              <a:gd name="connsiteY4769" fmla="*/ 6215273 h 6858000"/>
              <a:gd name="connsiteX4770" fmla="*/ 1359311 w 5794893"/>
              <a:gd name="connsiteY4770" fmla="*/ 6116950 h 6858000"/>
              <a:gd name="connsiteX4771" fmla="*/ 1005350 w 5794893"/>
              <a:gd name="connsiteY4771" fmla="*/ 6116950 h 6858000"/>
              <a:gd name="connsiteX4772" fmla="*/ 959875 w 5794893"/>
              <a:gd name="connsiteY4772" fmla="*/ 6156279 h 6858000"/>
              <a:gd name="connsiteX4773" fmla="*/ 1037304 w 5794893"/>
              <a:gd name="connsiteY4773" fmla="*/ 6269352 h 6858000"/>
              <a:gd name="connsiteX4774" fmla="*/ 1082778 w 5794893"/>
              <a:gd name="connsiteY4774" fmla="*/ 6230021 h 6858000"/>
              <a:gd name="connsiteX4775" fmla="*/ 1005350 w 5794893"/>
              <a:gd name="connsiteY4775" fmla="*/ 6116950 h 6858000"/>
              <a:gd name="connsiteX4776" fmla="*/ 769375 w 5794893"/>
              <a:gd name="connsiteY4776" fmla="*/ 6116950 h 6858000"/>
              <a:gd name="connsiteX4777" fmla="*/ 720214 w 5794893"/>
              <a:gd name="connsiteY4777" fmla="*/ 6145219 h 6858000"/>
              <a:gd name="connsiteX4778" fmla="*/ 777978 w 5794893"/>
              <a:gd name="connsiteY4778" fmla="*/ 6269352 h 6858000"/>
              <a:gd name="connsiteX4779" fmla="*/ 827139 w 5794893"/>
              <a:gd name="connsiteY4779" fmla="*/ 6239854 h 6858000"/>
              <a:gd name="connsiteX4780" fmla="*/ 769375 w 5794893"/>
              <a:gd name="connsiteY4780" fmla="*/ 6116950 h 6858000"/>
              <a:gd name="connsiteX4781" fmla="*/ 532171 w 5794893"/>
              <a:gd name="connsiteY4781" fmla="*/ 6116950 h 6858000"/>
              <a:gd name="connsiteX4782" fmla="*/ 479323 w 5794893"/>
              <a:gd name="connsiteY4782" fmla="*/ 6136615 h 6858000"/>
              <a:gd name="connsiteX4783" fmla="*/ 518652 w 5794893"/>
              <a:gd name="connsiteY4783" fmla="*/ 6269352 h 6858000"/>
              <a:gd name="connsiteX4784" fmla="*/ 571500 w 5794893"/>
              <a:gd name="connsiteY4784" fmla="*/ 6250916 h 6858000"/>
              <a:gd name="connsiteX4785" fmla="*/ 532171 w 5794893"/>
              <a:gd name="connsiteY4785" fmla="*/ 6116950 h 6858000"/>
              <a:gd name="connsiteX4786" fmla="*/ 1241324 w 5794893"/>
              <a:gd name="connsiteY4786" fmla="*/ 6304993 h 6858000"/>
              <a:gd name="connsiteX4787" fmla="*/ 1200765 w 5794893"/>
              <a:gd name="connsiteY4787" fmla="*/ 6354154 h 6858000"/>
              <a:gd name="connsiteX4788" fmla="*/ 1297860 w 5794893"/>
              <a:gd name="connsiteY4788" fmla="*/ 6458622 h 6858000"/>
              <a:gd name="connsiteX4789" fmla="*/ 1338417 w 5794893"/>
              <a:gd name="connsiteY4789" fmla="*/ 6409460 h 6858000"/>
              <a:gd name="connsiteX4790" fmla="*/ 1241324 w 5794893"/>
              <a:gd name="connsiteY4790" fmla="*/ 6304993 h 6858000"/>
              <a:gd name="connsiteX4791" fmla="*/ 1477299 w 5794893"/>
              <a:gd name="connsiteY4791" fmla="*/ 6306223 h 6858000"/>
              <a:gd name="connsiteX4792" fmla="*/ 1440428 w 5794893"/>
              <a:gd name="connsiteY4792" fmla="*/ 6365215 h 6858000"/>
              <a:gd name="connsiteX4793" fmla="*/ 1557185 w 5794893"/>
              <a:gd name="connsiteY4793" fmla="*/ 6458622 h 6858000"/>
              <a:gd name="connsiteX4794" fmla="*/ 1594056 w 5794893"/>
              <a:gd name="connsiteY4794" fmla="*/ 6399628 h 6858000"/>
              <a:gd name="connsiteX4795" fmla="*/ 1477299 w 5794893"/>
              <a:gd name="connsiteY4795" fmla="*/ 6306223 h 6858000"/>
              <a:gd name="connsiteX4796" fmla="*/ 1359311 w 5794893"/>
              <a:gd name="connsiteY4796" fmla="*/ 6307451 h 6858000"/>
              <a:gd name="connsiteX4797" fmla="*/ 1319982 w 5794893"/>
              <a:gd name="connsiteY4797" fmla="*/ 6361529 h 6858000"/>
              <a:gd name="connsiteX4798" fmla="*/ 1426908 w 5794893"/>
              <a:gd name="connsiteY4798" fmla="*/ 6459851 h 6858000"/>
              <a:gd name="connsiteX4799" fmla="*/ 1466237 w 5794893"/>
              <a:gd name="connsiteY4799" fmla="*/ 6405774 h 6858000"/>
              <a:gd name="connsiteX4800" fmla="*/ 1359311 w 5794893"/>
              <a:gd name="connsiteY4800" fmla="*/ 6307451 h 6858000"/>
              <a:gd name="connsiteX4801" fmla="*/ 178209 w 5794893"/>
              <a:gd name="connsiteY4801" fmla="*/ 6306223 h 6858000"/>
              <a:gd name="connsiteX4802" fmla="*/ 119216 w 5794893"/>
              <a:gd name="connsiteY4802" fmla="*/ 6311138 h 6858000"/>
              <a:gd name="connsiteX4803" fmla="*/ 129048 w 5794893"/>
              <a:gd name="connsiteY4803" fmla="*/ 6459851 h 6858000"/>
              <a:gd name="connsiteX4804" fmla="*/ 188042 w 5794893"/>
              <a:gd name="connsiteY4804" fmla="*/ 6454935 h 6858000"/>
              <a:gd name="connsiteX4805" fmla="*/ 178209 w 5794893"/>
              <a:gd name="connsiteY4805" fmla="*/ 6306223 h 6858000"/>
              <a:gd name="connsiteX4806" fmla="*/ 296197 w 5794893"/>
              <a:gd name="connsiteY4806" fmla="*/ 6306223 h 6858000"/>
              <a:gd name="connsiteX4807" fmla="*/ 239661 w 5794893"/>
              <a:gd name="connsiteY4807" fmla="*/ 6316054 h 6858000"/>
              <a:gd name="connsiteX4808" fmla="*/ 259326 w 5794893"/>
              <a:gd name="connsiteY4808" fmla="*/ 6459851 h 6858000"/>
              <a:gd name="connsiteX4809" fmla="*/ 315861 w 5794893"/>
              <a:gd name="connsiteY4809" fmla="*/ 6450019 h 6858000"/>
              <a:gd name="connsiteX4810" fmla="*/ 296197 w 5794893"/>
              <a:gd name="connsiteY4810" fmla="*/ 6306223 h 6858000"/>
              <a:gd name="connsiteX4811" fmla="*/ 415413 w 5794893"/>
              <a:gd name="connsiteY4811" fmla="*/ 6306223 h 6858000"/>
              <a:gd name="connsiteX4812" fmla="*/ 360106 w 5794893"/>
              <a:gd name="connsiteY4812" fmla="*/ 6320971 h 6858000"/>
              <a:gd name="connsiteX4813" fmla="*/ 389603 w 5794893"/>
              <a:gd name="connsiteY4813" fmla="*/ 6459851 h 6858000"/>
              <a:gd name="connsiteX4814" fmla="*/ 444910 w 5794893"/>
              <a:gd name="connsiteY4814" fmla="*/ 6445103 h 6858000"/>
              <a:gd name="connsiteX4815" fmla="*/ 415413 w 5794893"/>
              <a:gd name="connsiteY4815" fmla="*/ 6306223 h 6858000"/>
              <a:gd name="connsiteX4816" fmla="*/ 532171 w 5794893"/>
              <a:gd name="connsiteY4816" fmla="*/ 6306223 h 6858000"/>
              <a:gd name="connsiteX4817" fmla="*/ 479323 w 5794893"/>
              <a:gd name="connsiteY4817" fmla="*/ 6325886 h 6858000"/>
              <a:gd name="connsiteX4818" fmla="*/ 518652 w 5794893"/>
              <a:gd name="connsiteY4818" fmla="*/ 6459851 h 6858000"/>
              <a:gd name="connsiteX4819" fmla="*/ 571500 w 5794893"/>
              <a:gd name="connsiteY4819" fmla="*/ 6440187 h 6858000"/>
              <a:gd name="connsiteX4820" fmla="*/ 532171 w 5794893"/>
              <a:gd name="connsiteY4820" fmla="*/ 6306223 h 6858000"/>
              <a:gd name="connsiteX4821" fmla="*/ 651388 w 5794893"/>
              <a:gd name="connsiteY4821" fmla="*/ 6306223 h 6858000"/>
              <a:gd name="connsiteX4822" fmla="*/ 599769 w 5794893"/>
              <a:gd name="connsiteY4822" fmla="*/ 6330803 h 6858000"/>
              <a:gd name="connsiteX4823" fmla="*/ 648930 w 5794893"/>
              <a:gd name="connsiteY4823" fmla="*/ 6459851 h 6858000"/>
              <a:gd name="connsiteX4824" fmla="*/ 699320 w 5794893"/>
              <a:gd name="connsiteY4824" fmla="*/ 6435271 h 6858000"/>
              <a:gd name="connsiteX4825" fmla="*/ 651388 w 5794893"/>
              <a:gd name="connsiteY4825" fmla="*/ 6306223 h 6858000"/>
              <a:gd name="connsiteX4826" fmla="*/ 769375 w 5794893"/>
              <a:gd name="connsiteY4826" fmla="*/ 6306223 h 6858000"/>
              <a:gd name="connsiteX4827" fmla="*/ 720214 w 5794893"/>
              <a:gd name="connsiteY4827" fmla="*/ 6335718 h 6858000"/>
              <a:gd name="connsiteX4828" fmla="*/ 777978 w 5794893"/>
              <a:gd name="connsiteY4828" fmla="*/ 6459851 h 6858000"/>
              <a:gd name="connsiteX4829" fmla="*/ 827139 w 5794893"/>
              <a:gd name="connsiteY4829" fmla="*/ 6430355 h 6858000"/>
              <a:gd name="connsiteX4830" fmla="*/ 769375 w 5794893"/>
              <a:gd name="connsiteY4830" fmla="*/ 6306223 h 6858000"/>
              <a:gd name="connsiteX4831" fmla="*/ 887362 w 5794893"/>
              <a:gd name="connsiteY4831" fmla="*/ 6306223 h 6858000"/>
              <a:gd name="connsiteX4832" fmla="*/ 840659 w 5794893"/>
              <a:gd name="connsiteY4832" fmla="*/ 6340634 h 6858000"/>
              <a:gd name="connsiteX4833" fmla="*/ 908255 w 5794893"/>
              <a:gd name="connsiteY4833" fmla="*/ 6459851 h 6858000"/>
              <a:gd name="connsiteX4834" fmla="*/ 954959 w 5794893"/>
              <a:gd name="connsiteY4834" fmla="*/ 6425438 h 6858000"/>
              <a:gd name="connsiteX4835" fmla="*/ 887362 w 5794893"/>
              <a:gd name="connsiteY4835" fmla="*/ 6306223 h 6858000"/>
              <a:gd name="connsiteX4836" fmla="*/ 1005350 w 5794893"/>
              <a:gd name="connsiteY4836" fmla="*/ 6307451 h 6858000"/>
              <a:gd name="connsiteX4837" fmla="*/ 959875 w 5794893"/>
              <a:gd name="connsiteY4837" fmla="*/ 6346780 h 6858000"/>
              <a:gd name="connsiteX4838" fmla="*/ 1037304 w 5794893"/>
              <a:gd name="connsiteY4838" fmla="*/ 6459851 h 6858000"/>
              <a:gd name="connsiteX4839" fmla="*/ 1082778 w 5794893"/>
              <a:gd name="connsiteY4839" fmla="*/ 6420522 h 6858000"/>
              <a:gd name="connsiteX4840" fmla="*/ 1005350 w 5794893"/>
              <a:gd name="connsiteY4840" fmla="*/ 6307451 h 6858000"/>
              <a:gd name="connsiteX4841" fmla="*/ 1123337 w 5794893"/>
              <a:gd name="connsiteY4841" fmla="*/ 6307451 h 6858000"/>
              <a:gd name="connsiteX4842" fmla="*/ 1080320 w 5794893"/>
              <a:gd name="connsiteY4842" fmla="*/ 6351696 h 6858000"/>
              <a:gd name="connsiteX4843" fmla="*/ 1167582 w 5794893"/>
              <a:gd name="connsiteY4843" fmla="*/ 6459851 h 6858000"/>
              <a:gd name="connsiteX4844" fmla="*/ 1210598 w 5794893"/>
              <a:gd name="connsiteY4844" fmla="*/ 6415606 h 6858000"/>
              <a:gd name="connsiteX4845" fmla="*/ 1123337 w 5794893"/>
              <a:gd name="connsiteY4845" fmla="*/ 6307451 h 6858000"/>
              <a:gd name="connsiteX4846" fmla="*/ 178209 w 5794893"/>
              <a:gd name="connsiteY4846" fmla="*/ 6500409 h 6858000"/>
              <a:gd name="connsiteX4847" fmla="*/ 119216 w 5794893"/>
              <a:gd name="connsiteY4847" fmla="*/ 6505326 h 6858000"/>
              <a:gd name="connsiteX4848" fmla="*/ 129048 w 5794893"/>
              <a:gd name="connsiteY4848" fmla="*/ 6654039 h 6858000"/>
              <a:gd name="connsiteX4849" fmla="*/ 188042 w 5794893"/>
              <a:gd name="connsiteY4849" fmla="*/ 6649123 h 6858000"/>
              <a:gd name="connsiteX4850" fmla="*/ 178209 w 5794893"/>
              <a:gd name="connsiteY4850" fmla="*/ 6500409 h 6858000"/>
              <a:gd name="connsiteX4851" fmla="*/ 296197 w 5794893"/>
              <a:gd name="connsiteY4851" fmla="*/ 6500409 h 6858000"/>
              <a:gd name="connsiteX4852" fmla="*/ 240891 w 5794893"/>
              <a:gd name="connsiteY4852" fmla="*/ 6510241 h 6858000"/>
              <a:gd name="connsiteX4853" fmla="*/ 259326 w 5794893"/>
              <a:gd name="connsiteY4853" fmla="*/ 6654039 h 6858000"/>
              <a:gd name="connsiteX4854" fmla="*/ 315861 w 5794893"/>
              <a:gd name="connsiteY4854" fmla="*/ 6644206 h 6858000"/>
              <a:gd name="connsiteX4855" fmla="*/ 296197 w 5794893"/>
              <a:gd name="connsiteY4855" fmla="*/ 6500409 h 6858000"/>
              <a:gd name="connsiteX4856" fmla="*/ 415413 w 5794893"/>
              <a:gd name="connsiteY4856" fmla="*/ 6500409 h 6858000"/>
              <a:gd name="connsiteX4857" fmla="*/ 360106 w 5794893"/>
              <a:gd name="connsiteY4857" fmla="*/ 6515159 h 6858000"/>
              <a:gd name="connsiteX4858" fmla="*/ 389603 w 5794893"/>
              <a:gd name="connsiteY4858" fmla="*/ 6654039 h 6858000"/>
              <a:gd name="connsiteX4859" fmla="*/ 444910 w 5794893"/>
              <a:gd name="connsiteY4859" fmla="*/ 6639290 h 6858000"/>
              <a:gd name="connsiteX4860" fmla="*/ 415413 w 5794893"/>
              <a:gd name="connsiteY4860" fmla="*/ 6500409 h 6858000"/>
              <a:gd name="connsiteX4861" fmla="*/ 532171 w 5794893"/>
              <a:gd name="connsiteY4861" fmla="*/ 6500409 h 6858000"/>
              <a:gd name="connsiteX4862" fmla="*/ 479323 w 5794893"/>
              <a:gd name="connsiteY4862" fmla="*/ 6520073 h 6858000"/>
              <a:gd name="connsiteX4863" fmla="*/ 518652 w 5794893"/>
              <a:gd name="connsiteY4863" fmla="*/ 6654039 h 6858000"/>
              <a:gd name="connsiteX4864" fmla="*/ 571500 w 5794893"/>
              <a:gd name="connsiteY4864" fmla="*/ 6634374 h 6858000"/>
              <a:gd name="connsiteX4865" fmla="*/ 532171 w 5794893"/>
              <a:gd name="connsiteY4865" fmla="*/ 6500409 h 6858000"/>
              <a:gd name="connsiteX4866" fmla="*/ 651388 w 5794893"/>
              <a:gd name="connsiteY4866" fmla="*/ 6500409 h 6858000"/>
              <a:gd name="connsiteX4867" fmla="*/ 599769 w 5794893"/>
              <a:gd name="connsiteY4867" fmla="*/ 6524990 h 6858000"/>
              <a:gd name="connsiteX4868" fmla="*/ 648930 w 5794893"/>
              <a:gd name="connsiteY4868" fmla="*/ 6654039 h 6858000"/>
              <a:gd name="connsiteX4869" fmla="*/ 699320 w 5794893"/>
              <a:gd name="connsiteY4869" fmla="*/ 6629458 h 6858000"/>
              <a:gd name="connsiteX4870" fmla="*/ 651388 w 5794893"/>
              <a:gd name="connsiteY4870" fmla="*/ 6500409 h 6858000"/>
              <a:gd name="connsiteX4871" fmla="*/ 769375 w 5794893"/>
              <a:gd name="connsiteY4871" fmla="*/ 6500409 h 6858000"/>
              <a:gd name="connsiteX4872" fmla="*/ 720214 w 5794893"/>
              <a:gd name="connsiteY4872" fmla="*/ 6531135 h 6858000"/>
              <a:gd name="connsiteX4873" fmla="*/ 777978 w 5794893"/>
              <a:gd name="connsiteY4873" fmla="*/ 6654039 h 6858000"/>
              <a:gd name="connsiteX4874" fmla="*/ 827139 w 5794893"/>
              <a:gd name="connsiteY4874" fmla="*/ 6624542 h 6858000"/>
              <a:gd name="connsiteX4875" fmla="*/ 769375 w 5794893"/>
              <a:gd name="connsiteY4875" fmla="*/ 6500409 h 6858000"/>
              <a:gd name="connsiteX4876" fmla="*/ 1005350 w 5794893"/>
              <a:gd name="connsiteY4876" fmla="*/ 6500409 h 6858000"/>
              <a:gd name="connsiteX4877" fmla="*/ 959875 w 5794893"/>
              <a:gd name="connsiteY4877" fmla="*/ 6539739 h 6858000"/>
              <a:gd name="connsiteX4878" fmla="*/ 1037304 w 5794893"/>
              <a:gd name="connsiteY4878" fmla="*/ 6652810 h 6858000"/>
              <a:gd name="connsiteX4879" fmla="*/ 1082778 w 5794893"/>
              <a:gd name="connsiteY4879" fmla="*/ 6613481 h 6858000"/>
              <a:gd name="connsiteX4880" fmla="*/ 1005350 w 5794893"/>
              <a:gd name="connsiteY4880" fmla="*/ 6500409 h 6858000"/>
              <a:gd name="connsiteX4881" fmla="*/ 1242552 w 5794893"/>
              <a:gd name="connsiteY4881" fmla="*/ 6500409 h 6858000"/>
              <a:gd name="connsiteX4882" fmla="*/ 1200765 w 5794893"/>
              <a:gd name="connsiteY4882" fmla="*/ 6549570 h 6858000"/>
              <a:gd name="connsiteX4883" fmla="*/ 1297860 w 5794893"/>
              <a:gd name="connsiteY4883" fmla="*/ 6654039 h 6858000"/>
              <a:gd name="connsiteX4884" fmla="*/ 1338417 w 5794893"/>
              <a:gd name="connsiteY4884" fmla="*/ 6604877 h 6858000"/>
              <a:gd name="connsiteX4885" fmla="*/ 1242552 w 5794893"/>
              <a:gd name="connsiteY4885" fmla="*/ 6500409 h 6858000"/>
              <a:gd name="connsiteX4886" fmla="*/ 1359311 w 5794893"/>
              <a:gd name="connsiteY4886" fmla="*/ 6500409 h 6858000"/>
              <a:gd name="connsiteX4887" fmla="*/ 1319982 w 5794893"/>
              <a:gd name="connsiteY4887" fmla="*/ 6555716 h 6858000"/>
              <a:gd name="connsiteX4888" fmla="*/ 1426908 w 5794893"/>
              <a:gd name="connsiteY4888" fmla="*/ 6652810 h 6858000"/>
              <a:gd name="connsiteX4889" fmla="*/ 1466237 w 5794893"/>
              <a:gd name="connsiteY4889" fmla="*/ 6598732 h 6858000"/>
              <a:gd name="connsiteX4890" fmla="*/ 1359311 w 5794893"/>
              <a:gd name="connsiteY4890" fmla="*/ 6500409 h 6858000"/>
              <a:gd name="connsiteX4891" fmla="*/ 1477299 w 5794893"/>
              <a:gd name="connsiteY4891" fmla="*/ 6500409 h 6858000"/>
              <a:gd name="connsiteX4892" fmla="*/ 1440428 w 5794893"/>
              <a:gd name="connsiteY4892" fmla="*/ 6559402 h 6858000"/>
              <a:gd name="connsiteX4893" fmla="*/ 1557185 w 5794893"/>
              <a:gd name="connsiteY4893" fmla="*/ 6652810 h 6858000"/>
              <a:gd name="connsiteX4894" fmla="*/ 1594056 w 5794893"/>
              <a:gd name="connsiteY4894" fmla="*/ 6593815 h 6858000"/>
              <a:gd name="connsiteX4895" fmla="*/ 1477299 w 5794893"/>
              <a:gd name="connsiteY4895" fmla="*/ 6500409 h 6858000"/>
              <a:gd name="connsiteX4896" fmla="*/ 1123337 w 5794893"/>
              <a:gd name="connsiteY4896" fmla="*/ 6501639 h 6858000"/>
              <a:gd name="connsiteX4897" fmla="*/ 1080320 w 5794893"/>
              <a:gd name="connsiteY4897" fmla="*/ 6545884 h 6858000"/>
              <a:gd name="connsiteX4898" fmla="*/ 1167582 w 5794893"/>
              <a:gd name="connsiteY4898" fmla="*/ 6654039 h 6858000"/>
              <a:gd name="connsiteX4899" fmla="*/ 1210598 w 5794893"/>
              <a:gd name="connsiteY4899" fmla="*/ 6609793 h 6858000"/>
              <a:gd name="connsiteX4900" fmla="*/ 1123337 w 5794893"/>
              <a:gd name="connsiteY4900" fmla="*/ 6501639 h 6858000"/>
              <a:gd name="connsiteX4901" fmla="*/ 887362 w 5794893"/>
              <a:gd name="connsiteY4901" fmla="*/ 6501639 h 6858000"/>
              <a:gd name="connsiteX4902" fmla="*/ 840659 w 5794893"/>
              <a:gd name="connsiteY4902" fmla="*/ 6536051 h 6858000"/>
              <a:gd name="connsiteX4903" fmla="*/ 908255 w 5794893"/>
              <a:gd name="connsiteY4903" fmla="*/ 6654039 h 6858000"/>
              <a:gd name="connsiteX4904" fmla="*/ 954959 w 5794893"/>
              <a:gd name="connsiteY4904" fmla="*/ 6620854 h 6858000"/>
              <a:gd name="connsiteX4905" fmla="*/ 887362 w 5794893"/>
              <a:gd name="connsiteY4905" fmla="*/ 6501639 h 6858000"/>
              <a:gd name="connsiteX4906" fmla="*/ 178209 w 5794893"/>
              <a:gd name="connsiteY4906" fmla="*/ 6694596 h 6858000"/>
              <a:gd name="connsiteX4907" fmla="*/ 119216 w 5794893"/>
              <a:gd name="connsiteY4907" fmla="*/ 6699514 h 6858000"/>
              <a:gd name="connsiteX4908" fmla="*/ 129048 w 5794893"/>
              <a:gd name="connsiteY4908" fmla="*/ 6848226 h 6858000"/>
              <a:gd name="connsiteX4909" fmla="*/ 188042 w 5794893"/>
              <a:gd name="connsiteY4909" fmla="*/ 6843310 h 6858000"/>
              <a:gd name="connsiteX4910" fmla="*/ 178209 w 5794893"/>
              <a:gd name="connsiteY4910" fmla="*/ 6694596 h 6858000"/>
              <a:gd name="connsiteX4911" fmla="*/ 296197 w 5794893"/>
              <a:gd name="connsiteY4911" fmla="*/ 6694596 h 6858000"/>
              <a:gd name="connsiteX4912" fmla="*/ 239661 w 5794893"/>
              <a:gd name="connsiteY4912" fmla="*/ 6704428 h 6858000"/>
              <a:gd name="connsiteX4913" fmla="*/ 259326 w 5794893"/>
              <a:gd name="connsiteY4913" fmla="*/ 6848226 h 6858000"/>
              <a:gd name="connsiteX4914" fmla="*/ 315861 w 5794893"/>
              <a:gd name="connsiteY4914" fmla="*/ 6838394 h 6858000"/>
              <a:gd name="connsiteX4915" fmla="*/ 296197 w 5794893"/>
              <a:gd name="connsiteY4915" fmla="*/ 6694596 h 6858000"/>
              <a:gd name="connsiteX4916" fmla="*/ 415413 w 5794893"/>
              <a:gd name="connsiteY4916" fmla="*/ 6694596 h 6858000"/>
              <a:gd name="connsiteX4917" fmla="*/ 360106 w 5794893"/>
              <a:gd name="connsiteY4917" fmla="*/ 6709345 h 6858000"/>
              <a:gd name="connsiteX4918" fmla="*/ 389603 w 5794893"/>
              <a:gd name="connsiteY4918" fmla="*/ 6848226 h 6858000"/>
              <a:gd name="connsiteX4919" fmla="*/ 444910 w 5794893"/>
              <a:gd name="connsiteY4919" fmla="*/ 6833478 h 6858000"/>
              <a:gd name="connsiteX4920" fmla="*/ 415413 w 5794893"/>
              <a:gd name="connsiteY4920" fmla="*/ 6694596 h 6858000"/>
              <a:gd name="connsiteX4921" fmla="*/ 651388 w 5794893"/>
              <a:gd name="connsiteY4921" fmla="*/ 6694596 h 6858000"/>
              <a:gd name="connsiteX4922" fmla="*/ 599769 w 5794893"/>
              <a:gd name="connsiteY4922" fmla="*/ 6719177 h 6858000"/>
              <a:gd name="connsiteX4923" fmla="*/ 648930 w 5794893"/>
              <a:gd name="connsiteY4923" fmla="*/ 6848226 h 6858000"/>
              <a:gd name="connsiteX4924" fmla="*/ 699320 w 5794893"/>
              <a:gd name="connsiteY4924" fmla="*/ 6823645 h 6858000"/>
              <a:gd name="connsiteX4925" fmla="*/ 651388 w 5794893"/>
              <a:gd name="connsiteY4925" fmla="*/ 6694596 h 6858000"/>
              <a:gd name="connsiteX4926" fmla="*/ 887362 w 5794893"/>
              <a:gd name="connsiteY4926" fmla="*/ 6694596 h 6858000"/>
              <a:gd name="connsiteX4927" fmla="*/ 840659 w 5794893"/>
              <a:gd name="connsiteY4927" fmla="*/ 6729009 h 6858000"/>
              <a:gd name="connsiteX4928" fmla="*/ 908255 w 5794893"/>
              <a:gd name="connsiteY4928" fmla="*/ 6848226 h 6858000"/>
              <a:gd name="connsiteX4929" fmla="*/ 954959 w 5794893"/>
              <a:gd name="connsiteY4929" fmla="*/ 6813813 h 6858000"/>
              <a:gd name="connsiteX4930" fmla="*/ 887362 w 5794893"/>
              <a:gd name="connsiteY4930" fmla="*/ 6694596 h 6858000"/>
              <a:gd name="connsiteX4931" fmla="*/ 1005350 w 5794893"/>
              <a:gd name="connsiteY4931" fmla="*/ 6694596 h 6858000"/>
              <a:gd name="connsiteX4932" fmla="*/ 959875 w 5794893"/>
              <a:gd name="connsiteY4932" fmla="*/ 6735155 h 6858000"/>
              <a:gd name="connsiteX4933" fmla="*/ 1037304 w 5794893"/>
              <a:gd name="connsiteY4933" fmla="*/ 6848226 h 6858000"/>
              <a:gd name="connsiteX4934" fmla="*/ 1082778 w 5794893"/>
              <a:gd name="connsiteY4934" fmla="*/ 6808897 h 6858000"/>
              <a:gd name="connsiteX4935" fmla="*/ 1005350 w 5794893"/>
              <a:gd name="connsiteY4935" fmla="*/ 6694596 h 6858000"/>
              <a:gd name="connsiteX4936" fmla="*/ 1123337 w 5794893"/>
              <a:gd name="connsiteY4936" fmla="*/ 6695826 h 6858000"/>
              <a:gd name="connsiteX4937" fmla="*/ 1080320 w 5794893"/>
              <a:gd name="connsiteY4937" fmla="*/ 6740071 h 6858000"/>
              <a:gd name="connsiteX4938" fmla="*/ 1167582 w 5794893"/>
              <a:gd name="connsiteY4938" fmla="*/ 6848226 h 6858000"/>
              <a:gd name="connsiteX4939" fmla="*/ 1210598 w 5794893"/>
              <a:gd name="connsiteY4939" fmla="*/ 6803981 h 6858000"/>
              <a:gd name="connsiteX4940" fmla="*/ 1123337 w 5794893"/>
              <a:gd name="connsiteY4940" fmla="*/ 6695826 h 6858000"/>
              <a:gd name="connsiteX4941" fmla="*/ 1240094 w 5794893"/>
              <a:gd name="connsiteY4941" fmla="*/ 6695826 h 6858000"/>
              <a:gd name="connsiteX4942" fmla="*/ 1199537 w 5794893"/>
              <a:gd name="connsiteY4942" fmla="*/ 6744987 h 6858000"/>
              <a:gd name="connsiteX4943" fmla="*/ 1296630 w 5794893"/>
              <a:gd name="connsiteY4943" fmla="*/ 6848226 h 6858000"/>
              <a:gd name="connsiteX4944" fmla="*/ 1338417 w 5794893"/>
              <a:gd name="connsiteY4944" fmla="*/ 6799065 h 6858000"/>
              <a:gd name="connsiteX4945" fmla="*/ 1240094 w 5794893"/>
              <a:gd name="connsiteY4945" fmla="*/ 6695826 h 6858000"/>
              <a:gd name="connsiteX4946" fmla="*/ 1359311 w 5794893"/>
              <a:gd name="connsiteY4946" fmla="*/ 6695826 h 6858000"/>
              <a:gd name="connsiteX4947" fmla="*/ 1319982 w 5794893"/>
              <a:gd name="connsiteY4947" fmla="*/ 6749903 h 6858000"/>
              <a:gd name="connsiteX4948" fmla="*/ 1426908 w 5794893"/>
              <a:gd name="connsiteY4948" fmla="*/ 6848226 h 6858000"/>
              <a:gd name="connsiteX4949" fmla="*/ 1466237 w 5794893"/>
              <a:gd name="connsiteY4949" fmla="*/ 6794149 h 6858000"/>
              <a:gd name="connsiteX4950" fmla="*/ 1359311 w 5794893"/>
              <a:gd name="connsiteY4950" fmla="*/ 6695826 h 6858000"/>
              <a:gd name="connsiteX4951" fmla="*/ 769375 w 5794893"/>
              <a:gd name="connsiteY4951" fmla="*/ 6695826 h 6858000"/>
              <a:gd name="connsiteX4952" fmla="*/ 720214 w 5794893"/>
              <a:gd name="connsiteY4952" fmla="*/ 6726552 h 6858000"/>
              <a:gd name="connsiteX4953" fmla="*/ 777978 w 5794893"/>
              <a:gd name="connsiteY4953" fmla="*/ 6849456 h 6858000"/>
              <a:gd name="connsiteX4954" fmla="*/ 827139 w 5794893"/>
              <a:gd name="connsiteY4954" fmla="*/ 6819958 h 6858000"/>
              <a:gd name="connsiteX4955" fmla="*/ 769375 w 5794893"/>
              <a:gd name="connsiteY4955" fmla="*/ 6695826 h 6858000"/>
              <a:gd name="connsiteX4956" fmla="*/ 532171 w 5794893"/>
              <a:gd name="connsiteY4956" fmla="*/ 6695826 h 6858000"/>
              <a:gd name="connsiteX4957" fmla="*/ 479323 w 5794893"/>
              <a:gd name="connsiteY4957" fmla="*/ 6715490 h 6858000"/>
              <a:gd name="connsiteX4958" fmla="*/ 518652 w 5794893"/>
              <a:gd name="connsiteY4958" fmla="*/ 6848226 h 6858000"/>
              <a:gd name="connsiteX4959" fmla="*/ 571500 w 5794893"/>
              <a:gd name="connsiteY4959" fmla="*/ 6829790 h 6858000"/>
              <a:gd name="connsiteX4960" fmla="*/ 532171 w 5794893"/>
              <a:gd name="connsiteY4960" fmla="*/ 669582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Lst>
            <a:rect l="l" t="t" r="r" b="b"/>
            <a:pathLst>
              <a:path w="5794893" h="6858000">
                <a:moveTo>
                  <a:pt x="60222" y="0"/>
                </a:moveTo>
                <a:lnTo>
                  <a:pt x="123428" y="0"/>
                </a:lnTo>
                <a:lnTo>
                  <a:pt x="129048" y="97144"/>
                </a:lnTo>
                <a:lnTo>
                  <a:pt x="188042" y="92228"/>
                </a:lnTo>
                <a:lnTo>
                  <a:pt x="181944" y="0"/>
                </a:lnTo>
                <a:lnTo>
                  <a:pt x="246440" y="0"/>
                </a:lnTo>
                <a:lnTo>
                  <a:pt x="260555" y="97144"/>
                </a:lnTo>
                <a:lnTo>
                  <a:pt x="317091" y="87311"/>
                </a:lnTo>
                <a:lnTo>
                  <a:pt x="305151" y="0"/>
                </a:lnTo>
                <a:lnTo>
                  <a:pt x="368602" y="0"/>
                </a:lnTo>
                <a:lnTo>
                  <a:pt x="388375" y="97144"/>
                </a:lnTo>
                <a:lnTo>
                  <a:pt x="443681" y="82395"/>
                </a:lnTo>
                <a:lnTo>
                  <a:pt x="426181" y="0"/>
                </a:lnTo>
                <a:lnTo>
                  <a:pt x="490133" y="0"/>
                </a:lnTo>
                <a:lnTo>
                  <a:pt x="518652" y="97144"/>
                </a:lnTo>
                <a:lnTo>
                  <a:pt x="571500" y="77479"/>
                </a:lnTo>
                <a:lnTo>
                  <a:pt x="548754" y="0"/>
                </a:lnTo>
                <a:lnTo>
                  <a:pt x="611923" y="0"/>
                </a:lnTo>
                <a:lnTo>
                  <a:pt x="648930" y="97144"/>
                </a:lnTo>
                <a:lnTo>
                  <a:pt x="699320" y="72563"/>
                </a:lnTo>
                <a:lnTo>
                  <a:pt x="672368" y="0"/>
                </a:lnTo>
                <a:lnTo>
                  <a:pt x="733040" y="0"/>
                </a:lnTo>
                <a:lnTo>
                  <a:pt x="779207" y="97144"/>
                </a:lnTo>
                <a:lnTo>
                  <a:pt x="828369" y="67647"/>
                </a:lnTo>
                <a:lnTo>
                  <a:pt x="796220" y="0"/>
                </a:lnTo>
                <a:lnTo>
                  <a:pt x="852601" y="0"/>
                </a:lnTo>
                <a:lnTo>
                  <a:pt x="908255" y="97144"/>
                </a:lnTo>
                <a:lnTo>
                  <a:pt x="954959" y="62731"/>
                </a:lnTo>
                <a:lnTo>
                  <a:pt x="919390" y="0"/>
                </a:lnTo>
                <a:lnTo>
                  <a:pt x="971623" y="0"/>
                </a:lnTo>
                <a:lnTo>
                  <a:pt x="1037304" y="95915"/>
                </a:lnTo>
                <a:lnTo>
                  <a:pt x="1082778" y="56586"/>
                </a:lnTo>
                <a:lnTo>
                  <a:pt x="1044029" y="0"/>
                </a:lnTo>
                <a:lnTo>
                  <a:pt x="1089204" y="0"/>
                </a:lnTo>
                <a:lnTo>
                  <a:pt x="1167582" y="97144"/>
                </a:lnTo>
                <a:lnTo>
                  <a:pt x="1210598" y="51670"/>
                </a:lnTo>
                <a:lnTo>
                  <a:pt x="1168910" y="0"/>
                </a:lnTo>
                <a:lnTo>
                  <a:pt x="1206350" y="0"/>
                </a:lnTo>
                <a:lnTo>
                  <a:pt x="1297860" y="98373"/>
                </a:lnTo>
                <a:lnTo>
                  <a:pt x="1338417" y="49212"/>
                </a:lnTo>
                <a:lnTo>
                  <a:pt x="1292680" y="0"/>
                </a:lnTo>
                <a:lnTo>
                  <a:pt x="1321248" y="0"/>
                </a:lnTo>
                <a:lnTo>
                  <a:pt x="1426908" y="98373"/>
                </a:lnTo>
                <a:lnTo>
                  <a:pt x="1466237" y="43066"/>
                </a:lnTo>
                <a:lnTo>
                  <a:pt x="1419403" y="0"/>
                </a:lnTo>
                <a:lnTo>
                  <a:pt x="1441534" y="0"/>
                </a:lnTo>
                <a:lnTo>
                  <a:pt x="1439198" y="3737"/>
                </a:lnTo>
                <a:lnTo>
                  <a:pt x="1555957" y="97144"/>
                </a:lnTo>
                <a:lnTo>
                  <a:pt x="1592828" y="38150"/>
                </a:lnTo>
                <a:lnTo>
                  <a:pt x="1545140" y="0"/>
                </a:lnTo>
                <a:lnTo>
                  <a:pt x="1563241" y="0"/>
                </a:lnTo>
                <a:lnTo>
                  <a:pt x="1558415" y="8653"/>
                </a:lnTo>
                <a:lnTo>
                  <a:pt x="1685005" y="97144"/>
                </a:lnTo>
                <a:lnTo>
                  <a:pt x="1718189" y="36922"/>
                </a:lnTo>
                <a:lnTo>
                  <a:pt x="1815282" y="97144"/>
                </a:lnTo>
                <a:lnTo>
                  <a:pt x="1842321" y="41838"/>
                </a:lnTo>
                <a:lnTo>
                  <a:pt x="1945560" y="97144"/>
                </a:lnTo>
                <a:lnTo>
                  <a:pt x="1967682" y="45524"/>
                </a:lnTo>
                <a:lnTo>
                  <a:pt x="2075837" y="97144"/>
                </a:lnTo>
                <a:lnTo>
                  <a:pt x="2093044" y="50440"/>
                </a:lnTo>
                <a:lnTo>
                  <a:pt x="2204887" y="97144"/>
                </a:lnTo>
                <a:lnTo>
                  <a:pt x="2218405" y="54128"/>
                </a:lnTo>
                <a:lnTo>
                  <a:pt x="2336392" y="98373"/>
                </a:lnTo>
                <a:lnTo>
                  <a:pt x="2347454" y="60273"/>
                </a:lnTo>
                <a:lnTo>
                  <a:pt x="2466670" y="98373"/>
                </a:lnTo>
                <a:lnTo>
                  <a:pt x="2475274" y="63960"/>
                </a:lnTo>
                <a:lnTo>
                  <a:pt x="2595719" y="98373"/>
                </a:lnTo>
                <a:lnTo>
                  <a:pt x="2601864" y="68877"/>
                </a:lnTo>
                <a:lnTo>
                  <a:pt x="2724767" y="98373"/>
                </a:lnTo>
                <a:lnTo>
                  <a:pt x="2729683" y="72563"/>
                </a:lnTo>
                <a:lnTo>
                  <a:pt x="2855045" y="98373"/>
                </a:lnTo>
                <a:lnTo>
                  <a:pt x="2858732" y="76251"/>
                </a:lnTo>
                <a:lnTo>
                  <a:pt x="2985322" y="98373"/>
                </a:lnTo>
                <a:lnTo>
                  <a:pt x="2987780" y="79937"/>
                </a:lnTo>
                <a:lnTo>
                  <a:pt x="3114371" y="98373"/>
                </a:lnTo>
                <a:lnTo>
                  <a:pt x="3115600" y="82395"/>
                </a:lnTo>
                <a:lnTo>
                  <a:pt x="3243419" y="98373"/>
                </a:lnTo>
                <a:lnTo>
                  <a:pt x="3244649" y="86083"/>
                </a:lnTo>
                <a:lnTo>
                  <a:pt x="3373697" y="98373"/>
                </a:lnTo>
                <a:lnTo>
                  <a:pt x="3374927" y="88541"/>
                </a:lnTo>
                <a:lnTo>
                  <a:pt x="3503974" y="98373"/>
                </a:lnTo>
                <a:lnTo>
                  <a:pt x="3503974" y="90999"/>
                </a:lnTo>
                <a:lnTo>
                  <a:pt x="3633024" y="98373"/>
                </a:lnTo>
                <a:lnTo>
                  <a:pt x="3633024" y="93457"/>
                </a:lnTo>
                <a:lnTo>
                  <a:pt x="3641626" y="93457"/>
                </a:lnTo>
                <a:lnTo>
                  <a:pt x="3721514" y="95915"/>
                </a:lnTo>
                <a:lnTo>
                  <a:pt x="3721514" y="97144"/>
                </a:lnTo>
                <a:lnTo>
                  <a:pt x="5715007" y="142619"/>
                </a:lnTo>
                <a:lnTo>
                  <a:pt x="3721514" y="137702"/>
                </a:lnTo>
                <a:lnTo>
                  <a:pt x="3721514" y="140160"/>
                </a:lnTo>
                <a:lnTo>
                  <a:pt x="3603527" y="137702"/>
                </a:lnTo>
                <a:lnTo>
                  <a:pt x="3603527" y="141389"/>
                </a:lnTo>
                <a:lnTo>
                  <a:pt x="3485540" y="137702"/>
                </a:lnTo>
                <a:lnTo>
                  <a:pt x="3485540" y="143847"/>
                </a:lnTo>
                <a:lnTo>
                  <a:pt x="3367552" y="137702"/>
                </a:lnTo>
                <a:lnTo>
                  <a:pt x="3367552" y="146305"/>
                </a:lnTo>
                <a:lnTo>
                  <a:pt x="3249565" y="137702"/>
                </a:lnTo>
                <a:lnTo>
                  <a:pt x="3249565" y="148763"/>
                </a:lnTo>
                <a:lnTo>
                  <a:pt x="3131578" y="137702"/>
                </a:lnTo>
                <a:lnTo>
                  <a:pt x="3129120" y="152451"/>
                </a:lnTo>
                <a:lnTo>
                  <a:pt x="3012361" y="137702"/>
                </a:lnTo>
                <a:lnTo>
                  <a:pt x="3011133" y="154909"/>
                </a:lnTo>
                <a:lnTo>
                  <a:pt x="2894374" y="137702"/>
                </a:lnTo>
                <a:lnTo>
                  <a:pt x="2891916" y="158595"/>
                </a:lnTo>
                <a:lnTo>
                  <a:pt x="2776386" y="137702"/>
                </a:lnTo>
                <a:lnTo>
                  <a:pt x="2772700" y="162283"/>
                </a:lnTo>
                <a:lnTo>
                  <a:pt x="2658399" y="137702"/>
                </a:lnTo>
                <a:lnTo>
                  <a:pt x="2653483" y="164741"/>
                </a:lnTo>
                <a:lnTo>
                  <a:pt x="2540412" y="137702"/>
                </a:lnTo>
                <a:lnTo>
                  <a:pt x="2534268" y="169657"/>
                </a:lnTo>
                <a:lnTo>
                  <a:pt x="2422425" y="137702"/>
                </a:lnTo>
                <a:lnTo>
                  <a:pt x="2415051" y="173344"/>
                </a:lnTo>
                <a:lnTo>
                  <a:pt x="2304438" y="137702"/>
                </a:lnTo>
                <a:lnTo>
                  <a:pt x="2294605" y="177031"/>
                </a:lnTo>
                <a:lnTo>
                  <a:pt x="2186450" y="137702"/>
                </a:lnTo>
                <a:lnTo>
                  <a:pt x="2174160" y="181948"/>
                </a:lnTo>
                <a:lnTo>
                  <a:pt x="2068463" y="137702"/>
                </a:lnTo>
                <a:lnTo>
                  <a:pt x="2052486" y="186864"/>
                </a:lnTo>
                <a:lnTo>
                  <a:pt x="1950476" y="137702"/>
                </a:lnTo>
                <a:lnTo>
                  <a:pt x="1930811" y="190550"/>
                </a:lnTo>
                <a:lnTo>
                  <a:pt x="1832489" y="137702"/>
                </a:lnTo>
                <a:lnTo>
                  <a:pt x="1807908" y="195466"/>
                </a:lnTo>
                <a:lnTo>
                  <a:pt x="1714501" y="137702"/>
                </a:lnTo>
                <a:lnTo>
                  <a:pt x="1685005" y="200382"/>
                </a:lnTo>
                <a:lnTo>
                  <a:pt x="1596514" y="137702"/>
                </a:lnTo>
                <a:lnTo>
                  <a:pt x="1560873" y="201612"/>
                </a:lnTo>
                <a:lnTo>
                  <a:pt x="1685005" y="291331"/>
                </a:lnTo>
                <a:lnTo>
                  <a:pt x="1718189" y="231109"/>
                </a:lnTo>
                <a:lnTo>
                  <a:pt x="1815282" y="291331"/>
                </a:lnTo>
                <a:lnTo>
                  <a:pt x="1842321" y="236025"/>
                </a:lnTo>
                <a:lnTo>
                  <a:pt x="1945560" y="291331"/>
                </a:lnTo>
                <a:lnTo>
                  <a:pt x="1967682" y="239712"/>
                </a:lnTo>
                <a:lnTo>
                  <a:pt x="2075837" y="291331"/>
                </a:lnTo>
                <a:lnTo>
                  <a:pt x="2093044" y="244628"/>
                </a:lnTo>
                <a:lnTo>
                  <a:pt x="2204887" y="291331"/>
                </a:lnTo>
                <a:lnTo>
                  <a:pt x="2218405" y="248315"/>
                </a:lnTo>
                <a:lnTo>
                  <a:pt x="2333934" y="291331"/>
                </a:lnTo>
                <a:lnTo>
                  <a:pt x="2344996" y="253232"/>
                </a:lnTo>
                <a:lnTo>
                  <a:pt x="2464212" y="291331"/>
                </a:lnTo>
                <a:lnTo>
                  <a:pt x="2472816" y="256918"/>
                </a:lnTo>
                <a:lnTo>
                  <a:pt x="2593261" y="291331"/>
                </a:lnTo>
                <a:lnTo>
                  <a:pt x="2599406" y="261834"/>
                </a:lnTo>
                <a:lnTo>
                  <a:pt x="2722309" y="291331"/>
                </a:lnTo>
                <a:lnTo>
                  <a:pt x="2727225" y="265522"/>
                </a:lnTo>
                <a:lnTo>
                  <a:pt x="2852587" y="291331"/>
                </a:lnTo>
                <a:lnTo>
                  <a:pt x="2856274" y="269208"/>
                </a:lnTo>
                <a:lnTo>
                  <a:pt x="2982864" y="291331"/>
                </a:lnTo>
                <a:lnTo>
                  <a:pt x="2985322" y="272896"/>
                </a:lnTo>
                <a:lnTo>
                  <a:pt x="3111913" y="291331"/>
                </a:lnTo>
                <a:lnTo>
                  <a:pt x="3114371" y="275354"/>
                </a:lnTo>
                <a:lnTo>
                  <a:pt x="3240961" y="291331"/>
                </a:lnTo>
                <a:lnTo>
                  <a:pt x="3242191" y="279041"/>
                </a:lnTo>
                <a:lnTo>
                  <a:pt x="3371239" y="291331"/>
                </a:lnTo>
                <a:lnTo>
                  <a:pt x="3372468" y="281499"/>
                </a:lnTo>
                <a:lnTo>
                  <a:pt x="3501516" y="291331"/>
                </a:lnTo>
                <a:lnTo>
                  <a:pt x="3501516" y="283957"/>
                </a:lnTo>
                <a:lnTo>
                  <a:pt x="3630565" y="291331"/>
                </a:lnTo>
                <a:lnTo>
                  <a:pt x="3630565" y="286415"/>
                </a:lnTo>
                <a:lnTo>
                  <a:pt x="3639168" y="286415"/>
                </a:lnTo>
                <a:lnTo>
                  <a:pt x="3719056" y="288873"/>
                </a:lnTo>
                <a:lnTo>
                  <a:pt x="3719056" y="290103"/>
                </a:lnTo>
                <a:lnTo>
                  <a:pt x="5727297" y="331890"/>
                </a:lnTo>
                <a:lnTo>
                  <a:pt x="3719056" y="331890"/>
                </a:lnTo>
                <a:lnTo>
                  <a:pt x="3719056" y="334348"/>
                </a:lnTo>
                <a:lnTo>
                  <a:pt x="3601069" y="331890"/>
                </a:lnTo>
                <a:lnTo>
                  <a:pt x="3601069" y="336806"/>
                </a:lnTo>
                <a:lnTo>
                  <a:pt x="3485540" y="333118"/>
                </a:lnTo>
                <a:lnTo>
                  <a:pt x="3485540" y="339264"/>
                </a:lnTo>
                <a:lnTo>
                  <a:pt x="3367552" y="333118"/>
                </a:lnTo>
                <a:lnTo>
                  <a:pt x="3367552" y="341722"/>
                </a:lnTo>
                <a:lnTo>
                  <a:pt x="3249565" y="333118"/>
                </a:lnTo>
                <a:lnTo>
                  <a:pt x="3249565" y="344180"/>
                </a:lnTo>
                <a:lnTo>
                  <a:pt x="3131578" y="333118"/>
                </a:lnTo>
                <a:lnTo>
                  <a:pt x="3130348" y="347866"/>
                </a:lnTo>
                <a:lnTo>
                  <a:pt x="3012361" y="333118"/>
                </a:lnTo>
                <a:lnTo>
                  <a:pt x="3011133" y="350325"/>
                </a:lnTo>
                <a:lnTo>
                  <a:pt x="2894374" y="333118"/>
                </a:lnTo>
                <a:lnTo>
                  <a:pt x="2891916" y="354012"/>
                </a:lnTo>
                <a:lnTo>
                  <a:pt x="2776386" y="333118"/>
                </a:lnTo>
                <a:lnTo>
                  <a:pt x="2772700" y="357699"/>
                </a:lnTo>
                <a:lnTo>
                  <a:pt x="2658399" y="333118"/>
                </a:lnTo>
                <a:lnTo>
                  <a:pt x="2653483" y="360157"/>
                </a:lnTo>
                <a:lnTo>
                  <a:pt x="2540412" y="333118"/>
                </a:lnTo>
                <a:lnTo>
                  <a:pt x="2534268" y="365073"/>
                </a:lnTo>
                <a:lnTo>
                  <a:pt x="2422425" y="333118"/>
                </a:lnTo>
                <a:lnTo>
                  <a:pt x="2415051" y="368761"/>
                </a:lnTo>
                <a:lnTo>
                  <a:pt x="2304438" y="333118"/>
                </a:lnTo>
                <a:lnTo>
                  <a:pt x="2294605" y="372447"/>
                </a:lnTo>
                <a:lnTo>
                  <a:pt x="2186450" y="333118"/>
                </a:lnTo>
                <a:lnTo>
                  <a:pt x="2174160" y="377363"/>
                </a:lnTo>
                <a:lnTo>
                  <a:pt x="2068463" y="333118"/>
                </a:lnTo>
                <a:lnTo>
                  <a:pt x="2052486" y="382279"/>
                </a:lnTo>
                <a:lnTo>
                  <a:pt x="1950476" y="333118"/>
                </a:lnTo>
                <a:lnTo>
                  <a:pt x="1930811" y="387196"/>
                </a:lnTo>
                <a:lnTo>
                  <a:pt x="1832489" y="334348"/>
                </a:lnTo>
                <a:lnTo>
                  <a:pt x="1807908" y="392112"/>
                </a:lnTo>
                <a:lnTo>
                  <a:pt x="1714501" y="334348"/>
                </a:lnTo>
                <a:lnTo>
                  <a:pt x="1685005" y="395799"/>
                </a:lnTo>
                <a:lnTo>
                  <a:pt x="1596514" y="333118"/>
                </a:lnTo>
                <a:lnTo>
                  <a:pt x="1560873" y="397028"/>
                </a:lnTo>
                <a:lnTo>
                  <a:pt x="1685005" y="485518"/>
                </a:lnTo>
                <a:lnTo>
                  <a:pt x="1718189" y="425296"/>
                </a:lnTo>
                <a:lnTo>
                  <a:pt x="1815282" y="485518"/>
                </a:lnTo>
                <a:lnTo>
                  <a:pt x="1842321" y="430212"/>
                </a:lnTo>
                <a:lnTo>
                  <a:pt x="1945560" y="485518"/>
                </a:lnTo>
                <a:lnTo>
                  <a:pt x="1967682" y="433899"/>
                </a:lnTo>
                <a:lnTo>
                  <a:pt x="2075837" y="485518"/>
                </a:lnTo>
                <a:lnTo>
                  <a:pt x="2093044" y="438815"/>
                </a:lnTo>
                <a:lnTo>
                  <a:pt x="2204887" y="485518"/>
                </a:lnTo>
                <a:lnTo>
                  <a:pt x="2218405" y="442503"/>
                </a:lnTo>
                <a:lnTo>
                  <a:pt x="2333934" y="485518"/>
                </a:lnTo>
                <a:lnTo>
                  <a:pt x="2344996" y="447419"/>
                </a:lnTo>
                <a:lnTo>
                  <a:pt x="2464212" y="485518"/>
                </a:lnTo>
                <a:lnTo>
                  <a:pt x="2472816" y="451105"/>
                </a:lnTo>
                <a:lnTo>
                  <a:pt x="2593261" y="485518"/>
                </a:lnTo>
                <a:lnTo>
                  <a:pt x="2599406" y="456021"/>
                </a:lnTo>
                <a:lnTo>
                  <a:pt x="2722309" y="485518"/>
                </a:lnTo>
                <a:lnTo>
                  <a:pt x="2728455" y="459709"/>
                </a:lnTo>
                <a:lnTo>
                  <a:pt x="2855045" y="485518"/>
                </a:lnTo>
                <a:lnTo>
                  <a:pt x="2858732" y="463396"/>
                </a:lnTo>
                <a:lnTo>
                  <a:pt x="2985322" y="485518"/>
                </a:lnTo>
                <a:lnTo>
                  <a:pt x="2987780" y="467083"/>
                </a:lnTo>
                <a:lnTo>
                  <a:pt x="3114371" y="485518"/>
                </a:lnTo>
                <a:lnTo>
                  <a:pt x="3115600" y="469541"/>
                </a:lnTo>
                <a:lnTo>
                  <a:pt x="3243419" y="485518"/>
                </a:lnTo>
                <a:lnTo>
                  <a:pt x="3244649" y="473228"/>
                </a:lnTo>
                <a:lnTo>
                  <a:pt x="3373697" y="485518"/>
                </a:lnTo>
                <a:lnTo>
                  <a:pt x="3374927" y="475686"/>
                </a:lnTo>
                <a:lnTo>
                  <a:pt x="3503974" y="485518"/>
                </a:lnTo>
                <a:lnTo>
                  <a:pt x="3503974" y="478144"/>
                </a:lnTo>
                <a:lnTo>
                  <a:pt x="3633024" y="485518"/>
                </a:lnTo>
                <a:lnTo>
                  <a:pt x="3633024" y="481832"/>
                </a:lnTo>
                <a:lnTo>
                  <a:pt x="3641626" y="481832"/>
                </a:lnTo>
                <a:lnTo>
                  <a:pt x="3721514" y="484290"/>
                </a:lnTo>
                <a:lnTo>
                  <a:pt x="3721514" y="486748"/>
                </a:lnTo>
                <a:lnTo>
                  <a:pt x="5726067" y="528535"/>
                </a:lnTo>
                <a:lnTo>
                  <a:pt x="3720284" y="528535"/>
                </a:lnTo>
                <a:lnTo>
                  <a:pt x="3721514" y="529763"/>
                </a:lnTo>
                <a:lnTo>
                  <a:pt x="3603527" y="527305"/>
                </a:lnTo>
                <a:lnTo>
                  <a:pt x="3603527" y="530993"/>
                </a:lnTo>
                <a:lnTo>
                  <a:pt x="3485540" y="527305"/>
                </a:lnTo>
                <a:lnTo>
                  <a:pt x="3485540" y="533451"/>
                </a:lnTo>
                <a:lnTo>
                  <a:pt x="3367552" y="527305"/>
                </a:lnTo>
                <a:lnTo>
                  <a:pt x="3367552" y="535909"/>
                </a:lnTo>
                <a:lnTo>
                  <a:pt x="3249565" y="527305"/>
                </a:lnTo>
                <a:lnTo>
                  <a:pt x="3249565" y="538367"/>
                </a:lnTo>
                <a:lnTo>
                  <a:pt x="3131578" y="527305"/>
                </a:lnTo>
                <a:lnTo>
                  <a:pt x="3130348" y="542054"/>
                </a:lnTo>
                <a:lnTo>
                  <a:pt x="3012361" y="527305"/>
                </a:lnTo>
                <a:lnTo>
                  <a:pt x="3011133" y="544512"/>
                </a:lnTo>
                <a:lnTo>
                  <a:pt x="2894374" y="527305"/>
                </a:lnTo>
                <a:lnTo>
                  <a:pt x="2891916" y="548200"/>
                </a:lnTo>
                <a:lnTo>
                  <a:pt x="2776386" y="527305"/>
                </a:lnTo>
                <a:lnTo>
                  <a:pt x="2772700" y="550658"/>
                </a:lnTo>
                <a:lnTo>
                  <a:pt x="2658399" y="527305"/>
                </a:lnTo>
                <a:lnTo>
                  <a:pt x="2653483" y="554344"/>
                </a:lnTo>
                <a:lnTo>
                  <a:pt x="2540412" y="527305"/>
                </a:lnTo>
                <a:lnTo>
                  <a:pt x="2534268" y="558032"/>
                </a:lnTo>
                <a:lnTo>
                  <a:pt x="2422425" y="527305"/>
                </a:lnTo>
                <a:lnTo>
                  <a:pt x="2415051" y="562948"/>
                </a:lnTo>
                <a:lnTo>
                  <a:pt x="2304438" y="527305"/>
                </a:lnTo>
                <a:lnTo>
                  <a:pt x="2294605" y="566634"/>
                </a:lnTo>
                <a:lnTo>
                  <a:pt x="2186450" y="527305"/>
                </a:lnTo>
                <a:lnTo>
                  <a:pt x="2174160" y="571551"/>
                </a:lnTo>
                <a:lnTo>
                  <a:pt x="2068463" y="527305"/>
                </a:lnTo>
                <a:lnTo>
                  <a:pt x="2052486" y="576467"/>
                </a:lnTo>
                <a:lnTo>
                  <a:pt x="1950476" y="527305"/>
                </a:lnTo>
                <a:lnTo>
                  <a:pt x="1930811" y="580155"/>
                </a:lnTo>
                <a:lnTo>
                  <a:pt x="1832489" y="527305"/>
                </a:lnTo>
                <a:lnTo>
                  <a:pt x="1807908" y="585071"/>
                </a:lnTo>
                <a:lnTo>
                  <a:pt x="1714501" y="527305"/>
                </a:lnTo>
                <a:lnTo>
                  <a:pt x="1685005" y="589987"/>
                </a:lnTo>
                <a:lnTo>
                  <a:pt x="1596514" y="527305"/>
                </a:lnTo>
                <a:lnTo>
                  <a:pt x="1560873" y="591215"/>
                </a:lnTo>
                <a:lnTo>
                  <a:pt x="1685005" y="682164"/>
                </a:lnTo>
                <a:lnTo>
                  <a:pt x="1718189" y="621942"/>
                </a:lnTo>
                <a:lnTo>
                  <a:pt x="1815282" y="682164"/>
                </a:lnTo>
                <a:lnTo>
                  <a:pt x="1842321" y="626858"/>
                </a:lnTo>
                <a:lnTo>
                  <a:pt x="1945560" y="682164"/>
                </a:lnTo>
                <a:lnTo>
                  <a:pt x="1967682" y="630544"/>
                </a:lnTo>
                <a:lnTo>
                  <a:pt x="2075837" y="682164"/>
                </a:lnTo>
                <a:lnTo>
                  <a:pt x="2093044" y="635460"/>
                </a:lnTo>
                <a:lnTo>
                  <a:pt x="2204887" y="682164"/>
                </a:lnTo>
                <a:lnTo>
                  <a:pt x="2218405" y="639148"/>
                </a:lnTo>
                <a:lnTo>
                  <a:pt x="2333934" y="682164"/>
                </a:lnTo>
                <a:lnTo>
                  <a:pt x="2344996" y="644064"/>
                </a:lnTo>
                <a:lnTo>
                  <a:pt x="2464212" y="682164"/>
                </a:lnTo>
                <a:lnTo>
                  <a:pt x="2472816" y="647751"/>
                </a:lnTo>
                <a:lnTo>
                  <a:pt x="2593261" y="682164"/>
                </a:lnTo>
                <a:lnTo>
                  <a:pt x="2599406" y="652667"/>
                </a:lnTo>
                <a:lnTo>
                  <a:pt x="2722309" y="682164"/>
                </a:lnTo>
                <a:lnTo>
                  <a:pt x="2727225" y="656355"/>
                </a:lnTo>
                <a:lnTo>
                  <a:pt x="2852587" y="682164"/>
                </a:lnTo>
                <a:lnTo>
                  <a:pt x="2856274" y="660041"/>
                </a:lnTo>
                <a:lnTo>
                  <a:pt x="2982864" y="682164"/>
                </a:lnTo>
                <a:lnTo>
                  <a:pt x="2985322" y="663729"/>
                </a:lnTo>
                <a:lnTo>
                  <a:pt x="3111913" y="682164"/>
                </a:lnTo>
                <a:lnTo>
                  <a:pt x="3113142" y="666187"/>
                </a:lnTo>
                <a:lnTo>
                  <a:pt x="3240961" y="682164"/>
                </a:lnTo>
                <a:lnTo>
                  <a:pt x="3242191" y="669873"/>
                </a:lnTo>
                <a:lnTo>
                  <a:pt x="3371239" y="682164"/>
                </a:lnTo>
                <a:lnTo>
                  <a:pt x="3372468" y="672331"/>
                </a:lnTo>
                <a:lnTo>
                  <a:pt x="3501516" y="682164"/>
                </a:lnTo>
                <a:lnTo>
                  <a:pt x="3501516" y="674789"/>
                </a:lnTo>
                <a:lnTo>
                  <a:pt x="3630565" y="682164"/>
                </a:lnTo>
                <a:lnTo>
                  <a:pt x="3630565" y="677248"/>
                </a:lnTo>
                <a:lnTo>
                  <a:pt x="3639168" y="677248"/>
                </a:lnTo>
                <a:lnTo>
                  <a:pt x="3719056" y="679706"/>
                </a:lnTo>
                <a:lnTo>
                  <a:pt x="3719056" y="680935"/>
                </a:lnTo>
                <a:lnTo>
                  <a:pt x="5710091" y="722722"/>
                </a:lnTo>
                <a:lnTo>
                  <a:pt x="3719056" y="722722"/>
                </a:lnTo>
                <a:lnTo>
                  <a:pt x="3720284" y="725180"/>
                </a:lnTo>
                <a:lnTo>
                  <a:pt x="3602297" y="722722"/>
                </a:lnTo>
                <a:lnTo>
                  <a:pt x="3602297" y="726409"/>
                </a:lnTo>
                <a:lnTo>
                  <a:pt x="3484310" y="722722"/>
                </a:lnTo>
                <a:lnTo>
                  <a:pt x="3484310" y="728867"/>
                </a:lnTo>
                <a:lnTo>
                  <a:pt x="3366323" y="722722"/>
                </a:lnTo>
                <a:lnTo>
                  <a:pt x="3366323" y="731325"/>
                </a:lnTo>
                <a:lnTo>
                  <a:pt x="3248335" y="722722"/>
                </a:lnTo>
                <a:lnTo>
                  <a:pt x="3248335" y="733783"/>
                </a:lnTo>
                <a:lnTo>
                  <a:pt x="3130348" y="722722"/>
                </a:lnTo>
                <a:lnTo>
                  <a:pt x="3129120" y="737471"/>
                </a:lnTo>
                <a:lnTo>
                  <a:pt x="3011133" y="722722"/>
                </a:lnTo>
                <a:lnTo>
                  <a:pt x="3009903" y="739929"/>
                </a:lnTo>
                <a:lnTo>
                  <a:pt x="2893145" y="722722"/>
                </a:lnTo>
                <a:lnTo>
                  <a:pt x="2890687" y="743615"/>
                </a:lnTo>
                <a:lnTo>
                  <a:pt x="2775158" y="722722"/>
                </a:lnTo>
                <a:lnTo>
                  <a:pt x="2771470" y="746073"/>
                </a:lnTo>
                <a:lnTo>
                  <a:pt x="2657171" y="722722"/>
                </a:lnTo>
                <a:lnTo>
                  <a:pt x="2652255" y="749761"/>
                </a:lnTo>
                <a:lnTo>
                  <a:pt x="2539184" y="722722"/>
                </a:lnTo>
                <a:lnTo>
                  <a:pt x="2533038" y="753448"/>
                </a:lnTo>
                <a:lnTo>
                  <a:pt x="2421196" y="721493"/>
                </a:lnTo>
                <a:lnTo>
                  <a:pt x="2413822" y="757135"/>
                </a:lnTo>
                <a:lnTo>
                  <a:pt x="2303209" y="721493"/>
                </a:lnTo>
                <a:lnTo>
                  <a:pt x="2293377" y="760822"/>
                </a:lnTo>
                <a:lnTo>
                  <a:pt x="2185222" y="721493"/>
                </a:lnTo>
                <a:lnTo>
                  <a:pt x="2172932" y="765738"/>
                </a:lnTo>
                <a:lnTo>
                  <a:pt x="2067235" y="721493"/>
                </a:lnTo>
                <a:lnTo>
                  <a:pt x="2051257" y="770654"/>
                </a:lnTo>
                <a:lnTo>
                  <a:pt x="1949247" y="721493"/>
                </a:lnTo>
                <a:lnTo>
                  <a:pt x="1929583" y="774342"/>
                </a:lnTo>
                <a:lnTo>
                  <a:pt x="1831260" y="721493"/>
                </a:lnTo>
                <a:lnTo>
                  <a:pt x="1806680" y="779258"/>
                </a:lnTo>
                <a:lnTo>
                  <a:pt x="1714501" y="721493"/>
                </a:lnTo>
                <a:lnTo>
                  <a:pt x="1685005" y="782944"/>
                </a:lnTo>
                <a:lnTo>
                  <a:pt x="1596514" y="721493"/>
                </a:lnTo>
                <a:lnTo>
                  <a:pt x="1560873" y="785402"/>
                </a:lnTo>
                <a:lnTo>
                  <a:pt x="1683776" y="875123"/>
                </a:lnTo>
                <a:lnTo>
                  <a:pt x="1716959" y="814899"/>
                </a:lnTo>
                <a:lnTo>
                  <a:pt x="1814054" y="875123"/>
                </a:lnTo>
                <a:lnTo>
                  <a:pt x="1841092" y="819815"/>
                </a:lnTo>
                <a:lnTo>
                  <a:pt x="1944331" y="875123"/>
                </a:lnTo>
                <a:lnTo>
                  <a:pt x="1966454" y="823503"/>
                </a:lnTo>
                <a:lnTo>
                  <a:pt x="2074609" y="875123"/>
                </a:lnTo>
                <a:lnTo>
                  <a:pt x="2091815" y="828419"/>
                </a:lnTo>
                <a:lnTo>
                  <a:pt x="2203657" y="875123"/>
                </a:lnTo>
                <a:lnTo>
                  <a:pt x="2217177" y="832106"/>
                </a:lnTo>
                <a:lnTo>
                  <a:pt x="2332706" y="875123"/>
                </a:lnTo>
                <a:lnTo>
                  <a:pt x="2343767" y="837022"/>
                </a:lnTo>
                <a:lnTo>
                  <a:pt x="2462984" y="875123"/>
                </a:lnTo>
                <a:lnTo>
                  <a:pt x="2471586" y="840710"/>
                </a:lnTo>
                <a:lnTo>
                  <a:pt x="2592031" y="875123"/>
                </a:lnTo>
                <a:lnTo>
                  <a:pt x="2598177" y="845626"/>
                </a:lnTo>
                <a:lnTo>
                  <a:pt x="2721081" y="875123"/>
                </a:lnTo>
                <a:lnTo>
                  <a:pt x="2725997" y="849312"/>
                </a:lnTo>
                <a:lnTo>
                  <a:pt x="2851358" y="875123"/>
                </a:lnTo>
                <a:lnTo>
                  <a:pt x="2855045" y="853000"/>
                </a:lnTo>
                <a:lnTo>
                  <a:pt x="2981636" y="875123"/>
                </a:lnTo>
                <a:lnTo>
                  <a:pt x="2984094" y="856686"/>
                </a:lnTo>
                <a:lnTo>
                  <a:pt x="3110684" y="875123"/>
                </a:lnTo>
                <a:lnTo>
                  <a:pt x="3111913" y="859144"/>
                </a:lnTo>
                <a:lnTo>
                  <a:pt x="3239733" y="875123"/>
                </a:lnTo>
                <a:lnTo>
                  <a:pt x="3240961" y="862832"/>
                </a:lnTo>
                <a:lnTo>
                  <a:pt x="3370010" y="875123"/>
                </a:lnTo>
                <a:lnTo>
                  <a:pt x="3371239" y="865290"/>
                </a:lnTo>
                <a:lnTo>
                  <a:pt x="3501516" y="876351"/>
                </a:lnTo>
                <a:lnTo>
                  <a:pt x="3501516" y="868977"/>
                </a:lnTo>
                <a:lnTo>
                  <a:pt x="3630565" y="876351"/>
                </a:lnTo>
                <a:lnTo>
                  <a:pt x="3630565" y="871435"/>
                </a:lnTo>
                <a:lnTo>
                  <a:pt x="3639168" y="871435"/>
                </a:lnTo>
                <a:lnTo>
                  <a:pt x="3719056" y="873893"/>
                </a:lnTo>
                <a:lnTo>
                  <a:pt x="3719056" y="875123"/>
                </a:lnTo>
                <a:lnTo>
                  <a:pt x="5723611" y="916910"/>
                </a:lnTo>
                <a:lnTo>
                  <a:pt x="3720284" y="916910"/>
                </a:lnTo>
                <a:lnTo>
                  <a:pt x="3721514" y="918138"/>
                </a:lnTo>
                <a:lnTo>
                  <a:pt x="3603527" y="915680"/>
                </a:lnTo>
                <a:lnTo>
                  <a:pt x="3603527" y="919368"/>
                </a:lnTo>
                <a:lnTo>
                  <a:pt x="3485540" y="915680"/>
                </a:lnTo>
                <a:lnTo>
                  <a:pt x="3485540" y="921826"/>
                </a:lnTo>
                <a:lnTo>
                  <a:pt x="3367552" y="915680"/>
                </a:lnTo>
                <a:lnTo>
                  <a:pt x="3367552" y="924284"/>
                </a:lnTo>
                <a:lnTo>
                  <a:pt x="3249565" y="915680"/>
                </a:lnTo>
                <a:lnTo>
                  <a:pt x="3249565" y="926742"/>
                </a:lnTo>
                <a:lnTo>
                  <a:pt x="3132806" y="915680"/>
                </a:lnTo>
                <a:lnTo>
                  <a:pt x="3131578" y="930428"/>
                </a:lnTo>
                <a:lnTo>
                  <a:pt x="3012361" y="915680"/>
                </a:lnTo>
                <a:lnTo>
                  <a:pt x="3011133" y="932886"/>
                </a:lnTo>
                <a:lnTo>
                  <a:pt x="2894374" y="915680"/>
                </a:lnTo>
                <a:lnTo>
                  <a:pt x="2891916" y="936574"/>
                </a:lnTo>
                <a:lnTo>
                  <a:pt x="2776386" y="915680"/>
                </a:lnTo>
                <a:lnTo>
                  <a:pt x="2772700" y="940261"/>
                </a:lnTo>
                <a:lnTo>
                  <a:pt x="2658399" y="915680"/>
                </a:lnTo>
                <a:lnTo>
                  <a:pt x="2653483" y="942719"/>
                </a:lnTo>
                <a:lnTo>
                  <a:pt x="2540412" y="915680"/>
                </a:lnTo>
                <a:lnTo>
                  <a:pt x="2534268" y="947635"/>
                </a:lnTo>
                <a:lnTo>
                  <a:pt x="2422425" y="915680"/>
                </a:lnTo>
                <a:lnTo>
                  <a:pt x="2415051" y="951323"/>
                </a:lnTo>
                <a:lnTo>
                  <a:pt x="2304438" y="915680"/>
                </a:lnTo>
                <a:lnTo>
                  <a:pt x="2294605" y="955009"/>
                </a:lnTo>
                <a:lnTo>
                  <a:pt x="2186450" y="915680"/>
                </a:lnTo>
                <a:lnTo>
                  <a:pt x="2174160" y="959925"/>
                </a:lnTo>
                <a:lnTo>
                  <a:pt x="2068463" y="915680"/>
                </a:lnTo>
                <a:lnTo>
                  <a:pt x="2052486" y="964841"/>
                </a:lnTo>
                <a:lnTo>
                  <a:pt x="1950476" y="915680"/>
                </a:lnTo>
                <a:lnTo>
                  <a:pt x="1930811" y="968529"/>
                </a:lnTo>
                <a:lnTo>
                  <a:pt x="1832489" y="915680"/>
                </a:lnTo>
                <a:lnTo>
                  <a:pt x="1807908" y="973445"/>
                </a:lnTo>
                <a:lnTo>
                  <a:pt x="1714501" y="915680"/>
                </a:lnTo>
                <a:lnTo>
                  <a:pt x="1685005" y="978361"/>
                </a:lnTo>
                <a:lnTo>
                  <a:pt x="1596514" y="915680"/>
                </a:lnTo>
                <a:lnTo>
                  <a:pt x="1560873" y="979590"/>
                </a:lnTo>
                <a:lnTo>
                  <a:pt x="1685005" y="1069310"/>
                </a:lnTo>
                <a:lnTo>
                  <a:pt x="1718189" y="1009087"/>
                </a:lnTo>
                <a:lnTo>
                  <a:pt x="1815282" y="1069310"/>
                </a:lnTo>
                <a:lnTo>
                  <a:pt x="1841092" y="1012774"/>
                </a:lnTo>
                <a:lnTo>
                  <a:pt x="1944331" y="1068080"/>
                </a:lnTo>
                <a:lnTo>
                  <a:pt x="1966454" y="1016461"/>
                </a:lnTo>
                <a:lnTo>
                  <a:pt x="2074609" y="1068080"/>
                </a:lnTo>
                <a:lnTo>
                  <a:pt x="2091815" y="1021377"/>
                </a:lnTo>
                <a:lnTo>
                  <a:pt x="2203657" y="1068080"/>
                </a:lnTo>
                <a:lnTo>
                  <a:pt x="2217177" y="1025065"/>
                </a:lnTo>
                <a:lnTo>
                  <a:pt x="2332706" y="1068080"/>
                </a:lnTo>
                <a:lnTo>
                  <a:pt x="2343767" y="1029981"/>
                </a:lnTo>
                <a:lnTo>
                  <a:pt x="2462984" y="1068080"/>
                </a:lnTo>
                <a:lnTo>
                  <a:pt x="2471586" y="1033667"/>
                </a:lnTo>
                <a:lnTo>
                  <a:pt x="2592031" y="1068080"/>
                </a:lnTo>
                <a:lnTo>
                  <a:pt x="2598177" y="1038583"/>
                </a:lnTo>
                <a:lnTo>
                  <a:pt x="2721081" y="1068080"/>
                </a:lnTo>
                <a:lnTo>
                  <a:pt x="2725997" y="1042271"/>
                </a:lnTo>
                <a:lnTo>
                  <a:pt x="2851358" y="1068080"/>
                </a:lnTo>
                <a:lnTo>
                  <a:pt x="2855045" y="1045958"/>
                </a:lnTo>
                <a:lnTo>
                  <a:pt x="2981636" y="1068080"/>
                </a:lnTo>
                <a:lnTo>
                  <a:pt x="2984094" y="1049645"/>
                </a:lnTo>
                <a:lnTo>
                  <a:pt x="3110684" y="1069310"/>
                </a:lnTo>
                <a:lnTo>
                  <a:pt x="3111913" y="1053332"/>
                </a:lnTo>
                <a:lnTo>
                  <a:pt x="3239733" y="1069310"/>
                </a:lnTo>
                <a:lnTo>
                  <a:pt x="3240961" y="1057020"/>
                </a:lnTo>
                <a:lnTo>
                  <a:pt x="3370010" y="1069310"/>
                </a:lnTo>
                <a:lnTo>
                  <a:pt x="3371239" y="1059478"/>
                </a:lnTo>
                <a:lnTo>
                  <a:pt x="3500288" y="1069310"/>
                </a:lnTo>
                <a:lnTo>
                  <a:pt x="3500288" y="1061936"/>
                </a:lnTo>
                <a:lnTo>
                  <a:pt x="3628107" y="1071768"/>
                </a:lnTo>
                <a:lnTo>
                  <a:pt x="3628107" y="1066852"/>
                </a:lnTo>
                <a:lnTo>
                  <a:pt x="3636710" y="1066852"/>
                </a:lnTo>
                <a:lnTo>
                  <a:pt x="3716598" y="1069310"/>
                </a:lnTo>
                <a:lnTo>
                  <a:pt x="3716598" y="1070538"/>
                </a:lnTo>
                <a:lnTo>
                  <a:pt x="5717465" y="1112325"/>
                </a:lnTo>
                <a:lnTo>
                  <a:pt x="3716598" y="1112325"/>
                </a:lnTo>
                <a:lnTo>
                  <a:pt x="3717826" y="1113555"/>
                </a:lnTo>
                <a:lnTo>
                  <a:pt x="3599839" y="1111097"/>
                </a:lnTo>
                <a:lnTo>
                  <a:pt x="3599839" y="1114783"/>
                </a:lnTo>
                <a:lnTo>
                  <a:pt x="3481852" y="1111097"/>
                </a:lnTo>
                <a:lnTo>
                  <a:pt x="3481852" y="1117242"/>
                </a:lnTo>
                <a:lnTo>
                  <a:pt x="3363865" y="1111097"/>
                </a:lnTo>
                <a:lnTo>
                  <a:pt x="3363865" y="1119700"/>
                </a:lnTo>
                <a:lnTo>
                  <a:pt x="3245877" y="1111097"/>
                </a:lnTo>
                <a:lnTo>
                  <a:pt x="3245877" y="1122158"/>
                </a:lnTo>
                <a:lnTo>
                  <a:pt x="3127890" y="1111097"/>
                </a:lnTo>
                <a:lnTo>
                  <a:pt x="3126662" y="1125845"/>
                </a:lnTo>
                <a:lnTo>
                  <a:pt x="3008674" y="1111097"/>
                </a:lnTo>
                <a:lnTo>
                  <a:pt x="3007445" y="1128304"/>
                </a:lnTo>
                <a:lnTo>
                  <a:pt x="2890687" y="1111097"/>
                </a:lnTo>
                <a:lnTo>
                  <a:pt x="2888229" y="1131990"/>
                </a:lnTo>
                <a:lnTo>
                  <a:pt x="2772700" y="1111097"/>
                </a:lnTo>
                <a:lnTo>
                  <a:pt x="2769012" y="1135678"/>
                </a:lnTo>
                <a:lnTo>
                  <a:pt x="2654713" y="1111097"/>
                </a:lnTo>
                <a:lnTo>
                  <a:pt x="2649797" y="1138136"/>
                </a:lnTo>
                <a:lnTo>
                  <a:pt x="2536726" y="1111097"/>
                </a:lnTo>
                <a:lnTo>
                  <a:pt x="2530580" y="1143052"/>
                </a:lnTo>
                <a:lnTo>
                  <a:pt x="2418738" y="1111097"/>
                </a:lnTo>
                <a:lnTo>
                  <a:pt x="2411364" y="1146738"/>
                </a:lnTo>
                <a:lnTo>
                  <a:pt x="2300751" y="1111097"/>
                </a:lnTo>
                <a:lnTo>
                  <a:pt x="2290919" y="1150426"/>
                </a:lnTo>
                <a:lnTo>
                  <a:pt x="2182764" y="1111097"/>
                </a:lnTo>
                <a:lnTo>
                  <a:pt x="2170474" y="1155342"/>
                </a:lnTo>
                <a:lnTo>
                  <a:pt x="2064777" y="1111097"/>
                </a:lnTo>
                <a:lnTo>
                  <a:pt x="2048799" y="1160258"/>
                </a:lnTo>
                <a:lnTo>
                  <a:pt x="1946789" y="1111097"/>
                </a:lnTo>
                <a:lnTo>
                  <a:pt x="1927125" y="1163945"/>
                </a:lnTo>
                <a:lnTo>
                  <a:pt x="1828802" y="1111097"/>
                </a:lnTo>
                <a:lnTo>
                  <a:pt x="1804221" y="1168861"/>
                </a:lnTo>
                <a:lnTo>
                  <a:pt x="1710815" y="1111097"/>
                </a:lnTo>
                <a:lnTo>
                  <a:pt x="1681318" y="1173777"/>
                </a:lnTo>
                <a:lnTo>
                  <a:pt x="1592828" y="1111097"/>
                </a:lnTo>
                <a:lnTo>
                  <a:pt x="1557185" y="1175007"/>
                </a:lnTo>
                <a:lnTo>
                  <a:pt x="1683776" y="1263497"/>
                </a:lnTo>
                <a:lnTo>
                  <a:pt x="1716959" y="1203274"/>
                </a:lnTo>
                <a:lnTo>
                  <a:pt x="1814054" y="1263497"/>
                </a:lnTo>
                <a:lnTo>
                  <a:pt x="1841092" y="1208190"/>
                </a:lnTo>
                <a:lnTo>
                  <a:pt x="1944331" y="1263497"/>
                </a:lnTo>
                <a:lnTo>
                  <a:pt x="1966454" y="1211878"/>
                </a:lnTo>
                <a:lnTo>
                  <a:pt x="2074609" y="1263497"/>
                </a:lnTo>
                <a:lnTo>
                  <a:pt x="2091815" y="1216794"/>
                </a:lnTo>
                <a:lnTo>
                  <a:pt x="2203657" y="1263497"/>
                </a:lnTo>
                <a:lnTo>
                  <a:pt x="2217177" y="1220480"/>
                </a:lnTo>
                <a:lnTo>
                  <a:pt x="2332706" y="1263497"/>
                </a:lnTo>
                <a:lnTo>
                  <a:pt x="2343767" y="1225397"/>
                </a:lnTo>
                <a:lnTo>
                  <a:pt x="2462984" y="1263497"/>
                </a:lnTo>
                <a:lnTo>
                  <a:pt x="2471586" y="1229084"/>
                </a:lnTo>
                <a:lnTo>
                  <a:pt x="2592031" y="1263497"/>
                </a:lnTo>
                <a:lnTo>
                  <a:pt x="2598177" y="1234000"/>
                </a:lnTo>
                <a:lnTo>
                  <a:pt x="2721081" y="1263497"/>
                </a:lnTo>
                <a:lnTo>
                  <a:pt x="2725997" y="1237687"/>
                </a:lnTo>
                <a:lnTo>
                  <a:pt x="2851358" y="1263497"/>
                </a:lnTo>
                <a:lnTo>
                  <a:pt x="2855045" y="1241375"/>
                </a:lnTo>
                <a:lnTo>
                  <a:pt x="2981636" y="1263497"/>
                </a:lnTo>
                <a:lnTo>
                  <a:pt x="2984094" y="1245061"/>
                </a:lnTo>
                <a:lnTo>
                  <a:pt x="3110684" y="1263497"/>
                </a:lnTo>
                <a:lnTo>
                  <a:pt x="3111913" y="1247519"/>
                </a:lnTo>
                <a:lnTo>
                  <a:pt x="3239733" y="1263497"/>
                </a:lnTo>
                <a:lnTo>
                  <a:pt x="3240961" y="1251207"/>
                </a:lnTo>
                <a:lnTo>
                  <a:pt x="3370010" y="1263497"/>
                </a:lnTo>
                <a:lnTo>
                  <a:pt x="3371239" y="1253665"/>
                </a:lnTo>
                <a:lnTo>
                  <a:pt x="3500288" y="1263497"/>
                </a:lnTo>
                <a:lnTo>
                  <a:pt x="3500288" y="1256123"/>
                </a:lnTo>
                <a:lnTo>
                  <a:pt x="3629336" y="1263497"/>
                </a:lnTo>
                <a:lnTo>
                  <a:pt x="3629336" y="1258581"/>
                </a:lnTo>
                <a:lnTo>
                  <a:pt x="3637940" y="1258581"/>
                </a:lnTo>
                <a:lnTo>
                  <a:pt x="3714140" y="1272100"/>
                </a:lnTo>
                <a:lnTo>
                  <a:pt x="3714140" y="1273329"/>
                </a:lnTo>
                <a:lnTo>
                  <a:pt x="5554003" y="1307742"/>
                </a:lnTo>
                <a:lnTo>
                  <a:pt x="3715368" y="1307742"/>
                </a:lnTo>
                <a:lnTo>
                  <a:pt x="3715368" y="1308971"/>
                </a:lnTo>
                <a:lnTo>
                  <a:pt x="3597381" y="1306513"/>
                </a:lnTo>
                <a:lnTo>
                  <a:pt x="3597381" y="1310200"/>
                </a:lnTo>
                <a:lnTo>
                  <a:pt x="3479394" y="1306513"/>
                </a:lnTo>
                <a:lnTo>
                  <a:pt x="3479394" y="1312659"/>
                </a:lnTo>
                <a:lnTo>
                  <a:pt x="3361406" y="1306513"/>
                </a:lnTo>
                <a:lnTo>
                  <a:pt x="3361406" y="1315117"/>
                </a:lnTo>
                <a:lnTo>
                  <a:pt x="3243419" y="1306513"/>
                </a:lnTo>
                <a:lnTo>
                  <a:pt x="3243419" y="1317575"/>
                </a:lnTo>
                <a:lnTo>
                  <a:pt x="3125432" y="1306513"/>
                </a:lnTo>
                <a:lnTo>
                  <a:pt x="3124204" y="1321261"/>
                </a:lnTo>
                <a:lnTo>
                  <a:pt x="3006216" y="1306513"/>
                </a:lnTo>
                <a:lnTo>
                  <a:pt x="3004987" y="1323719"/>
                </a:lnTo>
                <a:lnTo>
                  <a:pt x="2888229" y="1306513"/>
                </a:lnTo>
                <a:lnTo>
                  <a:pt x="2885771" y="1327407"/>
                </a:lnTo>
                <a:lnTo>
                  <a:pt x="2770242" y="1306513"/>
                </a:lnTo>
                <a:lnTo>
                  <a:pt x="2766554" y="1331093"/>
                </a:lnTo>
                <a:lnTo>
                  <a:pt x="2652255" y="1306513"/>
                </a:lnTo>
                <a:lnTo>
                  <a:pt x="2647339" y="1333551"/>
                </a:lnTo>
                <a:lnTo>
                  <a:pt x="2534268" y="1306513"/>
                </a:lnTo>
                <a:lnTo>
                  <a:pt x="2528122" y="1338468"/>
                </a:lnTo>
                <a:lnTo>
                  <a:pt x="2416280" y="1306513"/>
                </a:lnTo>
                <a:lnTo>
                  <a:pt x="2408906" y="1342155"/>
                </a:lnTo>
                <a:lnTo>
                  <a:pt x="2298293" y="1306513"/>
                </a:lnTo>
                <a:lnTo>
                  <a:pt x="2288461" y="1345842"/>
                </a:lnTo>
                <a:lnTo>
                  <a:pt x="2180306" y="1306513"/>
                </a:lnTo>
                <a:lnTo>
                  <a:pt x="2168015" y="1350758"/>
                </a:lnTo>
                <a:lnTo>
                  <a:pt x="2062319" y="1306513"/>
                </a:lnTo>
                <a:lnTo>
                  <a:pt x="2046340" y="1355674"/>
                </a:lnTo>
                <a:lnTo>
                  <a:pt x="1944331" y="1306513"/>
                </a:lnTo>
                <a:lnTo>
                  <a:pt x="1924667" y="1359362"/>
                </a:lnTo>
                <a:lnTo>
                  <a:pt x="1826344" y="1306513"/>
                </a:lnTo>
                <a:lnTo>
                  <a:pt x="1801763" y="1364278"/>
                </a:lnTo>
                <a:lnTo>
                  <a:pt x="1708357" y="1306513"/>
                </a:lnTo>
                <a:lnTo>
                  <a:pt x="1678860" y="1369194"/>
                </a:lnTo>
                <a:lnTo>
                  <a:pt x="1590370" y="1306513"/>
                </a:lnTo>
                <a:lnTo>
                  <a:pt x="1558424" y="1363794"/>
                </a:lnTo>
                <a:lnTo>
                  <a:pt x="1476069" y="1297910"/>
                </a:lnTo>
                <a:lnTo>
                  <a:pt x="1439198" y="1356904"/>
                </a:lnTo>
                <a:lnTo>
                  <a:pt x="1555957" y="1450310"/>
                </a:lnTo>
                <a:lnTo>
                  <a:pt x="1590332" y="1395311"/>
                </a:lnTo>
                <a:lnTo>
                  <a:pt x="1681318" y="1458913"/>
                </a:lnTo>
                <a:lnTo>
                  <a:pt x="1714501" y="1398691"/>
                </a:lnTo>
                <a:lnTo>
                  <a:pt x="1811596" y="1458913"/>
                </a:lnTo>
                <a:lnTo>
                  <a:pt x="1838634" y="1403607"/>
                </a:lnTo>
                <a:lnTo>
                  <a:pt x="1941873" y="1458913"/>
                </a:lnTo>
                <a:lnTo>
                  <a:pt x="1963996" y="1407293"/>
                </a:lnTo>
                <a:lnTo>
                  <a:pt x="2072151" y="1458913"/>
                </a:lnTo>
                <a:lnTo>
                  <a:pt x="2089357" y="1412210"/>
                </a:lnTo>
                <a:lnTo>
                  <a:pt x="2201199" y="1458913"/>
                </a:lnTo>
                <a:lnTo>
                  <a:pt x="2214719" y="1415897"/>
                </a:lnTo>
                <a:lnTo>
                  <a:pt x="2330248" y="1458913"/>
                </a:lnTo>
                <a:lnTo>
                  <a:pt x="2341309" y="1420814"/>
                </a:lnTo>
                <a:lnTo>
                  <a:pt x="2460525" y="1458913"/>
                </a:lnTo>
                <a:lnTo>
                  <a:pt x="2469128" y="1424500"/>
                </a:lnTo>
                <a:lnTo>
                  <a:pt x="2590803" y="1458913"/>
                </a:lnTo>
                <a:lnTo>
                  <a:pt x="2596948" y="1429416"/>
                </a:lnTo>
                <a:lnTo>
                  <a:pt x="2719851" y="1458913"/>
                </a:lnTo>
                <a:lnTo>
                  <a:pt x="2724767" y="1433104"/>
                </a:lnTo>
                <a:lnTo>
                  <a:pt x="2850129" y="1458913"/>
                </a:lnTo>
                <a:lnTo>
                  <a:pt x="2853816" y="1436790"/>
                </a:lnTo>
                <a:lnTo>
                  <a:pt x="2980406" y="1458913"/>
                </a:lnTo>
                <a:lnTo>
                  <a:pt x="2982864" y="1440478"/>
                </a:lnTo>
                <a:lnTo>
                  <a:pt x="3109455" y="1458913"/>
                </a:lnTo>
                <a:lnTo>
                  <a:pt x="3110684" y="1442936"/>
                </a:lnTo>
                <a:lnTo>
                  <a:pt x="3238503" y="1458913"/>
                </a:lnTo>
                <a:lnTo>
                  <a:pt x="3239733" y="1446623"/>
                </a:lnTo>
                <a:lnTo>
                  <a:pt x="3368781" y="1458913"/>
                </a:lnTo>
                <a:lnTo>
                  <a:pt x="3370010" y="1449081"/>
                </a:lnTo>
                <a:lnTo>
                  <a:pt x="3499058" y="1458913"/>
                </a:lnTo>
                <a:lnTo>
                  <a:pt x="3499058" y="1451539"/>
                </a:lnTo>
                <a:lnTo>
                  <a:pt x="3628107" y="1458913"/>
                </a:lnTo>
                <a:lnTo>
                  <a:pt x="3628107" y="1453997"/>
                </a:lnTo>
                <a:lnTo>
                  <a:pt x="3636710" y="1453997"/>
                </a:lnTo>
                <a:lnTo>
                  <a:pt x="3716598" y="1456455"/>
                </a:lnTo>
                <a:lnTo>
                  <a:pt x="3716598" y="1457685"/>
                </a:lnTo>
                <a:lnTo>
                  <a:pt x="5780145" y="1497014"/>
                </a:lnTo>
                <a:lnTo>
                  <a:pt x="3716598" y="1497014"/>
                </a:lnTo>
                <a:lnTo>
                  <a:pt x="3717826" y="1498242"/>
                </a:lnTo>
                <a:lnTo>
                  <a:pt x="3599839" y="1495784"/>
                </a:lnTo>
                <a:lnTo>
                  <a:pt x="3599839" y="1499472"/>
                </a:lnTo>
                <a:lnTo>
                  <a:pt x="3481852" y="1495784"/>
                </a:lnTo>
                <a:lnTo>
                  <a:pt x="3481852" y="1501930"/>
                </a:lnTo>
                <a:lnTo>
                  <a:pt x="3363865" y="1495784"/>
                </a:lnTo>
                <a:lnTo>
                  <a:pt x="3363865" y="1504388"/>
                </a:lnTo>
                <a:lnTo>
                  <a:pt x="3245877" y="1495784"/>
                </a:lnTo>
                <a:lnTo>
                  <a:pt x="3245877" y="1506846"/>
                </a:lnTo>
                <a:lnTo>
                  <a:pt x="3127890" y="1495784"/>
                </a:lnTo>
                <a:lnTo>
                  <a:pt x="3126662" y="1510532"/>
                </a:lnTo>
                <a:lnTo>
                  <a:pt x="3008674" y="1495784"/>
                </a:lnTo>
                <a:lnTo>
                  <a:pt x="3007445" y="1512990"/>
                </a:lnTo>
                <a:lnTo>
                  <a:pt x="2890687" y="1495784"/>
                </a:lnTo>
                <a:lnTo>
                  <a:pt x="2888229" y="1516678"/>
                </a:lnTo>
                <a:lnTo>
                  <a:pt x="2772700" y="1495784"/>
                </a:lnTo>
                <a:lnTo>
                  <a:pt x="2769012" y="1520365"/>
                </a:lnTo>
                <a:lnTo>
                  <a:pt x="2654713" y="1495784"/>
                </a:lnTo>
                <a:lnTo>
                  <a:pt x="2649797" y="1522823"/>
                </a:lnTo>
                <a:lnTo>
                  <a:pt x="2536726" y="1495784"/>
                </a:lnTo>
                <a:lnTo>
                  <a:pt x="2530580" y="1526510"/>
                </a:lnTo>
                <a:lnTo>
                  <a:pt x="2418738" y="1494556"/>
                </a:lnTo>
                <a:lnTo>
                  <a:pt x="2411364" y="1530197"/>
                </a:lnTo>
                <a:lnTo>
                  <a:pt x="2300751" y="1494556"/>
                </a:lnTo>
                <a:lnTo>
                  <a:pt x="2290919" y="1533885"/>
                </a:lnTo>
                <a:lnTo>
                  <a:pt x="2182764" y="1494556"/>
                </a:lnTo>
                <a:lnTo>
                  <a:pt x="2170474" y="1538801"/>
                </a:lnTo>
                <a:lnTo>
                  <a:pt x="2064777" y="1494556"/>
                </a:lnTo>
                <a:lnTo>
                  <a:pt x="2048799" y="1543717"/>
                </a:lnTo>
                <a:lnTo>
                  <a:pt x="1946789" y="1494556"/>
                </a:lnTo>
                <a:lnTo>
                  <a:pt x="1927125" y="1547403"/>
                </a:lnTo>
                <a:lnTo>
                  <a:pt x="1828802" y="1494556"/>
                </a:lnTo>
                <a:lnTo>
                  <a:pt x="1804221" y="1552319"/>
                </a:lnTo>
                <a:lnTo>
                  <a:pt x="1710815" y="1494556"/>
                </a:lnTo>
                <a:lnTo>
                  <a:pt x="1681318" y="1557236"/>
                </a:lnTo>
                <a:lnTo>
                  <a:pt x="1592828" y="1494556"/>
                </a:lnTo>
                <a:lnTo>
                  <a:pt x="1558702" y="1555745"/>
                </a:lnTo>
                <a:lnTo>
                  <a:pt x="1476069" y="1489639"/>
                </a:lnTo>
                <a:lnTo>
                  <a:pt x="1439198" y="1548633"/>
                </a:lnTo>
                <a:lnTo>
                  <a:pt x="1555957" y="1642040"/>
                </a:lnTo>
                <a:lnTo>
                  <a:pt x="1592683" y="1583279"/>
                </a:lnTo>
                <a:lnTo>
                  <a:pt x="1683776" y="1646956"/>
                </a:lnTo>
                <a:lnTo>
                  <a:pt x="1716959" y="1586732"/>
                </a:lnTo>
                <a:lnTo>
                  <a:pt x="1814054" y="1646956"/>
                </a:lnTo>
                <a:lnTo>
                  <a:pt x="1841092" y="1591649"/>
                </a:lnTo>
                <a:lnTo>
                  <a:pt x="1944331" y="1646956"/>
                </a:lnTo>
                <a:lnTo>
                  <a:pt x="1966454" y="1595336"/>
                </a:lnTo>
                <a:lnTo>
                  <a:pt x="2074609" y="1646956"/>
                </a:lnTo>
                <a:lnTo>
                  <a:pt x="2091815" y="1600252"/>
                </a:lnTo>
                <a:lnTo>
                  <a:pt x="2203657" y="1646956"/>
                </a:lnTo>
                <a:lnTo>
                  <a:pt x="2217177" y="1603939"/>
                </a:lnTo>
                <a:lnTo>
                  <a:pt x="2332706" y="1646956"/>
                </a:lnTo>
                <a:lnTo>
                  <a:pt x="2343767" y="1608855"/>
                </a:lnTo>
                <a:lnTo>
                  <a:pt x="2462984" y="1646956"/>
                </a:lnTo>
                <a:lnTo>
                  <a:pt x="2471586" y="1612543"/>
                </a:lnTo>
                <a:lnTo>
                  <a:pt x="2593261" y="1646956"/>
                </a:lnTo>
                <a:lnTo>
                  <a:pt x="2599406" y="1617459"/>
                </a:lnTo>
                <a:lnTo>
                  <a:pt x="2722309" y="1646956"/>
                </a:lnTo>
                <a:lnTo>
                  <a:pt x="2727225" y="1621145"/>
                </a:lnTo>
                <a:lnTo>
                  <a:pt x="2851358" y="1646956"/>
                </a:lnTo>
                <a:lnTo>
                  <a:pt x="2855045" y="1624833"/>
                </a:lnTo>
                <a:lnTo>
                  <a:pt x="2981636" y="1646956"/>
                </a:lnTo>
                <a:lnTo>
                  <a:pt x="2984094" y="1628520"/>
                </a:lnTo>
                <a:lnTo>
                  <a:pt x="3110684" y="1646956"/>
                </a:lnTo>
                <a:lnTo>
                  <a:pt x="3111913" y="1630978"/>
                </a:lnTo>
                <a:lnTo>
                  <a:pt x="3239733" y="1646956"/>
                </a:lnTo>
                <a:lnTo>
                  <a:pt x="3240961" y="1634665"/>
                </a:lnTo>
                <a:lnTo>
                  <a:pt x="3370010" y="1646956"/>
                </a:lnTo>
                <a:lnTo>
                  <a:pt x="3371239" y="1637123"/>
                </a:lnTo>
                <a:lnTo>
                  <a:pt x="3500288" y="1646956"/>
                </a:lnTo>
                <a:lnTo>
                  <a:pt x="3500288" y="1639581"/>
                </a:lnTo>
                <a:lnTo>
                  <a:pt x="3629336" y="1646956"/>
                </a:lnTo>
                <a:lnTo>
                  <a:pt x="3629336" y="1642040"/>
                </a:lnTo>
                <a:lnTo>
                  <a:pt x="3637940" y="1642040"/>
                </a:lnTo>
                <a:lnTo>
                  <a:pt x="3717826" y="1644498"/>
                </a:lnTo>
                <a:lnTo>
                  <a:pt x="3717826" y="1645726"/>
                </a:lnTo>
                <a:lnTo>
                  <a:pt x="5622828" y="1685055"/>
                </a:lnTo>
                <a:lnTo>
                  <a:pt x="3717826" y="1685055"/>
                </a:lnTo>
                <a:lnTo>
                  <a:pt x="3719056" y="1686285"/>
                </a:lnTo>
                <a:lnTo>
                  <a:pt x="3601069" y="1683827"/>
                </a:lnTo>
                <a:lnTo>
                  <a:pt x="3601069" y="1687513"/>
                </a:lnTo>
                <a:lnTo>
                  <a:pt x="3483081" y="1683827"/>
                </a:lnTo>
                <a:lnTo>
                  <a:pt x="3483081" y="1689971"/>
                </a:lnTo>
                <a:lnTo>
                  <a:pt x="3365094" y="1683827"/>
                </a:lnTo>
                <a:lnTo>
                  <a:pt x="3365094" y="1692429"/>
                </a:lnTo>
                <a:lnTo>
                  <a:pt x="3247107" y="1683827"/>
                </a:lnTo>
                <a:lnTo>
                  <a:pt x="3247107" y="1694887"/>
                </a:lnTo>
                <a:lnTo>
                  <a:pt x="3129120" y="1683827"/>
                </a:lnTo>
                <a:lnTo>
                  <a:pt x="3127890" y="1698575"/>
                </a:lnTo>
                <a:lnTo>
                  <a:pt x="3009903" y="1683827"/>
                </a:lnTo>
                <a:lnTo>
                  <a:pt x="3008674" y="1701033"/>
                </a:lnTo>
                <a:lnTo>
                  <a:pt x="2891916" y="1683827"/>
                </a:lnTo>
                <a:lnTo>
                  <a:pt x="2889458" y="1704720"/>
                </a:lnTo>
                <a:lnTo>
                  <a:pt x="2773928" y="1683827"/>
                </a:lnTo>
                <a:lnTo>
                  <a:pt x="2770242" y="1707178"/>
                </a:lnTo>
                <a:lnTo>
                  <a:pt x="2655941" y="1683827"/>
                </a:lnTo>
                <a:lnTo>
                  <a:pt x="2651025" y="1710865"/>
                </a:lnTo>
                <a:lnTo>
                  <a:pt x="2537954" y="1683827"/>
                </a:lnTo>
                <a:lnTo>
                  <a:pt x="2531809" y="1714552"/>
                </a:lnTo>
                <a:lnTo>
                  <a:pt x="2419967" y="1683827"/>
                </a:lnTo>
                <a:lnTo>
                  <a:pt x="2412593" y="1719468"/>
                </a:lnTo>
                <a:lnTo>
                  <a:pt x="2301980" y="1683827"/>
                </a:lnTo>
                <a:lnTo>
                  <a:pt x="2292147" y="1723156"/>
                </a:lnTo>
                <a:lnTo>
                  <a:pt x="2183992" y="1683827"/>
                </a:lnTo>
                <a:lnTo>
                  <a:pt x="2171702" y="1728072"/>
                </a:lnTo>
                <a:lnTo>
                  <a:pt x="2066005" y="1683827"/>
                </a:lnTo>
                <a:lnTo>
                  <a:pt x="2050028" y="1732988"/>
                </a:lnTo>
                <a:lnTo>
                  <a:pt x="1948018" y="1683827"/>
                </a:lnTo>
                <a:lnTo>
                  <a:pt x="1928353" y="1736674"/>
                </a:lnTo>
                <a:lnTo>
                  <a:pt x="1830031" y="1683827"/>
                </a:lnTo>
                <a:lnTo>
                  <a:pt x="1805450" y="1741591"/>
                </a:lnTo>
                <a:lnTo>
                  <a:pt x="1712043" y="1683827"/>
                </a:lnTo>
                <a:lnTo>
                  <a:pt x="1682547" y="1745278"/>
                </a:lnTo>
                <a:lnTo>
                  <a:pt x="1594056" y="1683827"/>
                </a:lnTo>
                <a:lnTo>
                  <a:pt x="1558415" y="1747736"/>
                </a:lnTo>
                <a:lnTo>
                  <a:pt x="1685005" y="1836227"/>
                </a:lnTo>
                <a:lnTo>
                  <a:pt x="1718189" y="1776004"/>
                </a:lnTo>
                <a:lnTo>
                  <a:pt x="1815282" y="1836227"/>
                </a:lnTo>
                <a:lnTo>
                  <a:pt x="1842321" y="1779691"/>
                </a:lnTo>
                <a:lnTo>
                  <a:pt x="1945560" y="1836227"/>
                </a:lnTo>
                <a:lnTo>
                  <a:pt x="1967682" y="1784607"/>
                </a:lnTo>
                <a:lnTo>
                  <a:pt x="2075837" y="1836227"/>
                </a:lnTo>
                <a:lnTo>
                  <a:pt x="2093044" y="1789524"/>
                </a:lnTo>
                <a:lnTo>
                  <a:pt x="2204887" y="1836227"/>
                </a:lnTo>
                <a:lnTo>
                  <a:pt x="2218405" y="1793210"/>
                </a:lnTo>
                <a:lnTo>
                  <a:pt x="2333934" y="1836227"/>
                </a:lnTo>
                <a:lnTo>
                  <a:pt x="2344996" y="1798126"/>
                </a:lnTo>
                <a:lnTo>
                  <a:pt x="2464212" y="1836227"/>
                </a:lnTo>
                <a:lnTo>
                  <a:pt x="2472816" y="1801814"/>
                </a:lnTo>
                <a:lnTo>
                  <a:pt x="2593261" y="1836227"/>
                </a:lnTo>
                <a:lnTo>
                  <a:pt x="2599406" y="1806730"/>
                </a:lnTo>
                <a:lnTo>
                  <a:pt x="2722309" y="1836227"/>
                </a:lnTo>
                <a:lnTo>
                  <a:pt x="2727225" y="1810417"/>
                </a:lnTo>
                <a:lnTo>
                  <a:pt x="2852587" y="1836227"/>
                </a:lnTo>
                <a:lnTo>
                  <a:pt x="2856274" y="1814104"/>
                </a:lnTo>
                <a:lnTo>
                  <a:pt x="2982864" y="1836227"/>
                </a:lnTo>
                <a:lnTo>
                  <a:pt x="2985322" y="1817791"/>
                </a:lnTo>
                <a:lnTo>
                  <a:pt x="3111913" y="1836227"/>
                </a:lnTo>
                <a:lnTo>
                  <a:pt x="3113142" y="1820249"/>
                </a:lnTo>
                <a:lnTo>
                  <a:pt x="3240961" y="1836227"/>
                </a:lnTo>
                <a:lnTo>
                  <a:pt x="3242191" y="1823937"/>
                </a:lnTo>
                <a:lnTo>
                  <a:pt x="3371239" y="1836227"/>
                </a:lnTo>
                <a:lnTo>
                  <a:pt x="3372468" y="1826395"/>
                </a:lnTo>
                <a:lnTo>
                  <a:pt x="3501516" y="1836227"/>
                </a:lnTo>
                <a:lnTo>
                  <a:pt x="3501516" y="1828853"/>
                </a:lnTo>
                <a:lnTo>
                  <a:pt x="3630565" y="1836227"/>
                </a:lnTo>
                <a:lnTo>
                  <a:pt x="3630565" y="1831311"/>
                </a:lnTo>
                <a:lnTo>
                  <a:pt x="3639168" y="1831311"/>
                </a:lnTo>
                <a:lnTo>
                  <a:pt x="3719056" y="1833769"/>
                </a:lnTo>
                <a:lnTo>
                  <a:pt x="3719056" y="1834997"/>
                </a:lnTo>
                <a:lnTo>
                  <a:pt x="5597019" y="1874326"/>
                </a:lnTo>
                <a:lnTo>
                  <a:pt x="3720284" y="1874326"/>
                </a:lnTo>
                <a:lnTo>
                  <a:pt x="3720284" y="1876784"/>
                </a:lnTo>
                <a:lnTo>
                  <a:pt x="3602297" y="1874326"/>
                </a:lnTo>
                <a:lnTo>
                  <a:pt x="3602297" y="1878014"/>
                </a:lnTo>
                <a:lnTo>
                  <a:pt x="3484310" y="1874326"/>
                </a:lnTo>
                <a:lnTo>
                  <a:pt x="3484310" y="1880472"/>
                </a:lnTo>
                <a:lnTo>
                  <a:pt x="3366323" y="1874326"/>
                </a:lnTo>
                <a:lnTo>
                  <a:pt x="3366323" y="1882930"/>
                </a:lnTo>
                <a:lnTo>
                  <a:pt x="3248335" y="1874326"/>
                </a:lnTo>
                <a:lnTo>
                  <a:pt x="3248335" y="1885388"/>
                </a:lnTo>
                <a:lnTo>
                  <a:pt x="3130348" y="1874326"/>
                </a:lnTo>
                <a:lnTo>
                  <a:pt x="3129120" y="1889075"/>
                </a:lnTo>
                <a:lnTo>
                  <a:pt x="3011133" y="1874326"/>
                </a:lnTo>
                <a:lnTo>
                  <a:pt x="3009903" y="1891533"/>
                </a:lnTo>
                <a:lnTo>
                  <a:pt x="2893145" y="1874326"/>
                </a:lnTo>
                <a:lnTo>
                  <a:pt x="2890687" y="1895220"/>
                </a:lnTo>
                <a:lnTo>
                  <a:pt x="2775158" y="1874326"/>
                </a:lnTo>
                <a:lnTo>
                  <a:pt x="2771470" y="1898907"/>
                </a:lnTo>
                <a:lnTo>
                  <a:pt x="2657171" y="1874326"/>
                </a:lnTo>
                <a:lnTo>
                  <a:pt x="2652255" y="1901365"/>
                </a:lnTo>
                <a:lnTo>
                  <a:pt x="2539184" y="1874326"/>
                </a:lnTo>
                <a:lnTo>
                  <a:pt x="2533038" y="1906281"/>
                </a:lnTo>
                <a:lnTo>
                  <a:pt x="2421196" y="1874326"/>
                </a:lnTo>
                <a:lnTo>
                  <a:pt x="2413822" y="1909969"/>
                </a:lnTo>
                <a:lnTo>
                  <a:pt x="2303209" y="1874326"/>
                </a:lnTo>
                <a:lnTo>
                  <a:pt x="2293377" y="1913655"/>
                </a:lnTo>
                <a:lnTo>
                  <a:pt x="2185222" y="1874326"/>
                </a:lnTo>
                <a:lnTo>
                  <a:pt x="2172932" y="1918571"/>
                </a:lnTo>
                <a:lnTo>
                  <a:pt x="2067235" y="1874326"/>
                </a:lnTo>
                <a:lnTo>
                  <a:pt x="2051257" y="1923488"/>
                </a:lnTo>
                <a:lnTo>
                  <a:pt x="1949247" y="1874326"/>
                </a:lnTo>
                <a:lnTo>
                  <a:pt x="1929583" y="1927175"/>
                </a:lnTo>
                <a:lnTo>
                  <a:pt x="1831260" y="1874326"/>
                </a:lnTo>
                <a:lnTo>
                  <a:pt x="1806680" y="1932091"/>
                </a:lnTo>
                <a:lnTo>
                  <a:pt x="1713273" y="1874326"/>
                </a:lnTo>
                <a:lnTo>
                  <a:pt x="1683776" y="1937008"/>
                </a:lnTo>
                <a:lnTo>
                  <a:pt x="1595286" y="1874326"/>
                </a:lnTo>
                <a:lnTo>
                  <a:pt x="1559643" y="1938236"/>
                </a:lnTo>
                <a:lnTo>
                  <a:pt x="1686234" y="2026726"/>
                </a:lnTo>
                <a:lnTo>
                  <a:pt x="1719418" y="1966504"/>
                </a:lnTo>
                <a:lnTo>
                  <a:pt x="1816512" y="2026726"/>
                </a:lnTo>
                <a:lnTo>
                  <a:pt x="1843551" y="1971421"/>
                </a:lnTo>
                <a:lnTo>
                  <a:pt x="1944331" y="2029184"/>
                </a:lnTo>
                <a:lnTo>
                  <a:pt x="1966454" y="1977565"/>
                </a:lnTo>
                <a:lnTo>
                  <a:pt x="2074609" y="2029184"/>
                </a:lnTo>
                <a:lnTo>
                  <a:pt x="2091815" y="1982481"/>
                </a:lnTo>
                <a:lnTo>
                  <a:pt x="2203657" y="2029184"/>
                </a:lnTo>
                <a:lnTo>
                  <a:pt x="2217177" y="1986169"/>
                </a:lnTo>
                <a:lnTo>
                  <a:pt x="2332706" y="2029184"/>
                </a:lnTo>
                <a:lnTo>
                  <a:pt x="2343767" y="1991085"/>
                </a:lnTo>
                <a:lnTo>
                  <a:pt x="2462984" y="2029184"/>
                </a:lnTo>
                <a:lnTo>
                  <a:pt x="2471586" y="1994772"/>
                </a:lnTo>
                <a:lnTo>
                  <a:pt x="2593261" y="2029184"/>
                </a:lnTo>
                <a:lnTo>
                  <a:pt x="2599406" y="1999688"/>
                </a:lnTo>
                <a:lnTo>
                  <a:pt x="2722309" y="2029184"/>
                </a:lnTo>
                <a:lnTo>
                  <a:pt x="2727225" y="2003375"/>
                </a:lnTo>
                <a:lnTo>
                  <a:pt x="2852587" y="2029184"/>
                </a:lnTo>
                <a:lnTo>
                  <a:pt x="2856274" y="2007062"/>
                </a:lnTo>
                <a:lnTo>
                  <a:pt x="2982864" y="2029184"/>
                </a:lnTo>
                <a:lnTo>
                  <a:pt x="2985322" y="2010750"/>
                </a:lnTo>
                <a:lnTo>
                  <a:pt x="3111913" y="2029184"/>
                </a:lnTo>
                <a:lnTo>
                  <a:pt x="3113142" y="2013208"/>
                </a:lnTo>
                <a:lnTo>
                  <a:pt x="3240961" y="2029184"/>
                </a:lnTo>
                <a:lnTo>
                  <a:pt x="3242191" y="2016894"/>
                </a:lnTo>
                <a:lnTo>
                  <a:pt x="3371239" y="2029184"/>
                </a:lnTo>
                <a:lnTo>
                  <a:pt x="3372468" y="2019352"/>
                </a:lnTo>
                <a:lnTo>
                  <a:pt x="3501516" y="2029184"/>
                </a:lnTo>
                <a:lnTo>
                  <a:pt x="3501516" y="2021810"/>
                </a:lnTo>
                <a:lnTo>
                  <a:pt x="3630565" y="2029184"/>
                </a:lnTo>
                <a:lnTo>
                  <a:pt x="3630565" y="2024268"/>
                </a:lnTo>
                <a:lnTo>
                  <a:pt x="3639168" y="2024268"/>
                </a:lnTo>
                <a:lnTo>
                  <a:pt x="3719056" y="2026726"/>
                </a:lnTo>
                <a:lnTo>
                  <a:pt x="3719056" y="2027956"/>
                </a:lnTo>
                <a:lnTo>
                  <a:pt x="5506071" y="2064827"/>
                </a:lnTo>
                <a:lnTo>
                  <a:pt x="3720284" y="2064827"/>
                </a:lnTo>
                <a:lnTo>
                  <a:pt x="3720284" y="2067285"/>
                </a:lnTo>
                <a:lnTo>
                  <a:pt x="3602297" y="2064827"/>
                </a:lnTo>
                <a:lnTo>
                  <a:pt x="3602297" y="2068514"/>
                </a:lnTo>
                <a:lnTo>
                  <a:pt x="3484310" y="2064827"/>
                </a:lnTo>
                <a:lnTo>
                  <a:pt x="3484310" y="2070972"/>
                </a:lnTo>
                <a:lnTo>
                  <a:pt x="3366323" y="2064827"/>
                </a:lnTo>
                <a:lnTo>
                  <a:pt x="3366323" y="2073430"/>
                </a:lnTo>
                <a:lnTo>
                  <a:pt x="3248335" y="2064827"/>
                </a:lnTo>
                <a:lnTo>
                  <a:pt x="3248335" y="2075888"/>
                </a:lnTo>
                <a:lnTo>
                  <a:pt x="3130348" y="2064827"/>
                </a:lnTo>
                <a:lnTo>
                  <a:pt x="3129120" y="2079576"/>
                </a:lnTo>
                <a:lnTo>
                  <a:pt x="3011133" y="2064827"/>
                </a:lnTo>
                <a:lnTo>
                  <a:pt x="3009903" y="2082034"/>
                </a:lnTo>
                <a:lnTo>
                  <a:pt x="2893145" y="2064827"/>
                </a:lnTo>
                <a:lnTo>
                  <a:pt x="2890687" y="2085720"/>
                </a:lnTo>
                <a:lnTo>
                  <a:pt x="2775158" y="2064827"/>
                </a:lnTo>
                <a:lnTo>
                  <a:pt x="2771470" y="2088178"/>
                </a:lnTo>
                <a:lnTo>
                  <a:pt x="2657171" y="2064827"/>
                </a:lnTo>
                <a:lnTo>
                  <a:pt x="2652255" y="2091866"/>
                </a:lnTo>
                <a:lnTo>
                  <a:pt x="2539184" y="2064827"/>
                </a:lnTo>
                <a:lnTo>
                  <a:pt x="2533038" y="2096782"/>
                </a:lnTo>
                <a:lnTo>
                  <a:pt x="2421196" y="2064827"/>
                </a:lnTo>
                <a:lnTo>
                  <a:pt x="2413822" y="2100468"/>
                </a:lnTo>
                <a:lnTo>
                  <a:pt x="2303209" y="2064827"/>
                </a:lnTo>
                <a:lnTo>
                  <a:pt x="2293377" y="2104156"/>
                </a:lnTo>
                <a:lnTo>
                  <a:pt x="2185222" y="2064827"/>
                </a:lnTo>
                <a:lnTo>
                  <a:pt x="2172932" y="2109072"/>
                </a:lnTo>
                <a:lnTo>
                  <a:pt x="2067235" y="2064827"/>
                </a:lnTo>
                <a:lnTo>
                  <a:pt x="2051257" y="2113989"/>
                </a:lnTo>
                <a:lnTo>
                  <a:pt x="1949247" y="2064827"/>
                </a:lnTo>
                <a:lnTo>
                  <a:pt x="1929583" y="2117675"/>
                </a:lnTo>
                <a:lnTo>
                  <a:pt x="1831260" y="2064827"/>
                </a:lnTo>
                <a:lnTo>
                  <a:pt x="1806680" y="2122591"/>
                </a:lnTo>
                <a:lnTo>
                  <a:pt x="1713273" y="2064827"/>
                </a:lnTo>
                <a:lnTo>
                  <a:pt x="1683776" y="2127507"/>
                </a:lnTo>
                <a:lnTo>
                  <a:pt x="1595286" y="2064827"/>
                </a:lnTo>
                <a:lnTo>
                  <a:pt x="1559643" y="2128737"/>
                </a:lnTo>
                <a:lnTo>
                  <a:pt x="1685005" y="2217227"/>
                </a:lnTo>
                <a:lnTo>
                  <a:pt x="1718189" y="2157004"/>
                </a:lnTo>
                <a:lnTo>
                  <a:pt x="1815282" y="2217227"/>
                </a:lnTo>
                <a:lnTo>
                  <a:pt x="1842321" y="2161920"/>
                </a:lnTo>
                <a:lnTo>
                  <a:pt x="1945560" y="2217227"/>
                </a:lnTo>
                <a:lnTo>
                  <a:pt x="1967682" y="2165608"/>
                </a:lnTo>
                <a:lnTo>
                  <a:pt x="2075837" y="2217227"/>
                </a:lnTo>
                <a:lnTo>
                  <a:pt x="2093044" y="2170524"/>
                </a:lnTo>
                <a:lnTo>
                  <a:pt x="2204887" y="2217227"/>
                </a:lnTo>
                <a:lnTo>
                  <a:pt x="2218405" y="2174211"/>
                </a:lnTo>
                <a:lnTo>
                  <a:pt x="2333934" y="2217227"/>
                </a:lnTo>
                <a:lnTo>
                  <a:pt x="2344996" y="2179127"/>
                </a:lnTo>
                <a:lnTo>
                  <a:pt x="2464212" y="2217227"/>
                </a:lnTo>
                <a:lnTo>
                  <a:pt x="2472816" y="2182814"/>
                </a:lnTo>
                <a:lnTo>
                  <a:pt x="2593261" y="2217227"/>
                </a:lnTo>
                <a:lnTo>
                  <a:pt x="2594490" y="2188959"/>
                </a:lnTo>
                <a:lnTo>
                  <a:pt x="2717393" y="2218456"/>
                </a:lnTo>
                <a:lnTo>
                  <a:pt x="2722309" y="2192647"/>
                </a:lnTo>
                <a:lnTo>
                  <a:pt x="2847670" y="2218456"/>
                </a:lnTo>
                <a:lnTo>
                  <a:pt x="2851358" y="2196333"/>
                </a:lnTo>
                <a:lnTo>
                  <a:pt x="2977948" y="2218456"/>
                </a:lnTo>
                <a:lnTo>
                  <a:pt x="2980406" y="2200021"/>
                </a:lnTo>
                <a:lnTo>
                  <a:pt x="3106997" y="2218456"/>
                </a:lnTo>
                <a:lnTo>
                  <a:pt x="3109455" y="2202479"/>
                </a:lnTo>
                <a:lnTo>
                  <a:pt x="3237275" y="2218456"/>
                </a:lnTo>
                <a:lnTo>
                  <a:pt x="3238503" y="2206165"/>
                </a:lnTo>
                <a:lnTo>
                  <a:pt x="3367552" y="2218456"/>
                </a:lnTo>
                <a:lnTo>
                  <a:pt x="3368781" y="2208623"/>
                </a:lnTo>
                <a:lnTo>
                  <a:pt x="3497830" y="2218456"/>
                </a:lnTo>
                <a:lnTo>
                  <a:pt x="3497830" y="2211082"/>
                </a:lnTo>
                <a:lnTo>
                  <a:pt x="3626878" y="2218456"/>
                </a:lnTo>
                <a:lnTo>
                  <a:pt x="3626878" y="2213540"/>
                </a:lnTo>
                <a:lnTo>
                  <a:pt x="3635482" y="2213540"/>
                </a:lnTo>
                <a:lnTo>
                  <a:pt x="3715368" y="2215998"/>
                </a:lnTo>
                <a:lnTo>
                  <a:pt x="3715368" y="2217227"/>
                </a:lnTo>
                <a:lnTo>
                  <a:pt x="5479032" y="2254098"/>
                </a:lnTo>
                <a:lnTo>
                  <a:pt x="3716598" y="2254098"/>
                </a:lnTo>
                <a:lnTo>
                  <a:pt x="3716598" y="2256556"/>
                </a:lnTo>
                <a:lnTo>
                  <a:pt x="3598611" y="2254098"/>
                </a:lnTo>
                <a:lnTo>
                  <a:pt x="3598611" y="2257785"/>
                </a:lnTo>
                <a:lnTo>
                  <a:pt x="3480623" y="2254098"/>
                </a:lnTo>
                <a:lnTo>
                  <a:pt x="3480623" y="2260243"/>
                </a:lnTo>
                <a:lnTo>
                  <a:pt x="3362636" y="2254098"/>
                </a:lnTo>
                <a:lnTo>
                  <a:pt x="3362636" y="2262701"/>
                </a:lnTo>
                <a:lnTo>
                  <a:pt x="3244649" y="2254098"/>
                </a:lnTo>
                <a:lnTo>
                  <a:pt x="3244649" y="2270075"/>
                </a:lnTo>
                <a:lnTo>
                  <a:pt x="3127890" y="2259014"/>
                </a:lnTo>
                <a:lnTo>
                  <a:pt x="3126662" y="2273763"/>
                </a:lnTo>
                <a:lnTo>
                  <a:pt x="3008674" y="2259014"/>
                </a:lnTo>
                <a:lnTo>
                  <a:pt x="3007445" y="2276221"/>
                </a:lnTo>
                <a:lnTo>
                  <a:pt x="2890687" y="2259014"/>
                </a:lnTo>
                <a:lnTo>
                  <a:pt x="2888229" y="2279907"/>
                </a:lnTo>
                <a:lnTo>
                  <a:pt x="2772700" y="2259014"/>
                </a:lnTo>
                <a:lnTo>
                  <a:pt x="2769012" y="2282365"/>
                </a:lnTo>
                <a:lnTo>
                  <a:pt x="2654713" y="2259014"/>
                </a:lnTo>
                <a:lnTo>
                  <a:pt x="2649797" y="2286053"/>
                </a:lnTo>
                <a:lnTo>
                  <a:pt x="2536726" y="2259014"/>
                </a:lnTo>
                <a:lnTo>
                  <a:pt x="2530580" y="2289740"/>
                </a:lnTo>
                <a:lnTo>
                  <a:pt x="2418738" y="2259014"/>
                </a:lnTo>
                <a:lnTo>
                  <a:pt x="2411364" y="2294656"/>
                </a:lnTo>
                <a:lnTo>
                  <a:pt x="2300751" y="2259014"/>
                </a:lnTo>
                <a:lnTo>
                  <a:pt x="2290919" y="2298344"/>
                </a:lnTo>
                <a:lnTo>
                  <a:pt x="2182764" y="2259014"/>
                </a:lnTo>
                <a:lnTo>
                  <a:pt x="2170474" y="2303260"/>
                </a:lnTo>
                <a:lnTo>
                  <a:pt x="2064777" y="2259014"/>
                </a:lnTo>
                <a:lnTo>
                  <a:pt x="2048799" y="2308176"/>
                </a:lnTo>
                <a:lnTo>
                  <a:pt x="1946789" y="2259014"/>
                </a:lnTo>
                <a:lnTo>
                  <a:pt x="1927125" y="2311862"/>
                </a:lnTo>
                <a:lnTo>
                  <a:pt x="1828802" y="2259014"/>
                </a:lnTo>
                <a:lnTo>
                  <a:pt x="1804221" y="2316778"/>
                </a:lnTo>
                <a:lnTo>
                  <a:pt x="1710815" y="2259014"/>
                </a:lnTo>
                <a:lnTo>
                  <a:pt x="1681318" y="2320466"/>
                </a:lnTo>
                <a:lnTo>
                  <a:pt x="1592828" y="2259014"/>
                </a:lnTo>
                <a:lnTo>
                  <a:pt x="1558938" y="2319780"/>
                </a:lnTo>
                <a:lnTo>
                  <a:pt x="1477299" y="2255327"/>
                </a:lnTo>
                <a:lnTo>
                  <a:pt x="1440428" y="2314320"/>
                </a:lnTo>
                <a:lnTo>
                  <a:pt x="1557185" y="2407727"/>
                </a:lnTo>
                <a:lnTo>
                  <a:pt x="1593545" y="2348341"/>
                </a:lnTo>
                <a:lnTo>
                  <a:pt x="1683776" y="2411415"/>
                </a:lnTo>
                <a:lnTo>
                  <a:pt x="1716959" y="2351191"/>
                </a:lnTo>
                <a:lnTo>
                  <a:pt x="1814054" y="2411415"/>
                </a:lnTo>
                <a:lnTo>
                  <a:pt x="1841092" y="2356107"/>
                </a:lnTo>
                <a:lnTo>
                  <a:pt x="1944331" y="2411415"/>
                </a:lnTo>
                <a:lnTo>
                  <a:pt x="1966454" y="2359795"/>
                </a:lnTo>
                <a:lnTo>
                  <a:pt x="2074609" y="2411415"/>
                </a:lnTo>
                <a:lnTo>
                  <a:pt x="2091815" y="2364711"/>
                </a:lnTo>
                <a:lnTo>
                  <a:pt x="2203657" y="2411415"/>
                </a:lnTo>
                <a:lnTo>
                  <a:pt x="2217177" y="2368398"/>
                </a:lnTo>
                <a:lnTo>
                  <a:pt x="2332706" y="2411415"/>
                </a:lnTo>
                <a:lnTo>
                  <a:pt x="2343767" y="2373314"/>
                </a:lnTo>
                <a:lnTo>
                  <a:pt x="2462984" y="2411415"/>
                </a:lnTo>
                <a:lnTo>
                  <a:pt x="2471586" y="2377002"/>
                </a:lnTo>
                <a:lnTo>
                  <a:pt x="2593261" y="2411415"/>
                </a:lnTo>
                <a:lnTo>
                  <a:pt x="2599406" y="2381918"/>
                </a:lnTo>
                <a:lnTo>
                  <a:pt x="2722309" y="2411415"/>
                </a:lnTo>
                <a:lnTo>
                  <a:pt x="2727225" y="2385604"/>
                </a:lnTo>
                <a:lnTo>
                  <a:pt x="2851358" y="2411415"/>
                </a:lnTo>
                <a:lnTo>
                  <a:pt x="2855045" y="2389292"/>
                </a:lnTo>
                <a:lnTo>
                  <a:pt x="2981636" y="2411415"/>
                </a:lnTo>
                <a:lnTo>
                  <a:pt x="2984094" y="2392978"/>
                </a:lnTo>
                <a:lnTo>
                  <a:pt x="3110684" y="2411415"/>
                </a:lnTo>
                <a:lnTo>
                  <a:pt x="3111913" y="2395437"/>
                </a:lnTo>
                <a:lnTo>
                  <a:pt x="3239733" y="2411415"/>
                </a:lnTo>
                <a:lnTo>
                  <a:pt x="3240961" y="2399124"/>
                </a:lnTo>
                <a:lnTo>
                  <a:pt x="3370010" y="2411415"/>
                </a:lnTo>
                <a:lnTo>
                  <a:pt x="3371239" y="2401582"/>
                </a:lnTo>
                <a:lnTo>
                  <a:pt x="3500288" y="2411415"/>
                </a:lnTo>
                <a:lnTo>
                  <a:pt x="3500288" y="2404040"/>
                </a:lnTo>
                <a:lnTo>
                  <a:pt x="3629336" y="2411415"/>
                </a:lnTo>
                <a:lnTo>
                  <a:pt x="3629336" y="2406498"/>
                </a:lnTo>
                <a:lnTo>
                  <a:pt x="3637940" y="2406498"/>
                </a:lnTo>
                <a:lnTo>
                  <a:pt x="3717826" y="2408957"/>
                </a:lnTo>
                <a:lnTo>
                  <a:pt x="3717826" y="2410185"/>
                </a:lnTo>
                <a:lnTo>
                  <a:pt x="5673219" y="2450744"/>
                </a:lnTo>
                <a:lnTo>
                  <a:pt x="3717826" y="2450744"/>
                </a:lnTo>
                <a:lnTo>
                  <a:pt x="3719056" y="2453202"/>
                </a:lnTo>
                <a:lnTo>
                  <a:pt x="3601069" y="2450744"/>
                </a:lnTo>
                <a:lnTo>
                  <a:pt x="3601069" y="2454430"/>
                </a:lnTo>
                <a:lnTo>
                  <a:pt x="3483081" y="2450744"/>
                </a:lnTo>
                <a:lnTo>
                  <a:pt x="3483081" y="2456888"/>
                </a:lnTo>
                <a:lnTo>
                  <a:pt x="3365094" y="2450744"/>
                </a:lnTo>
                <a:lnTo>
                  <a:pt x="3365094" y="2459346"/>
                </a:lnTo>
                <a:lnTo>
                  <a:pt x="3247107" y="2450744"/>
                </a:lnTo>
                <a:lnTo>
                  <a:pt x="3247107" y="2461804"/>
                </a:lnTo>
                <a:lnTo>
                  <a:pt x="3129120" y="2450744"/>
                </a:lnTo>
                <a:lnTo>
                  <a:pt x="3127890" y="2465492"/>
                </a:lnTo>
                <a:lnTo>
                  <a:pt x="3009903" y="2450744"/>
                </a:lnTo>
                <a:lnTo>
                  <a:pt x="3008674" y="2467950"/>
                </a:lnTo>
                <a:lnTo>
                  <a:pt x="2891916" y="2450744"/>
                </a:lnTo>
                <a:lnTo>
                  <a:pt x="2889458" y="2471637"/>
                </a:lnTo>
                <a:lnTo>
                  <a:pt x="2773928" y="2450744"/>
                </a:lnTo>
                <a:lnTo>
                  <a:pt x="2770242" y="2474095"/>
                </a:lnTo>
                <a:lnTo>
                  <a:pt x="2655941" y="2450744"/>
                </a:lnTo>
                <a:lnTo>
                  <a:pt x="2651025" y="2477782"/>
                </a:lnTo>
                <a:lnTo>
                  <a:pt x="2537954" y="2450744"/>
                </a:lnTo>
                <a:lnTo>
                  <a:pt x="2531809" y="2481469"/>
                </a:lnTo>
                <a:lnTo>
                  <a:pt x="2419967" y="2450744"/>
                </a:lnTo>
                <a:lnTo>
                  <a:pt x="2412593" y="2486385"/>
                </a:lnTo>
                <a:lnTo>
                  <a:pt x="2301980" y="2450744"/>
                </a:lnTo>
                <a:lnTo>
                  <a:pt x="2292147" y="2490073"/>
                </a:lnTo>
                <a:lnTo>
                  <a:pt x="2183992" y="2450744"/>
                </a:lnTo>
                <a:lnTo>
                  <a:pt x="2171702" y="2494989"/>
                </a:lnTo>
                <a:lnTo>
                  <a:pt x="2066005" y="2450744"/>
                </a:lnTo>
                <a:lnTo>
                  <a:pt x="2050028" y="2499905"/>
                </a:lnTo>
                <a:lnTo>
                  <a:pt x="1948018" y="2450744"/>
                </a:lnTo>
                <a:lnTo>
                  <a:pt x="1928353" y="2503592"/>
                </a:lnTo>
                <a:lnTo>
                  <a:pt x="1830031" y="2450744"/>
                </a:lnTo>
                <a:lnTo>
                  <a:pt x="1805450" y="2508508"/>
                </a:lnTo>
                <a:lnTo>
                  <a:pt x="1712043" y="2450744"/>
                </a:lnTo>
                <a:lnTo>
                  <a:pt x="1682547" y="2513424"/>
                </a:lnTo>
                <a:lnTo>
                  <a:pt x="1594056" y="2450744"/>
                </a:lnTo>
                <a:lnTo>
                  <a:pt x="1558983" y="2513634"/>
                </a:lnTo>
                <a:lnTo>
                  <a:pt x="1477299" y="2448286"/>
                </a:lnTo>
                <a:lnTo>
                  <a:pt x="1440428" y="2507279"/>
                </a:lnTo>
                <a:lnTo>
                  <a:pt x="1557185" y="2600686"/>
                </a:lnTo>
                <a:lnTo>
                  <a:pt x="1594056" y="2541692"/>
                </a:lnTo>
                <a:lnTo>
                  <a:pt x="1573013" y="2524858"/>
                </a:lnTo>
                <a:lnTo>
                  <a:pt x="1685005" y="2603144"/>
                </a:lnTo>
                <a:lnTo>
                  <a:pt x="1718189" y="2542921"/>
                </a:lnTo>
                <a:lnTo>
                  <a:pt x="1815282" y="2603144"/>
                </a:lnTo>
                <a:lnTo>
                  <a:pt x="1842321" y="2547837"/>
                </a:lnTo>
                <a:lnTo>
                  <a:pt x="1945560" y="2603144"/>
                </a:lnTo>
                <a:lnTo>
                  <a:pt x="1967682" y="2551524"/>
                </a:lnTo>
                <a:lnTo>
                  <a:pt x="2075837" y="2603144"/>
                </a:lnTo>
                <a:lnTo>
                  <a:pt x="2093044" y="2556441"/>
                </a:lnTo>
                <a:lnTo>
                  <a:pt x="2204887" y="2603144"/>
                </a:lnTo>
                <a:lnTo>
                  <a:pt x="2218405" y="2560127"/>
                </a:lnTo>
                <a:lnTo>
                  <a:pt x="2333934" y="2603144"/>
                </a:lnTo>
                <a:lnTo>
                  <a:pt x="2344996" y="2565043"/>
                </a:lnTo>
                <a:lnTo>
                  <a:pt x="2464212" y="2603144"/>
                </a:lnTo>
                <a:lnTo>
                  <a:pt x="2472816" y="2568731"/>
                </a:lnTo>
                <a:lnTo>
                  <a:pt x="2594490" y="2603144"/>
                </a:lnTo>
                <a:lnTo>
                  <a:pt x="2600635" y="2573647"/>
                </a:lnTo>
                <a:lnTo>
                  <a:pt x="2723539" y="2603144"/>
                </a:lnTo>
                <a:lnTo>
                  <a:pt x="2728455" y="2577334"/>
                </a:lnTo>
                <a:lnTo>
                  <a:pt x="2852587" y="2603144"/>
                </a:lnTo>
                <a:lnTo>
                  <a:pt x="2856274" y="2581021"/>
                </a:lnTo>
                <a:lnTo>
                  <a:pt x="2982864" y="2603144"/>
                </a:lnTo>
                <a:lnTo>
                  <a:pt x="2985322" y="2584708"/>
                </a:lnTo>
                <a:lnTo>
                  <a:pt x="3111913" y="2603144"/>
                </a:lnTo>
                <a:lnTo>
                  <a:pt x="3113142" y="2587166"/>
                </a:lnTo>
                <a:lnTo>
                  <a:pt x="3240961" y="2603144"/>
                </a:lnTo>
                <a:lnTo>
                  <a:pt x="3242191" y="2590854"/>
                </a:lnTo>
                <a:lnTo>
                  <a:pt x="3371239" y="2603144"/>
                </a:lnTo>
                <a:lnTo>
                  <a:pt x="3372468" y="2593312"/>
                </a:lnTo>
                <a:lnTo>
                  <a:pt x="3501516" y="2603144"/>
                </a:lnTo>
                <a:lnTo>
                  <a:pt x="3501516" y="2595770"/>
                </a:lnTo>
                <a:lnTo>
                  <a:pt x="3630565" y="2603144"/>
                </a:lnTo>
                <a:lnTo>
                  <a:pt x="3630565" y="2598228"/>
                </a:lnTo>
                <a:lnTo>
                  <a:pt x="3639168" y="2598228"/>
                </a:lnTo>
                <a:lnTo>
                  <a:pt x="3719056" y="2600686"/>
                </a:lnTo>
                <a:lnTo>
                  <a:pt x="3719056" y="2601914"/>
                </a:lnTo>
                <a:lnTo>
                  <a:pt x="5740817" y="2643701"/>
                </a:lnTo>
                <a:lnTo>
                  <a:pt x="3719056" y="2643701"/>
                </a:lnTo>
                <a:lnTo>
                  <a:pt x="3719056" y="2644931"/>
                </a:lnTo>
                <a:lnTo>
                  <a:pt x="3601069" y="2642473"/>
                </a:lnTo>
                <a:lnTo>
                  <a:pt x="3601069" y="2647389"/>
                </a:lnTo>
                <a:lnTo>
                  <a:pt x="3483081" y="2643701"/>
                </a:lnTo>
                <a:lnTo>
                  <a:pt x="3483081" y="2649847"/>
                </a:lnTo>
                <a:lnTo>
                  <a:pt x="3365094" y="2643701"/>
                </a:lnTo>
                <a:lnTo>
                  <a:pt x="3365094" y="2652305"/>
                </a:lnTo>
                <a:lnTo>
                  <a:pt x="3247107" y="2643701"/>
                </a:lnTo>
                <a:lnTo>
                  <a:pt x="3247107" y="2654763"/>
                </a:lnTo>
                <a:lnTo>
                  <a:pt x="3129120" y="2643701"/>
                </a:lnTo>
                <a:lnTo>
                  <a:pt x="3127890" y="2658450"/>
                </a:lnTo>
                <a:lnTo>
                  <a:pt x="3009903" y="2643701"/>
                </a:lnTo>
                <a:lnTo>
                  <a:pt x="3008674" y="2660908"/>
                </a:lnTo>
                <a:lnTo>
                  <a:pt x="2891916" y="2643701"/>
                </a:lnTo>
                <a:lnTo>
                  <a:pt x="2889458" y="2664596"/>
                </a:lnTo>
                <a:lnTo>
                  <a:pt x="2773928" y="2643701"/>
                </a:lnTo>
                <a:lnTo>
                  <a:pt x="2770242" y="2668282"/>
                </a:lnTo>
                <a:lnTo>
                  <a:pt x="2655941" y="2643701"/>
                </a:lnTo>
                <a:lnTo>
                  <a:pt x="2651025" y="2670740"/>
                </a:lnTo>
                <a:lnTo>
                  <a:pt x="2537954" y="2643701"/>
                </a:lnTo>
                <a:lnTo>
                  <a:pt x="2531809" y="2675656"/>
                </a:lnTo>
                <a:lnTo>
                  <a:pt x="2419967" y="2643701"/>
                </a:lnTo>
                <a:lnTo>
                  <a:pt x="2412593" y="2679344"/>
                </a:lnTo>
                <a:lnTo>
                  <a:pt x="2301980" y="2643701"/>
                </a:lnTo>
                <a:lnTo>
                  <a:pt x="2292147" y="2683030"/>
                </a:lnTo>
                <a:lnTo>
                  <a:pt x="2183992" y="2643701"/>
                </a:lnTo>
                <a:lnTo>
                  <a:pt x="2171702" y="2687947"/>
                </a:lnTo>
                <a:lnTo>
                  <a:pt x="2066005" y="2643701"/>
                </a:lnTo>
                <a:lnTo>
                  <a:pt x="2050028" y="2692863"/>
                </a:lnTo>
                <a:lnTo>
                  <a:pt x="1948018" y="2643701"/>
                </a:lnTo>
                <a:lnTo>
                  <a:pt x="1928353" y="2697779"/>
                </a:lnTo>
                <a:lnTo>
                  <a:pt x="1830031" y="2644931"/>
                </a:lnTo>
                <a:lnTo>
                  <a:pt x="1805450" y="2702695"/>
                </a:lnTo>
                <a:lnTo>
                  <a:pt x="1712043" y="2644931"/>
                </a:lnTo>
                <a:lnTo>
                  <a:pt x="1682547" y="2706383"/>
                </a:lnTo>
                <a:lnTo>
                  <a:pt x="1594056" y="2643701"/>
                </a:lnTo>
                <a:lnTo>
                  <a:pt x="1558510" y="2707442"/>
                </a:lnTo>
                <a:lnTo>
                  <a:pt x="1477299" y="2642473"/>
                </a:lnTo>
                <a:lnTo>
                  <a:pt x="1440428" y="2701467"/>
                </a:lnTo>
                <a:lnTo>
                  <a:pt x="1557185" y="2794873"/>
                </a:lnTo>
                <a:lnTo>
                  <a:pt x="1594056" y="2735879"/>
                </a:lnTo>
                <a:lnTo>
                  <a:pt x="1560841" y="2709307"/>
                </a:lnTo>
                <a:lnTo>
                  <a:pt x="1685005" y="2796101"/>
                </a:lnTo>
                <a:lnTo>
                  <a:pt x="1718189" y="2735879"/>
                </a:lnTo>
                <a:lnTo>
                  <a:pt x="1815282" y="2796101"/>
                </a:lnTo>
                <a:lnTo>
                  <a:pt x="1842321" y="2740796"/>
                </a:lnTo>
                <a:lnTo>
                  <a:pt x="1945560" y="2796101"/>
                </a:lnTo>
                <a:lnTo>
                  <a:pt x="1967682" y="2744482"/>
                </a:lnTo>
                <a:lnTo>
                  <a:pt x="2075837" y="2796101"/>
                </a:lnTo>
                <a:lnTo>
                  <a:pt x="2093044" y="2749398"/>
                </a:lnTo>
                <a:lnTo>
                  <a:pt x="2204887" y="2796101"/>
                </a:lnTo>
                <a:lnTo>
                  <a:pt x="2218405" y="2753086"/>
                </a:lnTo>
                <a:lnTo>
                  <a:pt x="2333934" y="2796101"/>
                </a:lnTo>
                <a:lnTo>
                  <a:pt x="2344996" y="2758002"/>
                </a:lnTo>
                <a:lnTo>
                  <a:pt x="2464212" y="2796101"/>
                </a:lnTo>
                <a:lnTo>
                  <a:pt x="2472816" y="2761689"/>
                </a:lnTo>
                <a:lnTo>
                  <a:pt x="2594490" y="2796101"/>
                </a:lnTo>
                <a:lnTo>
                  <a:pt x="2600635" y="2766605"/>
                </a:lnTo>
                <a:lnTo>
                  <a:pt x="2723539" y="2796101"/>
                </a:lnTo>
                <a:lnTo>
                  <a:pt x="2728455" y="2770292"/>
                </a:lnTo>
                <a:lnTo>
                  <a:pt x="2850129" y="2797331"/>
                </a:lnTo>
                <a:lnTo>
                  <a:pt x="2853816" y="2775209"/>
                </a:lnTo>
                <a:lnTo>
                  <a:pt x="2980406" y="2797331"/>
                </a:lnTo>
                <a:lnTo>
                  <a:pt x="2982864" y="2778895"/>
                </a:lnTo>
                <a:lnTo>
                  <a:pt x="3109455" y="2797331"/>
                </a:lnTo>
                <a:lnTo>
                  <a:pt x="3110684" y="2781353"/>
                </a:lnTo>
                <a:lnTo>
                  <a:pt x="3238503" y="2797331"/>
                </a:lnTo>
                <a:lnTo>
                  <a:pt x="3239733" y="2785041"/>
                </a:lnTo>
                <a:lnTo>
                  <a:pt x="3368781" y="2797331"/>
                </a:lnTo>
                <a:lnTo>
                  <a:pt x="3370010" y="2787499"/>
                </a:lnTo>
                <a:lnTo>
                  <a:pt x="3499058" y="2797331"/>
                </a:lnTo>
                <a:lnTo>
                  <a:pt x="3499058" y="2789957"/>
                </a:lnTo>
                <a:lnTo>
                  <a:pt x="3628107" y="2797331"/>
                </a:lnTo>
                <a:lnTo>
                  <a:pt x="3628107" y="2792415"/>
                </a:lnTo>
                <a:lnTo>
                  <a:pt x="3636710" y="2792415"/>
                </a:lnTo>
                <a:lnTo>
                  <a:pt x="3716598" y="2794873"/>
                </a:lnTo>
                <a:lnTo>
                  <a:pt x="3716598" y="2801018"/>
                </a:lnTo>
                <a:lnTo>
                  <a:pt x="5708861" y="2842805"/>
                </a:lnTo>
                <a:lnTo>
                  <a:pt x="3716598" y="2842805"/>
                </a:lnTo>
                <a:lnTo>
                  <a:pt x="3716598" y="2844034"/>
                </a:lnTo>
                <a:lnTo>
                  <a:pt x="3598611" y="2841576"/>
                </a:lnTo>
                <a:lnTo>
                  <a:pt x="3598611" y="2845263"/>
                </a:lnTo>
                <a:lnTo>
                  <a:pt x="3480623" y="2841576"/>
                </a:lnTo>
                <a:lnTo>
                  <a:pt x="3480623" y="2847721"/>
                </a:lnTo>
                <a:lnTo>
                  <a:pt x="3362636" y="2841576"/>
                </a:lnTo>
                <a:lnTo>
                  <a:pt x="3362636" y="2850179"/>
                </a:lnTo>
                <a:lnTo>
                  <a:pt x="3244649" y="2841576"/>
                </a:lnTo>
                <a:lnTo>
                  <a:pt x="3244649" y="2852637"/>
                </a:lnTo>
                <a:lnTo>
                  <a:pt x="3126662" y="2841576"/>
                </a:lnTo>
                <a:lnTo>
                  <a:pt x="3125432" y="2856325"/>
                </a:lnTo>
                <a:lnTo>
                  <a:pt x="3007445" y="2841576"/>
                </a:lnTo>
                <a:lnTo>
                  <a:pt x="3006216" y="2858783"/>
                </a:lnTo>
                <a:lnTo>
                  <a:pt x="2889458" y="2841576"/>
                </a:lnTo>
                <a:lnTo>
                  <a:pt x="2887000" y="2862469"/>
                </a:lnTo>
                <a:lnTo>
                  <a:pt x="2771470" y="2841576"/>
                </a:lnTo>
                <a:lnTo>
                  <a:pt x="2767784" y="2864927"/>
                </a:lnTo>
                <a:lnTo>
                  <a:pt x="2653483" y="2841576"/>
                </a:lnTo>
                <a:lnTo>
                  <a:pt x="2648567" y="2868615"/>
                </a:lnTo>
                <a:lnTo>
                  <a:pt x="2535496" y="2841576"/>
                </a:lnTo>
                <a:lnTo>
                  <a:pt x="2529351" y="2872302"/>
                </a:lnTo>
                <a:lnTo>
                  <a:pt x="2417509" y="2841576"/>
                </a:lnTo>
                <a:lnTo>
                  <a:pt x="2410134" y="2877218"/>
                </a:lnTo>
                <a:lnTo>
                  <a:pt x="2299521" y="2841576"/>
                </a:lnTo>
                <a:lnTo>
                  <a:pt x="2289689" y="2880905"/>
                </a:lnTo>
                <a:lnTo>
                  <a:pt x="2181534" y="2841576"/>
                </a:lnTo>
                <a:lnTo>
                  <a:pt x="2169244" y="2885822"/>
                </a:lnTo>
                <a:lnTo>
                  <a:pt x="2063547" y="2841576"/>
                </a:lnTo>
                <a:lnTo>
                  <a:pt x="2047570" y="2890738"/>
                </a:lnTo>
                <a:lnTo>
                  <a:pt x="1945560" y="2841576"/>
                </a:lnTo>
                <a:lnTo>
                  <a:pt x="1925895" y="2894424"/>
                </a:lnTo>
                <a:lnTo>
                  <a:pt x="1827572" y="2841576"/>
                </a:lnTo>
                <a:lnTo>
                  <a:pt x="1802992" y="2899340"/>
                </a:lnTo>
                <a:lnTo>
                  <a:pt x="1709585" y="2841576"/>
                </a:lnTo>
                <a:lnTo>
                  <a:pt x="1680088" y="2903028"/>
                </a:lnTo>
                <a:lnTo>
                  <a:pt x="1591598" y="2841576"/>
                </a:lnTo>
                <a:lnTo>
                  <a:pt x="1557758" y="2902257"/>
                </a:lnTo>
                <a:lnTo>
                  <a:pt x="1477299" y="2837889"/>
                </a:lnTo>
                <a:lnTo>
                  <a:pt x="1440428" y="2896882"/>
                </a:lnTo>
                <a:lnTo>
                  <a:pt x="1557185" y="2990289"/>
                </a:lnTo>
                <a:lnTo>
                  <a:pt x="1593698" y="2931868"/>
                </a:lnTo>
                <a:lnTo>
                  <a:pt x="1682547" y="2993977"/>
                </a:lnTo>
                <a:lnTo>
                  <a:pt x="1715731" y="2933753"/>
                </a:lnTo>
                <a:lnTo>
                  <a:pt x="1812824" y="2993977"/>
                </a:lnTo>
                <a:lnTo>
                  <a:pt x="1839863" y="2938669"/>
                </a:lnTo>
                <a:lnTo>
                  <a:pt x="1943102" y="2993977"/>
                </a:lnTo>
                <a:lnTo>
                  <a:pt x="1965224" y="2942357"/>
                </a:lnTo>
                <a:lnTo>
                  <a:pt x="2073379" y="2993977"/>
                </a:lnTo>
                <a:lnTo>
                  <a:pt x="2090586" y="2947273"/>
                </a:lnTo>
                <a:lnTo>
                  <a:pt x="2202428" y="2993977"/>
                </a:lnTo>
                <a:lnTo>
                  <a:pt x="2215947" y="2950960"/>
                </a:lnTo>
                <a:lnTo>
                  <a:pt x="2331476" y="2993977"/>
                </a:lnTo>
                <a:lnTo>
                  <a:pt x="2342538" y="2955876"/>
                </a:lnTo>
                <a:lnTo>
                  <a:pt x="2461754" y="2993977"/>
                </a:lnTo>
                <a:lnTo>
                  <a:pt x="2470358" y="2959564"/>
                </a:lnTo>
                <a:lnTo>
                  <a:pt x="2592031" y="2993977"/>
                </a:lnTo>
                <a:lnTo>
                  <a:pt x="2598177" y="2964480"/>
                </a:lnTo>
                <a:lnTo>
                  <a:pt x="2721081" y="2993977"/>
                </a:lnTo>
                <a:lnTo>
                  <a:pt x="2725997" y="2968166"/>
                </a:lnTo>
                <a:lnTo>
                  <a:pt x="2851358" y="2993977"/>
                </a:lnTo>
                <a:lnTo>
                  <a:pt x="2855045" y="2971854"/>
                </a:lnTo>
                <a:lnTo>
                  <a:pt x="2981636" y="2993977"/>
                </a:lnTo>
                <a:lnTo>
                  <a:pt x="2984094" y="2975540"/>
                </a:lnTo>
                <a:lnTo>
                  <a:pt x="3110684" y="2993977"/>
                </a:lnTo>
                <a:lnTo>
                  <a:pt x="3111913" y="2977998"/>
                </a:lnTo>
                <a:lnTo>
                  <a:pt x="3239733" y="2993977"/>
                </a:lnTo>
                <a:lnTo>
                  <a:pt x="3240961" y="2981686"/>
                </a:lnTo>
                <a:lnTo>
                  <a:pt x="3370010" y="2993977"/>
                </a:lnTo>
                <a:lnTo>
                  <a:pt x="3371239" y="2984144"/>
                </a:lnTo>
                <a:lnTo>
                  <a:pt x="3500288" y="2993977"/>
                </a:lnTo>
                <a:lnTo>
                  <a:pt x="3500288" y="2986602"/>
                </a:lnTo>
                <a:lnTo>
                  <a:pt x="3629336" y="2993977"/>
                </a:lnTo>
                <a:lnTo>
                  <a:pt x="3629336" y="2989060"/>
                </a:lnTo>
                <a:lnTo>
                  <a:pt x="3637940" y="2989060"/>
                </a:lnTo>
                <a:lnTo>
                  <a:pt x="3717826" y="2991518"/>
                </a:lnTo>
                <a:lnTo>
                  <a:pt x="3717826" y="2992747"/>
                </a:lnTo>
                <a:lnTo>
                  <a:pt x="5716236" y="3034534"/>
                </a:lnTo>
                <a:lnTo>
                  <a:pt x="3717826" y="3034534"/>
                </a:lnTo>
                <a:lnTo>
                  <a:pt x="3717826" y="3035764"/>
                </a:lnTo>
                <a:lnTo>
                  <a:pt x="3599839" y="3033306"/>
                </a:lnTo>
                <a:lnTo>
                  <a:pt x="3599839" y="3036992"/>
                </a:lnTo>
                <a:lnTo>
                  <a:pt x="3481852" y="3033306"/>
                </a:lnTo>
                <a:lnTo>
                  <a:pt x="3481852" y="3039450"/>
                </a:lnTo>
                <a:lnTo>
                  <a:pt x="3363865" y="3033306"/>
                </a:lnTo>
                <a:lnTo>
                  <a:pt x="3363865" y="3041908"/>
                </a:lnTo>
                <a:lnTo>
                  <a:pt x="3245877" y="3033306"/>
                </a:lnTo>
                <a:lnTo>
                  <a:pt x="3245877" y="3044366"/>
                </a:lnTo>
                <a:lnTo>
                  <a:pt x="3127890" y="3033306"/>
                </a:lnTo>
                <a:lnTo>
                  <a:pt x="3126662" y="3048054"/>
                </a:lnTo>
                <a:lnTo>
                  <a:pt x="3008674" y="3033306"/>
                </a:lnTo>
                <a:lnTo>
                  <a:pt x="3007445" y="3050512"/>
                </a:lnTo>
                <a:lnTo>
                  <a:pt x="2890687" y="3033306"/>
                </a:lnTo>
                <a:lnTo>
                  <a:pt x="2888229" y="3054199"/>
                </a:lnTo>
                <a:lnTo>
                  <a:pt x="2772700" y="3033306"/>
                </a:lnTo>
                <a:lnTo>
                  <a:pt x="2769012" y="3056657"/>
                </a:lnTo>
                <a:lnTo>
                  <a:pt x="2654713" y="3033306"/>
                </a:lnTo>
                <a:lnTo>
                  <a:pt x="2649797" y="3060344"/>
                </a:lnTo>
                <a:lnTo>
                  <a:pt x="2536726" y="3033306"/>
                </a:lnTo>
                <a:lnTo>
                  <a:pt x="2530580" y="3064031"/>
                </a:lnTo>
                <a:lnTo>
                  <a:pt x="2418738" y="3033306"/>
                </a:lnTo>
                <a:lnTo>
                  <a:pt x="2411364" y="3068947"/>
                </a:lnTo>
                <a:lnTo>
                  <a:pt x="2300751" y="3033306"/>
                </a:lnTo>
                <a:lnTo>
                  <a:pt x="2290919" y="3072635"/>
                </a:lnTo>
                <a:lnTo>
                  <a:pt x="2182764" y="3033306"/>
                </a:lnTo>
                <a:lnTo>
                  <a:pt x="2170474" y="3077551"/>
                </a:lnTo>
                <a:lnTo>
                  <a:pt x="2064777" y="3033306"/>
                </a:lnTo>
                <a:lnTo>
                  <a:pt x="2048799" y="3082467"/>
                </a:lnTo>
                <a:lnTo>
                  <a:pt x="1946789" y="3033306"/>
                </a:lnTo>
                <a:lnTo>
                  <a:pt x="1927125" y="3086153"/>
                </a:lnTo>
                <a:lnTo>
                  <a:pt x="1828802" y="3033306"/>
                </a:lnTo>
                <a:lnTo>
                  <a:pt x="1804221" y="3091070"/>
                </a:lnTo>
                <a:lnTo>
                  <a:pt x="1710815" y="3033306"/>
                </a:lnTo>
                <a:lnTo>
                  <a:pt x="1681318" y="3094757"/>
                </a:lnTo>
                <a:lnTo>
                  <a:pt x="1592828" y="3033306"/>
                </a:lnTo>
                <a:lnTo>
                  <a:pt x="1557806" y="3096101"/>
                </a:lnTo>
                <a:lnTo>
                  <a:pt x="1477299" y="3030848"/>
                </a:lnTo>
                <a:lnTo>
                  <a:pt x="1440428" y="3089841"/>
                </a:lnTo>
                <a:lnTo>
                  <a:pt x="1557185" y="3184476"/>
                </a:lnTo>
                <a:lnTo>
                  <a:pt x="1594056" y="3125482"/>
                </a:lnTo>
                <a:lnTo>
                  <a:pt x="1571695" y="3107358"/>
                </a:lnTo>
                <a:lnTo>
                  <a:pt x="1683776" y="3185706"/>
                </a:lnTo>
                <a:lnTo>
                  <a:pt x="1716959" y="3125482"/>
                </a:lnTo>
                <a:lnTo>
                  <a:pt x="1814054" y="3185706"/>
                </a:lnTo>
                <a:lnTo>
                  <a:pt x="1841092" y="3130399"/>
                </a:lnTo>
                <a:lnTo>
                  <a:pt x="1944331" y="3185706"/>
                </a:lnTo>
                <a:lnTo>
                  <a:pt x="1966454" y="3134086"/>
                </a:lnTo>
                <a:lnTo>
                  <a:pt x="2074609" y="3185706"/>
                </a:lnTo>
                <a:lnTo>
                  <a:pt x="2091815" y="3139003"/>
                </a:lnTo>
                <a:lnTo>
                  <a:pt x="2203657" y="3185706"/>
                </a:lnTo>
                <a:lnTo>
                  <a:pt x="2217177" y="3142689"/>
                </a:lnTo>
                <a:lnTo>
                  <a:pt x="2332706" y="3185706"/>
                </a:lnTo>
                <a:lnTo>
                  <a:pt x="2343767" y="3147605"/>
                </a:lnTo>
                <a:lnTo>
                  <a:pt x="2462984" y="3185706"/>
                </a:lnTo>
                <a:lnTo>
                  <a:pt x="2471586" y="3151293"/>
                </a:lnTo>
                <a:lnTo>
                  <a:pt x="2593261" y="3185706"/>
                </a:lnTo>
                <a:lnTo>
                  <a:pt x="2599406" y="3156209"/>
                </a:lnTo>
                <a:lnTo>
                  <a:pt x="2722309" y="3185706"/>
                </a:lnTo>
                <a:lnTo>
                  <a:pt x="2727225" y="3159895"/>
                </a:lnTo>
                <a:lnTo>
                  <a:pt x="2852587" y="3185706"/>
                </a:lnTo>
                <a:lnTo>
                  <a:pt x="2856274" y="3163583"/>
                </a:lnTo>
                <a:lnTo>
                  <a:pt x="2982864" y="3185706"/>
                </a:lnTo>
                <a:lnTo>
                  <a:pt x="2985322" y="3167270"/>
                </a:lnTo>
                <a:lnTo>
                  <a:pt x="3111913" y="3185706"/>
                </a:lnTo>
                <a:lnTo>
                  <a:pt x="3113142" y="3169728"/>
                </a:lnTo>
                <a:lnTo>
                  <a:pt x="3240961" y="3185706"/>
                </a:lnTo>
                <a:lnTo>
                  <a:pt x="3242191" y="3173415"/>
                </a:lnTo>
                <a:lnTo>
                  <a:pt x="3371239" y="3185706"/>
                </a:lnTo>
                <a:lnTo>
                  <a:pt x="3372468" y="3175874"/>
                </a:lnTo>
                <a:lnTo>
                  <a:pt x="3501516" y="3185706"/>
                </a:lnTo>
                <a:lnTo>
                  <a:pt x="3501516" y="3178332"/>
                </a:lnTo>
                <a:lnTo>
                  <a:pt x="3630565" y="3185706"/>
                </a:lnTo>
                <a:lnTo>
                  <a:pt x="3630565" y="3180790"/>
                </a:lnTo>
                <a:lnTo>
                  <a:pt x="3639168" y="3180790"/>
                </a:lnTo>
                <a:lnTo>
                  <a:pt x="3719056" y="3183248"/>
                </a:lnTo>
                <a:lnTo>
                  <a:pt x="3719056" y="3184476"/>
                </a:lnTo>
                <a:lnTo>
                  <a:pt x="5703946" y="3226263"/>
                </a:lnTo>
                <a:lnTo>
                  <a:pt x="3719056" y="3226263"/>
                </a:lnTo>
                <a:lnTo>
                  <a:pt x="3720284" y="3228721"/>
                </a:lnTo>
                <a:lnTo>
                  <a:pt x="3602297" y="3226263"/>
                </a:lnTo>
                <a:lnTo>
                  <a:pt x="3602297" y="3229951"/>
                </a:lnTo>
                <a:lnTo>
                  <a:pt x="3484310" y="3226263"/>
                </a:lnTo>
                <a:lnTo>
                  <a:pt x="3484310" y="3232409"/>
                </a:lnTo>
                <a:lnTo>
                  <a:pt x="3366323" y="3226263"/>
                </a:lnTo>
                <a:lnTo>
                  <a:pt x="3366323" y="3234867"/>
                </a:lnTo>
                <a:lnTo>
                  <a:pt x="3248335" y="3226263"/>
                </a:lnTo>
                <a:lnTo>
                  <a:pt x="3248335" y="3237325"/>
                </a:lnTo>
                <a:lnTo>
                  <a:pt x="3131578" y="3226263"/>
                </a:lnTo>
                <a:lnTo>
                  <a:pt x="3130348" y="3241012"/>
                </a:lnTo>
                <a:lnTo>
                  <a:pt x="3011133" y="3226263"/>
                </a:lnTo>
                <a:lnTo>
                  <a:pt x="3009903" y="3243470"/>
                </a:lnTo>
                <a:lnTo>
                  <a:pt x="2893145" y="3226263"/>
                </a:lnTo>
                <a:lnTo>
                  <a:pt x="2890687" y="3247157"/>
                </a:lnTo>
                <a:lnTo>
                  <a:pt x="2775158" y="3226263"/>
                </a:lnTo>
                <a:lnTo>
                  <a:pt x="2771470" y="3249616"/>
                </a:lnTo>
                <a:lnTo>
                  <a:pt x="2657171" y="3226263"/>
                </a:lnTo>
                <a:lnTo>
                  <a:pt x="2652255" y="3253302"/>
                </a:lnTo>
                <a:lnTo>
                  <a:pt x="2539184" y="3226263"/>
                </a:lnTo>
                <a:lnTo>
                  <a:pt x="2533038" y="3256990"/>
                </a:lnTo>
                <a:lnTo>
                  <a:pt x="2421196" y="3226263"/>
                </a:lnTo>
                <a:lnTo>
                  <a:pt x="2413822" y="3261906"/>
                </a:lnTo>
                <a:lnTo>
                  <a:pt x="2303209" y="3226263"/>
                </a:lnTo>
                <a:lnTo>
                  <a:pt x="2293377" y="3265592"/>
                </a:lnTo>
                <a:lnTo>
                  <a:pt x="2185222" y="3226263"/>
                </a:lnTo>
                <a:lnTo>
                  <a:pt x="2172932" y="3270508"/>
                </a:lnTo>
                <a:lnTo>
                  <a:pt x="2067235" y="3226263"/>
                </a:lnTo>
                <a:lnTo>
                  <a:pt x="2051257" y="3275425"/>
                </a:lnTo>
                <a:lnTo>
                  <a:pt x="1949247" y="3226263"/>
                </a:lnTo>
                <a:lnTo>
                  <a:pt x="1929583" y="3279112"/>
                </a:lnTo>
                <a:lnTo>
                  <a:pt x="1831260" y="3226263"/>
                </a:lnTo>
                <a:lnTo>
                  <a:pt x="1806680" y="3284028"/>
                </a:lnTo>
                <a:lnTo>
                  <a:pt x="1713273" y="3226263"/>
                </a:lnTo>
                <a:lnTo>
                  <a:pt x="1683776" y="3287715"/>
                </a:lnTo>
                <a:lnTo>
                  <a:pt x="1595286" y="3226263"/>
                </a:lnTo>
                <a:lnTo>
                  <a:pt x="1559643" y="3290173"/>
                </a:lnTo>
                <a:lnTo>
                  <a:pt x="1686234" y="3378663"/>
                </a:lnTo>
                <a:lnTo>
                  <a:pt x="1719418" y="3318441"/>
                </a:lnTo>
                <a:lnTo>
                  <a:pt x="1816512" y="3378663"/>
                </a:lnTo>
                <a:lnTo>
                  <a:pt x="1843551" y="3323358"/>
                </a:lnTo>
                <a:lnTo>
                  <a:pt x="1938186" y="3386038"/>
                </a:lnTo>
                <a:lnTo>
                  <a:pt x="1960308" y="3334418"/>
                </a:lnTo>
                <a:lnTo>
                  <a:pt x="2068463" y="3386038"/>
                </a:lnTo>
                <a:lnTo>
                  <a:pt x="2085670" y="3339334"/>
                </a:lnTo>
                <a:lnTo>
                  <a:pt x="2197512" y="3386038"/>
                </a:lnTo>
                <a:lnTo>
                  <a:pt x="2211031" y="3343022"/>
                </a:lnTo>
                <a:lnTo>
                  <a:pt x="2326560" y="3386038"/>
                </a:lnTo>
                <a:lnTo>
                  <a:pt x="2337622" y="3347938"/>
                </a:lnTo>
                <a:lnTo>
                  <a:pt x="2456838" y="3386038"/>
                </a:lnTo>
                <a:lnTo>
                  <a:pt x="2465442" y="3351625"/>
                </a:lnTo>
                <a:lnTo>
                  <a:pt x="2587115" y="3386038"/>
                </a:lnTo>
                <a:lnTo>
                  <a:pt x="2593261" y="3356541"/>
                </a:lnTo>
                <a:lnTo>
                  <a:pt x="2716164" y="3386038"/>
                </a:lnTo>
                <a:lnTo>
                  <a:pt x="2721081" y="3360229"/>
                </a:lnTo>
                <a:lnTo>
                  <a:pt x="2846442" y="3386038"/>
                </a:lnTo>
                <a:lnTo>
                  <a:pt x="2850129" y="3363915"/>
                </a:lnTo>
                <a:lnTo>
                  <a:pt x="2976720" y="3386038"/>
                </a:lnTo>
                <a:lnTo>
                  <a:pt x="2979178" y="3367603"/>
                </a:lnTo>
                <a:lnTo>
                  <a:pt x="3105768" y="3386038"/>
                </a:lnTo>
                <a:lnTo>
                  <a:pt x="3106997" y="3370061"/>
                </a:lnTo>
                <a:lnTo>
                  <a:pt x="3234817" y="3386038"/>
                </a:lnTo>
                <a:lnTo>
                  <a:pt x="3236045" y="3373747"/>
                </a:lnTo>
                <a:lnTo>
                  <a:pt x="3365094" y="3386038"/>
                </a:lnTo>
                <a:lnTo>
                  <a:pt x="3366323" y="3376205"/>
                </a:lnTo>
                <a:lnTo>
                  <a:pt x="3495372" y="3386038"/>
                </a:lnTo>
                <a:lnTo>
                  <a:pt x="3495372" y="3378663"/>
                </a:lnTo>
                <a:lnTo>
                  <a:pt x="3624420" y="3386038"/>
                </a:lnTo>
                <a:lnTo>
                  <a:pt x="3624420" y="3381121"/>
                </a:lnTo>
                <a:lnTo>
                  <a:pt x="3633024" y="3381121"/>
                </a:lnTo>
                <a:lnTo>
                  <a:pt x="3712910" y="3383580"/>
                </a:lnTo>
                <a:lnTo>
                  <a:pt x="3712910" y="3384809"/>
                </a:lnTo>
                <a:lnTo>
                  <a:pt x="5733441" y="3426596"/>
                </a:lnTo>
                <a:lnTo>
                  <a:pt x="3712910" y="3426596"/>
                </a:lnTo>
                <a:lnTo>
                  <a:pt x="3712910" y="3427825"/>
                </a:lnTo>
                <a:lnTo>
                  <a:pt x="3594923" y="3425367"/>
                </a:lnTo>
                <a:lnTo>
                  <a:pt x="3594923" y="3429054"/>
                </a:lnTo>
                <a:lnTo>
                  <a:pt x="3476936" y="3425367"/>
                </a:lnTo>
                <a:lnTo>
                  <a:pt x="3476936" y="3431513"/>
                </a:lnTo>
                <a:lnTo>
                  <a:pt x="3358948" y="3425367"/>
                </a:lnTo>
                <a:lnTo>
                  <a:pt x="3358948" y="3433971"/>
                </a:lnTo>
                <a:lnTo>
                  <a:pt x="3240961" y="3425367"/>
                </a:lnTo>
                <a:lnTo>
                  <a:pt x="3240961" y="3436429"/>
                </a:lnTo>
                <a:lnTo>
                  <a:pt x="3122974" y="3425367"/>
                </a:lnTo>
                <a:lnTo>
                  <a:pt x="3121746" y="3440115"/>
                </a:lnTo>
                <a:lnTo>
                  <a:pt x="3003758" y="3425367"/>
                </a:lnTo>
                <a:lnTo>
                  <a:pt x="3002529" y="3442573"/>
                </a:lnTo>
                <a:lnTo>
                  <a:pt x="2885771" y="3425367"/>
                </a:lnTo>
                <a:lnTo>
                  <a:pt x="2883313" y="3446261"/>
                </a:lnTo>
                <a:lnTo>
                  <a:pt x="2767784" y="3425367"/>
                </a:lnTo>
                <a:lnTo>
                  <a:pt x="2764096" y="3449947"/>
                </a:lnTo>
                <a:lnTo>
                  <a:pt x="2649797" y="3425367"/>
                </a:lnTo>
                <a:lnTo>
                  <a:pt x="2644881" y="3452405"/>
                </a:lnTo>
                <a:lnTo>
                  <a:pt x="2531809" y="3425367"/>
                </a:lnTo>
                <a:lnTo>
                  <a:pt x="2525664" y="3457322"/>
                </a:lnTo>
                <a:lnTo>
                  <a:pt x="2413822" y="3425367"/>
                </a:lnTo>
                <a:lnTo>
                  <a:pt x="2406448" y="3461009"/>
                </a:lnTo>
                <a:lnTo>
                  <a:pt x="2295835" y="3425367"/>
                </a:lnTo>
                <a:lnTo>
                  <a:pt x="2286003" y="3464696"/>
                </a:lnTo>
                <a:lnTo>
                  <a:pt x="2177848" y="3425367"/>
                </a:lnTo>
                <a:lnTo>
                  <a:pt x="2165557" y="3469612"/>
                </a:lnTo>
                <a:lnTo>
                  <a:pt x="2059860" y="3425367"/>
                </a:lnTo>
                <a:lnTo>
                  <a:pt x="2043882" y="3474528"/>
                </a:lnTo>
                <a:lnTo>
                  <a:pt x="1941873" y="3425367"/>
                </a:lnTo>
                <a:lnTo>
                  <a:pt x="1922209" y="3478216"/>
                </a:lnTo>
                <a:lnTo>
                  <a:pt x="1823886" y="3425367"/>
                </a:lnTo>
                <a:lnTo>
                  <a:pt x="1799305" y="3483132"/>
                </a:lnTo>
                <a:lnTo>
                  <a:pt x="1705899" y="3425367"/>
                </a:lnTo>
                <a:lnTo>
                  <a:pt x="1676402" y="3488048"/>
                </a:lnTo>
                <a:lnTo>
                  <a:pt x="1587912" y="3425367"/>
                </a:lnTo>
                <a:lnTo>
                  <a:pt x="1555303" y="3483837"/>
                </a:lnTo>
                <a:lnTo>
                  <a:pt x="1476069" y="3420451"/>
                </a:lnTo>
                <a:lnTo>
                  <a:pt x="1439198" y="3479444"/>
                </a:lnTo>
                <a:lnTo>
                  <a:pt x="1555957" y="3572851"/>
                </a:lnTo>
                <a:lnTo>
                  <a:pt x="1591188" y="3516482"/>
                </a:lnTo>
                <a:lnTo>
                  <a:pt x="1678860" y="3577767"/>
                </a:lnTo>
                <a:lnTo>
                  <a:pt x="1712043" y="3517545"/>
                </a:lnTo>
                <a:lnTo>
                  <a:pt x="1809138" y="3577767"/>
                </a:lnTo>
                <a:lnTo>
                  <a:pt x="1836176" y="3522461"/>
                </a:lnTo>
                <a:lnTo>
                  <a:pt x="1939415" y="3577767"/>
                </a:lnTo>
                <a:lnTo>
                  <a:pt x="1961538" y="3526147"/>
                </a:lnTo>
                <a:lnTo>
                  <a:pt x="2069693" y="3577767"/>
                </a:lnTo>
                <a:lnTo>
                  <a:pt x="2086899" y="3531064"/>
                </a:lnTo>
                <a:lnTo>
                  <a:pt x="2198741" y="3577767"/>
                </a:lnTo>
                <a:lnTo>
                  <a:pt x="2212261" y="3534751"/>
                </a:lnTo>
                <a:lnTo>
                  <a:pt x="2327790" y="3577767"/>
                </a:lnTo>
                <a:lnTo>
                  <a:pt x="2338851" y="3539667"/>
                </a:lnTo>
                <a:lnTo>
                  <a:pt x="2458067" y="3577767"/>
                </a:lnTo>
                <a:lnTo>
                  <a:pt x="2466670" y="3543354"/>
                </a:lnTo>
                <a:lnTo>
                  <a:pt x="2588345" y="3577767"/>
                </a:lnTo>
                <a:lnTo>
                  <a:pt x="2594490" y="3548270"/>
                </a:lnTo>
                <a:lnTo>
                  <a:pt x="2717393" y="3577767"/>
                </a:lnTo>
                <a:lnTo>
                  <a:pt x="2722309" y="3551958"/>
                </a:lnTo>
                <a:lnTo>
                  <a:pt x="2847670" y="3577767"/>
                </a:lnTo>
                <a:lnTo>
                  <a:pt x="2851358" y="3555644"/>
                </a:lnTo>
                <a:lnTo>
                  <a:pt x="2977948" y="3577767"/>
                </a:lnTo>
                <a:lnTo>
                  <a:pt x="2980406" y="3559332"/>
                </a:lnTo>
                <a:lnTo>
                  <a:pt x="3106997" y="3577767"/>
                </a:lnTo>
                <a:lnTo>
                  <a:pt x="3108226" y="3561790"/>
                </a:lnTo>
                <a:lnTo>
                  <a:pt x="3236045" y="3577767"/>
                </a:lnTo>
                <a:lnTo>
                  <a:pt x="3237275" y="3565477"/>
                </a:lnTo>
                <a:lnTo>
                  <a:pt x="3366323" y="3577767"/>
                </a:lnTo>
                <a:lnTo>
                  <a:pt x="3367552" y="3567935"/>
                </a:lnTo>
                <a:lnTo>
                  <a:pt x="3496600" y="3577767"/>
                </a:lnTo>
                <a:lnTo>
                  <a:pt x="3496600" y="3570393"/>
                </a:lnTo>
                <a:lnTo>
                  <a:pt x="3625649" y="3577767"/>
                </a:lnTo>
                <a:lnTo>
                  <a:pt x="3625649" y="3572851"/>
                </a:lnTo>
                <a:lnTo>
                  <a:pt x="3634252" y="3572851"/>
                </a:lnTo>
                <a:lnTo>
                  <a:pt x="3714140" y="3575309"/>
                </a:lnTo>
                <a:lnTo>
                  <a:pt x="3714140" y="3576538"/>
                </a:lnTo>
                <a:lnTo>
                  <a:pt x="5530652" y="3610951"/>
                </a:lnTo>
                <a:lnTo>
                  <a:pt x="3715368" y="3610951"/>
                </a:lnTo>
                <a:lnTo>
                  <a:pt x="3715368" y="3613409"/>
                </a:lnTo>
                <a:lnTo>
                  <a:pt x="3597381" y="3610951"/>
                </a:lnTo>
                <a:lnTo>
                  <a:pt x="3597381" y="3614638"/>
                </a:lnTo>
                <a:lnTo>
                  <a:pt x="3479394" y="3610951"/>
                </a:lnTo>
                <a:lnTo>
                  <a:pt x="3479394" y="3617096"/>
                </a:lnTo>
                <a:lnTo>
                  <a:pt x="3361406" y="3610951"/>
                </a:lnTo>
                <a:lnTo>
                  <a:pt x="3361406" y="3619554"/>
                </a:lnTo>
                <a:lnTo>
                  <a:pt x="3243419" y="3610951"/>
                </a:lnTo>
                <a:lnTo>
                  <a:pt x="3243419" y="3622012"/>
                </a:lnTo>
                <a:lnTo>
                  <a:pt x="3125432" y="3610951"/>
                </a:lnTo>
                <a:lnTo>
                  <a:pt x="3124204" y="3625700"/>
                </a:lnTo>
                <a:lnTo>
                  <a:pt x="3006216" y="3610951"/>
                </a:lnTo>
                <a:lnTo>
                  <a:pt x="3004987" y="3628158"/>
                </a:lnTo>
                <a:lnTo>
                  <a:pt x="2888229" y="3610951"/>
                </a:lnTo>
                <a:lnTo>
                  <a:pt x="2885771" y="3631844"/>
                </a:lnTo>
                <a:lnTo>
                  <a:pt x="2770242" y="3610951"/>
                </a:lnTo>
                <a:lnTo>
                  <a:pt x="2766554" y="3635532"/>
                </a:lnTo>
                <a:lnTo>
                  <a:pt x="2652255" y="3610951"/>
                </a:lnTo>
                <a:lnTo>
                  <a:pt x="2647339" y="3637990"/>
                </a:lnTo>
                <a:lnTo>
                  <a:pt x="2534268" y="3610951"/>
                </a:lnTo>
                <a:lnTo>
                  <a:pt x="2528122" y="3642906"/>
                </a:lnTo>
                <a:lnTo>
                  <a:pt x="2416280" y="3610951"/>
                </a:lnTo>
                <a:lnTo>
                  <a:pt x="2408906" y="3646593"/>
                </a:lnTo>
                <a:lnTo>
                  <a:pt x="2298293" y="3610951"/>
                </a:lnTo>
                <a:lnTo>
                  <a:pt x="2288461" y="3650280"/>
                </a:lnTo>
                <a:lnTo>
                  <a:pt x="2180306" y="3610951"/>
                </a:lnTo>
                <a:lnTo>
                  <a:pt x="2168015" y="3655197"/>
                </a:lnTo>
                <a:lnTo>
                  <a:pt x="2062319" y="3610951"/>
                </a:lnTo>
                <a:lnTo>
                  <a:pt x="2046340" y="3660113"/>
                </a:lnTo>
                <a:lnTo>
                  <a:pt x="1944331" y="3610951"/>
                </a:lnTo>
                <a:lnTo>
                  <a:pt x="1924667" y="3663799"/>
                </a:lnTo>
                <a:lnTo>
                  <a:pt x="1826344" y="3610951"/>
                </a:lnTo>
                <a:lnTo>
                  <a:pt x="1801763" y="3668715"/>
                </a:lnTo>
                <a:lnTo>
                  <a:pt x="1708357" y="3610951"/>
                </a:lnTo>
                <a:lnTo>
                  <a:pt x="1678860" y="3673631"/>
                </a:lnTo>
                <a:lnTo>
                  <a:pt x="1590370" y="3610951"/>
                </a:lnTo>
                <a:lnTo>
                  <a:pt x="1556054" y="3672481"/>
                </a:lnTo>
                <a:lnTo>
                  <a:pt x="1476069" y="3608493"/>
                </a:lnTo>
                <a:lnTo>
                  <a:pt x="1439198" y="3667487"/>
                </a:lnTo>
                <a:lnTo>
                  <a:pt x="1555957" y="3760894"/>
                </a:lnTo>
                <a:lnTo>
                  <a:pt x="1592828" y="3701900"/>
                </a:lnTo>
                <a:lnTo>
                  <a:pt x="1588815" y="3698689"/>
                </a:lnTo>
                <a:lnTo>
                  <a:pt x="1681318" y="3763352"/>
                </a:lnTo>
                <a:lnTo>
                  <a:pt x="1714501" y="3703128"/>
                </a:lnTo>
                <a:lnTo>
                  <a:pt x="1811596" y="3763352"/>
                </a:lnTo>
                <a:lnTo>
                  <a:pt x="1838634" y="3708044"/>
                </a:lnTo>
                <a:lnTo>
                  <a:pt x="1941873" y="3763352"/>
                </a:lnTo>
                <a:lnTo>
                  <a:pt x="1963996" y="3711732"/>
                </a:lnTo>
                <a:lnTo>
                  <a:pt x="2072151" y="3763352"/>
                </a:lnTo>
                <a:lnTo>
                  <a:pt x="2089357" y="3716648"/>
                </a:lnTo>
                <a:lnTo>
                  <a:pt x="2201199" y="3763352"/>
                </a:lnTo>
                <a:lnTo>
                  <a:pt x="2214719" y="3720335"/>
                </a:lnTo>
                <a:lnTo>
                  <a:pt x="2330248" y="3763352"/>
                </a:lnTo>
                <a:lnTo>
                  <a:pt x="2341309" y="3725251"/>
                </a:lnTo>
                <a:lnTo>
                  <a:pt x="2460525" y="3763352"/>
                </a:lnTo>
                <a:lnTo>
                  <a:pt x="2469128" y="3728939"/>
                </a:lnTo>
                <a:lnTo>
                  <a:pt x="2590803" y="3763352"/>
                </a:lnTo>
                <a:lnTo>
                  <a:pt x="2596948" y="3733855"/>
                </a:lnTo>
                <a:lnTo>
                  <a:pt x="2719851" y="3763352"/>
                </a:lnTo>
                <a:lnTo>
                  <a:pt x="2724767" y="3737541"/>
                </a:lnTo>
                <a:lnTo>
                  <a:pt x="2850129" y="3763352"/>
                </a:lnTo>
                <a:lnTo>
                  <a:pt x="2853816" y="3741229"/>
                </a:lnTo>
                <a:lnTo>
                  <a:pt x="2980406" y="3763352"/>
                </a:lnTo>
                <a:lnTo>
                  <a:pt x="2982864" y="3744915"/>
                </a:lnTo>
                <a:lnTo>
                  <a:pt x="3109455" y="3763352"/>
                </a:lnTo>
                <a:lnTo>
                  <a:pt x="3110684" y="3747373"/>
                </a:lnTo>
                <a:lnTo>
                  <a:pt x="3238503" y="3763352"/>
                </a:lnTo>
                <a:lnTo>
                  <a:pt x="3239733" y="3751061"/>
                </a:lnTo>
                <a:lnTo>
                  <a:pt x="3368781" y="3763352"/>
                </a:lnTo>
                <a:lnTo>
                  <a:pt x="3370010" y="3753519"/>
                </a:lnTo>
                <a:lnTo>
                  <a:pt x="3499058" y="3763352"/>
                </a:lnTo>
                <a:lnTo>
                  <a:pt x="3499058" y="3755977"/>
                </a:lnTo>
                <a:lnTo>
                  <a:pt x="3628107" y="3763352"/>
                </a:lnTo>
                <a:lnTo>
                  <a:pt x="3628107" y="3759664"/>
                </a:lnTo>
                <a:lnTo>
                  <a:pt x="3636710" y="3759664"/>
                </a:lnTo>
                <a:lnTo>
                  <a:pt x="3716598" y="3762122"/>
                </a:lnTo>
                <a:lnTo>
                  <a:pt x="3716598" y="3763352"/>
                </a:lnTo>
                <a:lnTo>
                  <a:pt x="5577355" y="3802681"/>
                </a:lnTo>
                <a:lnTo>
                  <a:pt x="3716598" y="3802681"/>
                </a:lnTo>
                <a:lnTo>
                  <a:pt x="3717826" y="3805139"/>
                </a:lnTo>
                <a:lnTo>
                  <a:pt x="3599839" y="3802681"/>
                </a:lnTo>
                <a:lnTo>
                  <a:pt x="3599839" y="3806367"/>
                </a:lnTo>
                <a:lnTo>
                  <a:pt x="3481852" y="3802681"/>
                </a:lnTo>
                <a:lnTo>
                  <a:pt x="3481852" y="3808825"/>
                </a:lnTo>
                <a:lnTo>
                  <a:pt x="3363865" y="3802681"/>
                </a:lnTo>
                <a:lnTo>
                  <a:pt x="3363865" y="3811283"/>
                </a:lnTo>
                <a:lnTo>
                  <a:pt x="3245877" y="3802681"/>
                </a:lnTo>
                <a:lnTo>
                  <a:pt x="3245877" y="3813741"/>
                </a:lnTo>
                <a:lnTo>
                  <a:pt x="3127890" y="3802681"/>
                </a:lnTo>
                <a:lnTo>
                  <a:pt x="3126662" y="3817429"/>
                </a:lnTo>
                <a:lnTo>
                  <a:pt x="3008674" y="3802681"/>
                </a:lnTo>
                <a:lnTo>
                  <a:pt x="3007445" y="3819887"/>
                </a:lnTo>
                <a:lnTo>
                  <a:pt x="2890687" y="3802681"/>
                </a:lnTo>
                <a:lnTo>
                  <a:pt x="2888229" y="3823574"/>
                </a:lnTo>
                <a:lnTo>
                  <a:pt x="2772700" y="3802681"/>
                </a:lnTo>
                <a:lnTo>
                  <a:pt x="2769012" y="3826032"/>
                </a:lnTo>
                <a:lnTo>
                  <a:pt x="2654713" y="3802681"/>
                </a:lnTo>
                <a:lnTo>
                  <a:pt x="2649797" y="3829719"/>
                </a:lnTo>
                <a:lnTo>
                  <a:pt x="2536726" y="3802681"/>
                </a:lnTo>
                <a:lnTo>
                  <a:pt x="2530580" y="3833406"/>
                </a:lnTo>
                <a:lnTo>
                  <a:pt x="2418738" y="3802681"/>
                </a:lnTo>
                <a:lnTo>
                  <a:pt x="2411364" y="3838322"/>
                </a:lnTo>
                <a:lnTo>
                  <a:pt x="2300751" y="3802681"/>
                </a:lnTo>
                <a:lnTo>
                  <a:pt x="2290919" y="3842010"/>
                </a:lnTo>
                <a:lnTo>
                  <a:pt x="2182764" y="3802681"/>
                </a:lnTo>
                <a:lnTo>
                  <a:pt x="2170474" y="3846926"/>
                </a:lnTo>
                <a:lnTo>
                  <a:pt x="2064777" y="3802681"/>
                </a:lnTo>
                <a:lnTo>
                  <a:pt x="2048799" y="3851842"/>
                </a:lnTo>
                <a:lnTo>
                  <a:pt x="1946789" y="3802681"/>
                </a:lnTo>
                <a:lnTo>
                  <a:pt x="1927125" y="3855528"/>
                </a:lnTo>
                <a:lnTo>
                  <a:pt x="1828802" y="3802681"/>
                </a:lnTo>
                <a:lnTo>
                  <a:pt x="1804221" y="3860445"/>
                </a:lnTo>
                <a:lnTo>
                  <a:pt x="1710815" y="3802681"/>
                </a:lnTo>
                <a:lnTo>
                  <a:pt x="1681318" y="3864132"/>
                </a:lnTo>
                <a:lnTo>
                  <a:pt x="1592828" y="3802681"/>
                </a:lnTo>
                <a:lnTo>
                  <a:pt x="1557754" y="3865570"/>
                </a:lnTo>
                <a:lnTo>
                  <a:pt x="1476069" y="3800223"/>
                </a:lnTo>
                <a:lnTo>
                  <a:pt x="1439198" y="3859216"/>
                </a:lnTo>
                <a:lnTo>
                  <a:pt x="1555957" y="3952623"/>
                </a:lnTo>
                <a:lnTo>
                  <a:pt x="1592828" y="3893629"/>
                </a:lnTo>
                <a:lnTo>
                  <a:pt x="1571795" y="3876803"/>
                </a:lnTo>
                <a:lnTo>
                  <a:pt x="1683776" y="3955081"/>
                </a:lnTo>
                <a:lnTo>
                  <a:pt x="1716959" y="3894858"/>
                </a:lnTo>
                <a:lnTo>
                  <a:pt x="1814054" y="3955081"/>
                </a:lnTo>
                <a:lnTo>
                  <a:pt x="1841092" y="3899774"/>
                </a:lnTo>
                <a:lnTo>
                  <a:pt x="1944331" y="3955081"/>
                </a:lnTo>
                <a:lnTo>
                  <a:pt x="1966454" y="3903461"/>
                </a:lnTo>
                <a:lnTo>
                  <a:pt x="2074609" y="3955081"/>
                </a:lnTo>
                <a:lnTo>
                  <a:pt x="2091815" y="3908378"/>
                </a:lnTo>
                <a:lnTo>
                  <a:pt x="2203657" y="3955081"/>
                </a:lnTo>
                <a:lnTo>
                  <a:pt x="2217177" y="3912064"/>
                </a:lnTo>
                <a:lnTo>
                  <a:pt x="2332706" y="3955081"/>
                </a:lnTo>
                <a:lnTo>
                  <a:pt x="2343767" y="3916980"/>
                </a:lnTo>
                <a:lnTo>
                  <a:pt x="2462984" y="3955081"/>
                </a:lnTo>
                <a:lnTo>
                  <a:pt x="2471586" y="3920668"/>
                </a:lnTo>
                <a:lnTo>
                  <a:pt x="2593261" y="3955081"/>
                </a:lnTo>
                <a:lnTo>
                  <a:pt x="2599406" y="3925584"/>
                </a:lnTo>
                <a:lnTo>
                  <a:pt x="2722309" y="3955081"/>
                </a:lnTo>
                <a:lnTo>
                  <a:pt x="2727225" y="3929270"/>
                </a:lnTo>
                <a:lnTo>
                  <a:pt x="2851358" y="3955081"/>
                </a:lnTo>
                <a:lnTo>
                  <a:pt x="2855045" y="3932958"/>
                </a:lnTo>
                <a:lnTo>
                  <a:pt x="2981636" y="3955081"/>
                </a:lnTo>
                <a:lnTo>
                  <a:pt x="2984094" y="3936645"/>
                </a:lnTo>
                <a:lnTo>
                  <a:pt x="3110684" y="3955081"/>
                </a:lnTo>
                <a:lnTo>
                  <a:pt x="3111913" y="3939103"/>
                </a:lnTo>
                <a:lnTo>
                  <a:pt x="3239733" y="3955081"/>
                </a:lnTo>
                <a:lnTo>
                  <a:pt x="3240961" y="3942790"/>
                </a:lnTo>
                <a:lnTo>
                  <a:pt x="3370010" y="3955081"/>
                </a:lnTo>
                <a:lnTo>
                  <a:pt x="3371239" y="3945249"/>
                </a:lnTo>
                <a:lnTo>
                  <a:pt x="3500288" y="3955081"/>
                </a:lnTo>
                <a:lnTo>
                  <a:pt x="3500288" y="3947707"/>
                </a:lnTo>
                <a:lnTo>
                  <a:pt x="3629336" y="3955081"/>
                </a:lnTo>
                <a:lnTo>
                  <a:pt x="3629336" y="3950165"/>
                </a:lnTo>
                <a:lnTo>
                  <a:pt x="3637940" y="3950165"/>
                </a:lnTo>
                <a:lnTo>
                  <a:pt x="3717826" y="3952623"/>
                </a:lnTo>
                <a:lnTo>
                  <a:pt x="3717826" y="3953851"/>
                </a:lnTo>
                <a:lnTo>
                  <a:pt x="5794893" y="3996868"/>
                </a:lnTo>
                <a:lnTo>
                  <a:pt x="3719056" y="3996868"/>
                </a:lnTo>
                <a:lnTo>
                  <a:pt x="3719056" y="3999326"/>
                </a:lnTo>
                <a:lnTo>
                  <a:pt x="3601069" y="3996868"/>
                </a:lnTo>
                <a:lnTo>
                  <a:pt x="3601069" y="4000554"/>
                </a:lnTo>
                <a:lnTo>
                  <a:pt x="3483081" y="3996868"/>
                </a:lnTo>
                <a:lnTo>
                  <a:pt x="3483081" y="4003012"/>
                </a:lnTo>
                <a:lnTo>
                  <a:pt x="3365094" y="3996868"/>
                </a:lnTo>
                <a:lnTo>
                  <a:pt x="3365094" y="4005471"/>
                </a:lnTo>
                <a:lnTo>
                  <a:pt x="3247107" y="3996868"/>
                </a:lnTo>
                <a:lnTo>
                  <a:pt x="3247107" y="4007929"/>
                </a:lnTo>
                <a:lnTo>
                  <a:pt x="3129120" y="3996868"/>
                </a:lnTo>
                <a:lnTo>
                  <a:pt x="3127890" y="4011616"/>
                </a:lnTo>
                <a:lnTo>
                  <a:pt x="3009903" y="3998096"/>
                </a:lnTo>
                <a:lnTo>
                  <a:pt x="3008674" y="4015303"/>
                </a:lnTo>
                <a:lnTo>
                  <a:pt x="2891916" y="3998096"/>
                </a:lnTo>
                <a:lnTo>
                  <a:pt x="2889458" y="4018991"/>
                </a:lnTo>
                <a:lnTo>
                  <a:pt x="2773928" y="3998096"/>
                </a:lnTo>
                <a:lnTo>
                  <a:pt x="2770242" y="4022677"/>
                </a:lnTo>
                <a:lnTo>
                  <a:pt x="2655941" y="3998096"/>
                </a:lnTo>
                <a:lnTo>
                  <a:pt x="2651025" y="4025135"/>
                </a:lnTo>
                <a:lnTo>
                  <a:pt x="2537954" y="3998096"/>
                </a:lnTo>
                <a:lnTo>
                  <a:pt x="2531809" y="4028823"/>
                </a:lnTo>
                <a:lnTo>
                  <a:pt x="2419967" y="3998096"/>
                </a:lnTo>
                <a:lnTo>
                  <a:pt x="2412593" y="4033739"/>
                </a:lnTo>
                <a:lnTo>
                  <a:pt x="2301980" y="3998096"/>
                </a:lnTo>
                <a:lnTo>
                  <a:pt x="2292147" y="4037425"/>
                </a:lnTo>
                <a:lnTo>
                  <a:pt x="2183992" y="3998096"/>
                </a:lnTo>
                <a:lnTo>
                  <a:pt x="2171702" y="4042342"/>
                </a:lnTo>
                <a:lnTo>
                  <a:pt x="2066005" y="3998096"/>
                </a:lnTo>
                <a:lnTo>
                  <a:pt x="2050028" y="4047258"/>
                </a:lnTo>
                <a:lnTo>
                  <a:pt x="1948018" y="3998096"/>
                </a:lnTo>
                <a:lnTo>
                  <a:pt x="1928353" y="4050945"/>
                </a:lnTo>
                <a:lnTo>
                  <a:pt x="1830031" y="3998096"/>
                </a:lnTo>
                <a:lnTo>
                  <a:pt x="1805450" y="4055862"/>
                </a:lnTo>
                <a:lnTo>
                  <a:pt x="1712043" y="3998096"/>
                </a:lnTo>
                <a:lnTo>
                  <a:pt x="1682547" y="4060778"/>
                </a:lnTo>
                <a:lnTo>
                  <a:pt x="1594056" y="3998096"/>
                </a:lnTo>
                <a:lnTo>
                  <a:pt x="1559643" y="4060778"/>
                </a:lnTo>
                <a:lnTo>
                  <a:pt x="1476069" y="3993180"/>
                </a:lnTo>
                <a:lnTo>
                  <a:pt x="1439198" y="4052174"/>
                </a:lnTo>
                <a:lnTo>
                  <a:pt x="1441656" y="4054632"/>
                </a:lnTo>
                <a:lnTo>
                  <a:pt x="1440428" y="4057090"/>
                </a:lnTo>
                <a:lnTo>
                  <a:pt x="1557185" y="4150497"/>
                </a:lnTo>
                <a:lnTo>
                  <a:pt x="1594056" y="4091503"/>
                </a:lnTo>
                <a:lnTo>
                  <a:pt x="1591598" y="4090275"/>
                </a:lnTo>
                <a:lnTo>
                  <a:pt x="1592828" y="4087816"/>
                </a:lnTo>
                <a:lnTo>
                  <a:pt x="1580537" y="4077984"/>
                </a:lnTo>
                <a:lnTo>
                  <a:pt x="1686234" y="4151726"/>
                </a:lnTo>
                <a:lnTo>
                  <a:pt x="1719418" y="4091503"/>
                </a:lnTo>
                <a:lnTo>
                  <a:pt x="1816512" y="4151726"/>
                </a:lnTo>
                <a:lnTo>
                  <a:pt x="1843551" y="4096419"/>
                </a:lnTo>
                <a:lnTo>
                  <a:pt x="1946789" y="4151726"/>
                </a:lnTo>
                <a:lnTo>
                  <a:pt x="1968912" y="4100107"/>
                </a:lnTo>
                <a:lnTo>
                  <a:pt x="2077067" y="4151726"/>
                </a:lnTo>
                <a:lnTo>
                  <a:pt x="2094273" y="4105023"/>
                </a:lnTo>
                <a:lnTo>
                  <a:pt x="2206115" y="4151726"/>
                </a:lnTo>
                <a:lnTo>
                  <a:pt x="2219635" y="4108709"/>
                </a:lnTo>
                <a:lnTo>
                  <a:pt x="2335164" y="4151726"/>
                </a:lnTo>
                <a:lnTo>
                  <a:pt x="2346225" y="4113625"/>
                </a:lnTo>
                <a:lnTo>
                  <a:pt x="2465442" y="4151726"/>
                </a:lnTo>
                <a:lnTo>
                  <a:pt x="2474044" y="4117313"/>
                </a:lnTo>
                <a:lnTo>
                  <a:pt x="2595719" y="4151726"/>
                </a:lnTo>
                <a:lnTo>
                  <a:pt x="2601864" y="4122229"/>
                </a:lnTo>
                <a:lnTo>
                  <a:pt x="2724767" y="4151726"/>
                </a:lnTo>
                <a:lnTo>
                  <a:pt x="2729683" y="4125916"/>
                </a:lnTo>
                <a:lnTo>
                  <a:pt x="2853816" y="4151726"/>
                </a:lnTo>
                <a:lnTo>
                  <a:pt x="2857503" y="4129604"/>
                </a:lnTo>
                <a:lnTo>
                  <a:pt x="2984094" y="4151726"/>
                </a:lnTo>
                <a:lnTo>
                  <a:pt x="2986552" y="4133290"/>
                </a:lnTo>
                <a:lnTo>
                  <a:pt x="3113142" y="4151726"/>
                </a:lnTo>
                <a:lnTo>
                  <a:pt x="3114371" y="4135748"/>
                </a:lnTo>
                <a:lnTo>
                  <a:pt x="3242191" y="4151726"/>
                </a:lnTo>
                <a:lnTo>
                  <a:pt x="3243419" y="4139436"/>
                </a:lnTo>
                <a:lnTo>
                  <a:pt x="3372468" y="4151726"/>
                </a:lnTo>
                <a:lnTo>
                  <a:pt x="3373697" y="4141894"/>
                </a:lnTo>
                <a:lnTo>
                  <a:pt x="3502746" y="4151726"/>
                </a:lnTo>
                <a:lnTo>
                  <a:pt x="3502746" y="4144352"/>
                </a:lnTo>
                <a:lnTo>
                  <a:pt x="3631794" y="4151726"/>
                </a:lnTo>
                <a:lnTo>
                  <a:pt x="3631794" y="4146810"/>
                </a:lnTo>
                <a:lnTo>
                  <a:pt x="3640398" y="4146810"/>
                </a:lnTo>
                <a:lnTo>
                  <a:pt x="3720284" y="4149268"/>
                </a:lnTo>
                <a:lnTo>
                  <a:pt x="3720284" y="4150497"/>
                </a:lnTo>
                <a:lnTo>
                  <a:pt x="5696570" y="4195972"/>
                </a:lnTo>
                <a:lnTo>
                  <a:pt x="3720284" y="4191055"/>
                </a:lnTo>
                <a:lnTo>
                  <a:pt x="3720284" y="4193513"/>
                </a:lnTo>
                <a:lnTo>
                  <a:pt x="3602297" y="4191055"/>
                </a:lnTo>
                <a:lnTo>
                  <a:pt x="3602297" y="4194742"/>
                </a:lnTo>
                <a:lnTo>
                  <a:pt x="3484310" y="4191055"/>
                </a:lnTo>
                <a:lnTo>
                  <a:pt x="3484310" y="4197200"/>
                </a:lnTo>
                <a:lnTo>
                  <a:pt x="3366323" y="4191055"/>
                </a:lnTo>
                <a:lnTo>
                  <a:pt x="3366323" y="4199658"/>
                </a:lnTo>
                <a:lnTo>
                  <a:pt x="3248335" y="4191055"/>
                </a:lnTo>
                <a:lnTo>
                  <a:pt x="3248335" y="4202116"/>
                </a:lnTo>
                <a:lnTo>
                  <a:pt x="3130348" y="4191055"/>
                </a:lnTo>
                <a:lnTo>
                  <a:pt x="3129120" y="4205804"/>
                </a:lnTo>
                <a:lnTo>
                  <a:pt x="3011133" y="4191055"/>
                </a:lnTo>
                <a:lnTo>
                  <a:pt x="3009903" y="4208262"/>
                </a:lnTo>
                <a:lnTo>
                  <a:pt x="2893145" y="4191055"/>
                </a:lnTo>
                <a:lnTo>
                  <a:pt x="2890687" y="4211948"/>
                </a:lnTo>
                <a:lnTo>
                  <a:pt x="2775158" y="4191055"/>
                </a:lnTo>
                <a:lnTo>
                  <a:pt x="2771470" y="4215636"/>
                </a:lnTo>
                <a:lnTo>
                  <a:pt x="2657171" y="4191055"/>
                </a:lnTo>
                <a:lnTo>
                  <a:pt x="2652255" y="4218094"/>
                </a:lnTo>
                <a:lnTo>
                  <a:pt x="2539184" y="4191055"/>
                </a:lnTo>
                <a:lnTo>
                  <a:pt x="2533038" y="4223010"/>
                </a:lnTo>
                <a:lnTo>
                  <a:pt x="2421196" y="4191055"/>
                </a:lnTo>
                <a:lnTo>
                  <a:pt x="2413822" y="4226697"/>
                </a:lnTo>
                <a:lnTo>
                  <a:pt x="2303209" y="4191055"/>
                </a:lnTo>
                <a:lnTo>
                  <a:pt x="2293377" y="4230384"/>
                </a:lnTo>
                <a:lnTo>
                  <a:pt x="2185222" y="4191055"/>
                </a:lnTo>
                <a:lnTo>
                  <a:pt x="2172932" y="4235301"/>
                </a:lnTo>
                <a:lnTo>
                  <a:pt x="2067235" y="4191055"/>
                </a:lnTo>
                <a:lnTo>
                  <a:pt x="2051257" y="4240217"/>
                </a:lnTo>
                <a:lnTo>
                  <a:pt x="1949247" y="4191055"/>
                </a:lnTo>
                <a:lnTo>
                  <a:pt x="1929583" y="4243903"/>
                </a:lnTo>
                <a:lnTo>
                  <a:pt x="1831260" y="4191055"/>
                </a:lnTo>
                <a:lnTo>
                  <a:pt x="1806680" y="4248819"/>
                </a:lnTo>
                <a:lnTo>
                  <a:pt x="1713273" y="4191055"/>
                </a:lnTo>
                <a:lnTo>
                  <a:pt x="1683776" y="4253735"/>
                </a:lnTo>
                <a:lnTo>
                  <a:pt x="1595286" y="4191055"/>
                </a:lnTo>
                <a:lnTo>
                  <a:pt x="1559643" y="4254965"/>
                </a:lnTo>
                <a:lnTo>
                  <a:pt x="1685005" y="4343456"/>
                </a:lnTo>
                <a:lnTo>
                  <a:pt x="1718189" y="4283232"/>
                </a:lnTo>
                <a:lnTo>
                  <a:pt x="1815282" y="4343456"/>
                </a:lnTo>
                <a:lnTo>
                  <a:pt x="1842321" y="4288148"/>
                </a:lnTo>
                <a:lnTo>
                  <a:pt x="1945560" y="4343456"/>
                </a:lnTo>
                <a:lnTo>
                  <a:pt x="1967682" y="4291836"/>
                </a:lnTo>
                <a:lnTo>
                  <a:pt x="2075837" y="4343456"/>
                </a:lnTo>
                <a:lnTo>
                  <a:pt x="2093044" y="4296752"/>
                </a:lnTo>
                <a:lnTo>
                  <a:pt x="2204887" y="4343456"/>
                </a:lnTo>
                <a:lnTo>
                  <a:pt x="2218405" y="4300439"/>
                </a:lnTo>
                <a:lnTo>
                  <a:pt x="2333934" y="4343456"/>
                </a:lnTo>
                <a:lnTo>
                  <a:pt x="2344996" y="4305355"/>
                </a:lnTo>
                <a:lnTo>
                  <a:pt x="2464212" y="4343456"/>
                </a:lnTo>
                <a:lnTo>
                  <a:pt x="2472816" y="4309043"/>
                </a:lnTo>
                <a:lnTo>
                  <a:pt x="2593261" y="4343456"/>
                </a:lnTo>
                <a:lnTo>
                  <a:pt x="2598177" y="4315187"/>
                </a:lnTo>
                <a:lnTo>
                  <a:pt x="2721081" y="4344684"/>
                </a:lnTo>
                <a:lnTo>
                  <a:pt x="2725997" y="4318875"/>
                </a:lnTo>
                <a:lnTo>
                  <a:pt x="2851358" y="4344684"/>
                </a:lnTo>
                <a:lnTo>
                  <a:pt x="2855045" y="4322561"/>
                </a:lnTo>
                <a:lnTo>
                  <a:pt x="2981636" y="4344684"/>
                </a:lnTo>
                <a:lnTo>
                  <a:pt x="2984094" y="4326249"/>
                </a:lnTo>
                <a:lnTo>
                  <a:pt x="3110684" y="4344684"/>
                </a:lnTo>
                <a:lnTo>
                  <a:pt x="3113142" y="4328707"/>
                </a:lnTo>
                <a:lnTo>
                  <a:pt x="3240961" y="4344684"/>
                </a:lnTo>
                <a:lnTo>
                  <a:pt x="3242191" y="4332394"/>
                </a:lnTo>
                <a:lnTo>
                  <a:pt x="3371239" y="4344684"/>
                </a:lnTo>
                <a:lnTo>
                  <a:pt x="3372468" y="4334852"/>
                </a:lnTo>
                <a:lnTo>
                  <a:pt x="3501516" y="4344684"/>
                </a:lnTo>
                <a:lnTo>
                  <a:pt x="3501516" y="4337310"/>
                </a:lnTo>
                <a:lnTo>
                  <a:pt x="3630565" y="4344684"/>
                </a:lnTo>
                <a:lnTo>
                  <a:pt x="3630565" y="4339768"/>
                </a:lnTo>
                <a:lnTo>
                  <a:pt x="3639168" y="4339768"/>
                </a:lnTo>
                <a:lnTo>
                  <a:pt x="3719056" y="4342226"/>
                </a:lnTo>
                <a:lnTo>
                  <a:pt x="3719056" y="4343456"/>
                </a:lnTo>
                <a:lnTo>
                  <a:pt x="5728527" y="4387701"/>
                </a:lnTo>
                <a:lnTo>
                  <a:pt x="3712910" y="4387701"/>
                </a:lnTo>
                <a:lnTo>
                  <a:pt x="3712910" y="4388929"/>
                </a:lnTo>
                <a:lnTo>
                  <a:pt x="3594923" y="4386471"/>
                </a:lnTo>
                <a:lnTo>
                  <a:pt x="3594923" y="4390159"/>
                </a:lnTo>
                <a:lnTo>
                  <a:pt x="3476936" y="4386471"/>
                </a:lnTo>
                <a:lnTo>
                  <a:pt x="3476936" y="4392617"/>
                </a:lnTo>
                <a:lnTo>
                  <a:pt x="3358948" y="4386471"/>
                </a:lnTo>
                <a:lnTo>
                  <a:pt x="3358948" y="4395075"/>
                </a:lnTo>
                <a:lnTo>
                  <a:pt x="3240961" y="4386471"/>
                </a:lnTo>
                <a:lnTo>
                  <a:pt x="3240961" y="4397533"/>
                </a:lnTo>
                <a:lnTo>
                  <a:pt x="3122974" y="4386471"/>
                </a:lnTo>
                <a:lnTo>
                  <a:pt x="3121746" y="4401219"/>
                </a:lnTo>
                <a:lnTo>
                  <a:pt x="3003758" y="4386471"/>
                </a:lnTo>
                <a:lnTo>
                  <a:pt x="3002529" y="4403678"/>
                </a:lnTo>
                <a:lnTo>
                  <a:pt x="2885771" y="4386471"/>
                </a:lnTo>
                <a:lnTo>
                  <a:pt x="2883313" y="4407365"/>
                </a:lnTo>
                <a:lnTo>
                  <a:pt x="2767784" y="4386471"/>
                </a:lnTo>
                <a:lnTo>
                  <a:pt x="2764096" y="4409823"/>
                </a:lnTo>
                <a:lnTo>
                  <a:pt x="2649797" y="4386471"/>
                </a:lnTo>
                <a:lnTo>
                  <a:pt x="2644881" y="4413510"/>
                </a:lnTo>
                <a:lnTo>
                  <a:pt x="2531809" y="4386471"/>
                </a:lnTo>
                <a:lnTo>
                  <a:pt x="2525664" y="4417198"/>
                </a:lnTo>
                <a:lnTo>
                  <a:pt x="2413822" y="4386471"/>
                </a:lnTo>
                <a:lnTo>
                  <a:pt x="2406448" y="4422114"/>
                </a:lnTo>
                <a:lnTo>
                  <a:pt x="2295835" y="4386471"/>
                </a:lnTo>
                <a:lnTo>
                  <a:pt x="2286003" y="4425800"/>
                </a:lnTo>
                <a:lnTo>
                  <a:pt x="2177848" y="4386471"/>
                </a:lnTo>
                <a:lnTo>
                  <a:pt x="2165557" y="4430716"/>
                </a:lnTo>
                <a:lnTo>
                  <a:pt x="2059860" y="4386471"/>
                </a:lnTo>
                <a:lnTo>
                  <a:pt x="2043882" y="4435632"/>
                </a:lnTo>
                <a:lnTo>
                  <a:pt x="1941873" y="4386471"/>
                </a:lnTo>
                <a:lnTo>
                  <a:pt x="1922209" y="4439320"/>
                </a:lnTo>
                <a:lnTo>
                  <a:pt x="1823886" y="4386471"/>
                </a:lnTo>
                <a:lnTo>
                  <a:pt x="1799305" y="4444236"/>
                </a:lnTo>
                <a:lnTo>
                  <a:pt x="1705899" y="4386471"/>
                </a:lnTo>
                <a:lnTo>
                  <a:pt x="1676402" y="4447923"/>
                </a:lnTo>
                <a:lnTo>
                  <a:pt x="1587912" y="4386471"/>
                </a:lnTo>
                <a:lnTo>
                  <a:pt x="1554260" y="4446812"/>
                </a:lnTo>
                <a:lnTo>
                  <a:pt x="1477299" y="4385243"/>
                </a:lnTo>
                <a:lnTo>
                  <a:pt x="1440428" y="4444236"/>
                </a:lnTo>
                <a:lnTo>
                  <a:pt x="1557185" y="4537643"/>
                </a:lnTo>
                <a:lnTo>
                  <a:pt x="1593646" y="4479305"/>
                </a:lnTo>
                <a:lnTo>
                  <a:pt x="1678860" y="4538871"/>
                </a:lnTo>
                <a:lnTo>
                  <a:pt x="1712043" y="4478649"/>
                </a:lnTo>
                <a:lnTo>
                  <a:pt x="1809138" y="4538871"/>
                </a:lnTo>
                <a:lnTo>
                  <a:pt x="1836176" y="4483565"/>
                </a:lnTo>
                <a:lnTo>
                  <a:pt x="1939415" y="4538871"/>
                </a:lnTo>
                <a:lnTo>
                  <a:pt x="1961538" y="4487252"/>
                </a:lnTo>
                <a:lnTo>
                  <a:pt x="2069693" y="4538871"/>
                </a:lnTo>
                <a:lnTo>
                  <a:pt x="2086899" y="4492168"/>
                </a:lnTo>
                <a:lnTo>
                  <a:pt x="2198741" y="4538871"/>
                </a:lnTo>
                <a:lnTo>
                  <a:pt x="2212261" y="4495856"/>
                </a:lnTo>
                <a:lnTo>
                  <a:pt x="2327790" y="4538871"/>
                </a:lnTo>
                <a:lnTo>
                  <a:pt x="2338851" y="4500772"/>
                </a:lnTo>
                <a:lnTo>
                  <a:pt x="2458067" y="4538871"/>
                </a:lnTo>
                <a:lnTo>
                  <a:pt x="2466670" y="4504458"/>
                </a:lnTo>
                <a:lnTo>
                  <a:pt x="2588345" y="4538871"/>
                </a:lnTo>
                <a:lnTo>
                  <a:pt x="2594490" y="4509374"/>
                </a:lnTo>
                <a:lnTo>
                  <a:pt x="2717393" y="4538871"/>
                </a:lnTo>
                <a:lnTo>
                  <a:pt x="2722309" y="4513062"/>
                </a:lnTo>
                <a:lnTo>
                  <a:pt x="2847670" y="4538871"/>
                </a:lnTo>
                <a:lnTo>
                  <a:pt x="2851358" y="4516749"/>
                </a:lnTo>
                <a:lnTo>
                  <a:pt x="2977948" y="4538871"/>
                </a:lnTo>
                <a:lnTo>
                  <a:pt x="2980406" y="4520436"/>
                </a:lnTo>
                <a:lnTo>
                  <a:pt x="3106997" y="4538871"/>
                </a:lnTo>
                <a:lnTo>
                  <a:pt x="3108226" y="4522894"/>
                </a:lnTo>
                <a:lnTo>
                  <a:pt x="3236045" y="4538871"/>
                </a:lnTo>
                <a:lnTo>
                  <a:pt x="3237275" y="4526581"/>
                </a:lnTo>
                <a:lnTo>
                  <a:pt x="3366323" y="4538871"/>
                </a:lnTo>
                <a:lnTo>
                  <a:pt x="3367552" y="4529039"/>
                </a:lnTo>
                <a:lnTo>
                  <a:pt x="3496600" y="4538871"/>
                </a:lnTo>
                <a:lnTo>
                  <a:pt x="3496600" y="4531497"/>
                </a:lnTo>
                <a:lnTo>
                  <a:pt x="3625649" y="4538871"/>
                </a:lnTo>
                <a:lnTo>
                  <a:pt x="3625649" y="4533955"/>
                </a:lnTo>
                <a:lnTo>
                  <a:pt x="3634252" y="4533955"/>
                </a:lnTo>
                <a:lnTo>
                  <a:pt x="3714140" y="4536413"/>
                </a:lnTo>
                <a:lnTo>
                  <a:pt x="3714140" y="4537643"/>
                </a:lnTo>
                <a:lnTo>
                  <a:pt x="5699030" y="4579430"/>
                </a:lnTo>
                <a:lnTo>
                  <a:pt x="3714140" y="4579430"/>
                </a:lnTo>
                <a:lnTo>
                  <a:pt x="3714140" y="4581888"/>
                </a:lnTo>
                <a:lnTo>
                  <a:pt x="3596153" y="4579430"/>
                </a:lnTo>
                <a:lnTo>
                  <a:pt x="3596153" y="4583116"/>
                </a:lnTo>
                <a:lnTo>
                  <a:pt x="3478165" y="4579430"/>
                </a:lnTo>
                <a:lnTo>
                  <a:pt x="3478165" y="4585575"/>
                </a:lnTo>
                <a:lnTo>
                  <a:pt x="3360178" y="4579430"/>
                </a:lnTo>
                <a:lnTo>
                  <a:pt x="3360178" y="4588033"/>
                </a:lnTo>
                <a:lnTo>
                  <a:pt x="3242191" y="4579430"/>
                </a:lnTo>
                <a:lnTo>
                  <a:pt x="3242191" y="4590491"/>
                </a:lnTo>
                <a:lnTo>
                  <a:pt x="3124204" y="4579430"/>
                </a:lnTo>
                <a:lnTo>
                  <a:pt x="3122974" y="4594178"/>
                </a:lnTo>
                <a:lnTo>
                  <a:pt x="3004987" y="4579430"/>
                </a:lnTo>
                <a:lnTo>
                  <a:pt x="3003758" y="4596636"/>
                </a:lnTo>
                <a:lnTo>
                  <a:pt x="2887000" y="4579430"/>
                </a:lnTo>
                <a:lnTo>
                  <a:pt x="2884541" y="4600323"/>
                </a:lnTo>
                <a:lnTo>
                  <a:pt x="2769012" y="4579430"/>
                </a:lnTo>
                <a:lnTo>
                  <a:pt x="2765326" y="4602781"/>
                </a:lnTo>
                <a:lnTo>
                  <a:pt x="2651025" y="4579430"/>
                </a:lnTo>
                <a:lnTo>
                  <a:pt x="2646109" y="4606469"/>
                </a:lnTo>
                <a:lnTo>
                  <a:pt x="2533038" y="4579430"/>
                </a:lnTo>
                <a:lnTo>
                  <a:pt x="2526893" y="4610155"/>
                </a:lnTo>
                <a:lnTo>
                  <a:pt x="2415051" y="4579430"/>
                </a:lnTo>
                <a:lnTo>
                  <a:pt x="2407676" y="4615071"/>
                </a:lnTo>
                <a:lnTo>
                  <a:pt x="2297063" y="4579430"/>
                </a:lnTo>
                <a:lnTo>
                  <a:pt x="2287231" y="4618759"/>
                </a:lnTo>
                <a:lnTo>
                  <a:pt x="2179076" y="4579430"/>
                </a:lnTo>
                <a:lnTo>
                  <a:pt x="2166786" y="4623675"/>
                </a:lnTo>
                <a:lnTo>
                  <a:pt x="2061089" y="4579430"/>
                </a:lnTo>
                <a:lnTo>
                  <a:pt x="2045112" y="4628591"/>
                </a:lnTo>
                <a:lnTo>
                  <a:pt x="1943102" y="4579430"/>
                </a:lnTo>
                <a:lnTo>
                  <a:pt x="1923437" y="4632278"/>
                </a:lnTo>
                <a:lnTo>
                  <a:pt x="1825114" y="4579430"/>
                </a:lnTo>
                <a:lnTo>
                  <a:pt x="1800534" y="4637194"/>
                </a:lnTo>
                <a:lnTo>
                  <a:pt x="1707127" y="4579430"/>
                </a:lnTo>
                <a:lnTo>
                  <a:pt x="1677630" y="4642110"/>
                </a:lnTo>
                <a:lnTo>
                  <a:pt x="1589140" y="4580658"/>
                </a:lnTo>
                <a:lnTo>
                  <a:pt x="1554636" y="4642529"/>
                </a:lnTo>
                <a:lnTo>
                  <a:pt x="1477299" y="4580658"/>
                </a:lnTo>
                <a:lnTo>
                  <a:pt x="1440428" y="4639652"/>
                </a:lnTo>
                <a:lnTo>
                  <a:pt x="1557185" y="4733059"/>
                </a:lnTo>
                <a:lnTo>
                  <a:pt x="1594056" y="4674065"/>
                </a:lnTo>
                <a:lnTo>
                  <a:pt x="1582707" y="4664986"/>
                </a:lnTo>
                <a:lnTo>
                  <a:pt x="1680088" y="4733059"/>
                </a:lnTo>
                <a:lnTo>
                  <a:pt x="1713273" y="4672837"/>
                </a:lnTo>
                <a:lnTo>
                  <a:pt x="1810366" y="4733059"/>
                </a:lnTo>
                <a:lnTo>
                  <a:pt x="1837405" y="4677753"/>
                </a:lnTo>
                <a:lnTo>
                  <a:pt x="1940644" y="4733059"/>
                </a:lnTo>
                <a:lnTo>
                  <a:pt x="1962766" y="4681439"/>
                </a:lnTo>
                <a:lnTo>
                  <a:pt x="2070921" y="4733059"/>
                </a:lnTo>
                <a:lnTo>
                  <a:pt x="2088128" y="4686355"/>
                </a:lnTo>
                <a:lnTo>
                  <a:pt x="2199970" y="4733059"/>
                </a:lnTo>
                <a:lnTo>
                  <a:pt x="2213489" y="4690043"/>
                </a:lnTo>
                <a:lnTo>
                  <a:pt x="2329018" y="4733059"/>
                </a:lnTo>
                <a:lnTo>
                  <a:pt x="2340080" y="4694959"/>
                </a:lnTo>
                <a:lnTo>
                  <a:pt x="2459296" y="4733059"/>
                </a:lnTo>
                <a:lnTo>
                  <a:pt x="2467900" y="4698646"/>
                </a:lnTo>
                <a:lnTo>
                  <a:pt x="2589573" y="4733059"/>
                </a:lnTo>
                <a:lnTo>
                  <a:pt x="2595719" y="4703562"/>
                </a:lnTo>
                <a:lnTo>
                  <a:pt x="2718623" y="4733059"/>
                </a:lnTo>
                <a:lnTo>
                  <a:pt x="2723539" y="4707249"/>
                </a:lnTo>
                <a:lnTo>
                  <a:pt x="2848900" y="4733059"/>
                </a:lnTo>
                <a:lnTo>
                  <a:pt x="2852587" y="4710936"/>
                </a:lnTo>
                <a:lnTo>
                  <a:pt x="2979178" y="4733059"/>
                </a:lnTo>
                <a:lnTo>
                  <a:pt x="2981636" y="4714624"/>
                </a:lnTo>
                <a:lnTo>
                  <a:pt x="3108226" y="4733059"/>
                </a:lnTo>
                <a:lnTo>
                  <a:pt x="3109455" y="4717082"/>
                </a:lnTo>
                <a:lnTo>
                  <a:pt x="3237275" y="4733059"/>
                </a:lnTo>
                <a:lnTo>
                  <a:pt x="3238503" y="4720768"/>
                </a:lnTo>
                <a:lnTo>
                  <a:pt x="3367552" y="4733059"/>
                </a:lnTo>
                <a:lnTo>
                  <a:pt x="3368781" y="4723226"/>
                </a:lnTo>
                <a:lnTo>
                  <a:pt x="3497830" y="4733059"/>
                </a:lnTo>
                <a:lnTo>
                  <a:pt x="3497830" y="4725684"/>
                </a:lnTo>
                <a:lnTo>
                  <a:pt x="3626878" y="4733059"/>
                </a:lnTo>
                <a:lnTo>
                  <a:pt x="3626878" y="4728142"/>
                </a:lnTo>
                <a:lnTo>
                  <a:pt x="3635482" y="4728142"/>
                </a:lnTo>
                <a:lnTo>
                  <a:pt x="3715368" y="4730600"/>
                </a:lnTo>
                <a:lnTo>
                  <a:pt x="3715368" y="4731830"/>
                </a:lnTo>
                <a:lnTo>
                  <a:pt x="5694112" y="4773617"/>
                </a:lnTo>
                <a:lnTo>
                  <a:pt x="3715368" y="4773617"/>
                </a:lnTo>
                <a:lnTo>
                  <a:pt x="3715368" y="4776075"/>
                </a:lnTo>
                <a:lnTo>
                  <a:pt x="3597381" y="4773617"/>
                </a:lnTo>
                <a:lnTo>
                  <a:pt x="3597381" y="4777304"/>
                </a:lnTo>
                <a:lnTo>
                  <a:pt x="3479394" y="4773617"/>
                </a:lnTo>
                <a:lnTo>
                  <a:pt x="3479394" y="4779762"/>
                </a:lnTo>
                <a:lnTo>
                  <a:pt x="3361406" y="4773617"/>
                </a:lnTo>
                <a:lnTo>
                  <a:pt x="3361406" y="4782220"/>
                </a:lnTo>
                <a:lnTo>
                  <a:pt x="3243419" y="4773617"/>
                </a:lnTo>
                <a:lnTo>
                  <a:pt x="3243419" y="4789594"/>
                </a:lnTo>
                <a:lnTo>
                  <a:pt x="3126662" y="4778533"/>
                </a:lnTo>
                <a:lnTo>
                  <a:pt x="3125432" y="4793282"/>
                </a:lnTo>
                <a:lnTo>
                  <a:pt x="3007445" y="4778533"/>
                </a:lnTo>
                <a:lnTo>
                  <a:pt x="3006216" y="4795740"/>
                </a:lnTo>
                <a:lnTo>
                  <a:pt x="2889458" y="4778533"/>
                </a:lnTo>
                <a:lnTo>
                  <a:pt x="2887000" y="4799426"/>
                </a:lnTo>
                <a:lnTo>
                  <a:pt x="2771470" y="4778533"/>
                </a:lnTo>
                <a:lnTo>
                  <a:pt x="2767784" y="4801884"/>
                </a:lnTo>
                <a:lnTo>
                  <a:pt x="2653483" y="4778533"/>
                </a:lnTo>
                <a:lnTo>
                  <a:pt x="2648567" y="4805572"/>
                </a:lnTo>
                <a:lnTo>
                  <a:pt x="2535496" y="4778533"/>
                </a:lnTo>
                <a:lnTo>
                  <a:pt x="2529351" y="4809259"/>
                </a:lnTo>
                <a:lnTo>
                  <a:pt x="2417509" y="4778533"/>
                </a:lnTo>
                <a:lnTo>
                  <a:pt x="2410134" y="4814175"/>
                </a:lnTo>
                <a:lnTo>
                  <a:pt x="2299521" y="4778533"/>
                </a:lnTo>
                <a:lnTo>
                  <a:pt x="2289689" y="4817863"/>
                </a:lnTo>
                <a:lnTo>
                  <a:pt x="2181534" y="4778533"/>
                </a:lnTo>
                <a:lnTo>
                  <a:pt x="2169244" y="4822779"/>
                </a:lnTo>
                <a:lnTo>
                  <a:pt x="2063547" y="4778533"/>
                </a:lnTo>
                <a:lnTo>
                  <a:pt x="2047570" y="4827695"/>
                </a:lnTo>
                <a:lnTo>
                  <a:pt x="1945560" y="4778533"/>
                </a:lnTo>
                <a:lnTo>
                  <a:pt x="1925895" y="4832611"/>
                </a:lnTo>
                <a:lnTo>
                  <a:pt x="1827572" y="4778533"/>
                </a:lnTo>
                <a:lnTo>
                  <a:pt x="1802992" y="4836297"/>
                </a:lnTo>
                <a:lnTo>
                  <a:pt x="1709585" y="4778533"/>
                </a:lnTo>
                <a:lnTo>
                  <a:pt x="1680088" y="4841213"/>
                </a:lnTo>
                <a:lnTo>
                  <a:pt x="1591598" y="4778533"/>
                </a:lnTo>
                <a:lnTo>
                  <a:pt x="1557758" y="4839214"/>
                </a:lnTo>
                <a:lnTo>
                  <a:pt x="1477299" y="4774846"/>
                </a:lnTo>
                <a:lnTo>
                  <a:pt x="1440428" y="4833839"/>
                </a:lnTo>
                <a:lnTo>
                  <a:pt x="1557185" y="4927246"/>
                </a:lnTo>
                <a:lnTo>
                  <a:pt x="1593698" y="4868825"/>
                </a:lnTo>
                <a:lnTo>
                  <a:pt x="1682547" y="4930934"/>
                </a:lnTo>
                <a:lnTo>
                  <a:pt x="1715731" y="4870710"/>
                </a:lnTo>
                <a:lnTo>
                  <a:pt x="1812824" y="4930934"/>
                </a:lnTo>
                <a:lnTo>
                  <a:pt x="1839863" y="4875626"/>
                </a:lnTo>
                <a:lnTo>
                  <a:pt x="1943102" y="4930934"/>
                </a:lnTo>
                <a:lnTo>
                  <a:pt x="1965224" y="4879314"/>
                </a:lnTo>
                <a:lnTo>
                  <a:pt x="2073379" y="4930934"/>
                </a:lnTo>
                <a:lnTo>
                  <a:pt x="2090586" y="4884230"/>
                </a:lnTo>
                <a:lnTo>
                  <a:pt x="2202428" y="4930934"/>
                </a:lnTo>
                <a:lnTo>
                  <a:pt x="2215947" y="4887917"/>
                </a:lnTo>
                <a:lnTo>
                  <a:pt x="2331476" y="4930934"/>
                </a:lnTo>
                <a:lnTo>
                  <a:pt x="2342538" y="4892833"/>
                </a:lnTo>
                <a:lnTo>
                  <a:pt x="2461754" y="4930934"/>
                </a:lnTo>
                <a:lnTo>
                  <a:pt x="2470358" y="4896521"/>
                </a:lnTo>
                <a:lnTo>
                  <a:pt x="2590803" y="4930934"/>
                </a:lnTo>
                <a:lnTo>
                  <a:pt x="2596948" y="4901437"/>
                </a:lnTo>
                <a:lnTo>
                  <a:pt x="2719851" y="4930934"/>
                </a:lnTo>
                <a:lnTo>
                  <a:pt x="2724767" y="4905123"/>
                </a:lnTo>
                <a:lnTo>
                  <a:pt x="2850129" y="4930934"/>
                </a:lnTo>
                <a:lnTo>
                  <a:pt x="2853816" y="4908811"/>
                </a:lnTo>
                <a:lnTo>
                  <a:pt x="2980406" y="4930934"/>
                </a:lnTo>
                <a:lnTo>
                  <a:pt x="2982864" y="4912497"/>
                </a:lnTo>
                <a:lnTo>
                  <a:pt x="3109455" y="4930934"/>
                </a:lnTo>
                <a:lnTo>
                  <a:pt x="3110684" y="4914956"/>
                </a:lnTo>
                <a:lnTo>
                  <a:pt x="3238503" y="4930934"/>
                </a:lnTo>
                <a:lnTo>
                  <a:pt x="3239733" y="4918643"/>
                </a:lnTo>
                <a:lnTo>
                  <a:pt x="3368781" y="4930934"/>
                </a:lnTo>
                <a:lnTo>
                  <a:pt x="3370010" y="4921101"/>
                </a:lnTo>
                <a:lnTo>
                  <a:pt x="3499058" y="4930934"/>
                </a:lnTo>
                <a:lnTo>
                  <a:pt x="3499058" y="4923559"/>
                </a:lnTo>
                <a:lnTo>
                  <a:pt x="3628107" y="4930934"/>
                </a:lnTo>
                <a:lnTo>
                  <a:pt x="3628107" y="4926017"/>
                </a:lnTo>
                <a:lnTo>
                  <a:pt x="3636710" y="4926017"/>
                </a:lnTo>
                <a:lnTo>
                  <a:pt x="3716598" y="4928476"/>
                </a:lnTo>
                <a:lnTo>
                  <a:pt x="3716598" y="4929704"/>
                </a:lnTo>
                <a:lnTo>
                  <a:pt x="5721151" y="4971491"/>
                </a:lnTo>
                <a:lnTo>
                  <a:pt x="3717826" y="4971491"/>
                </a:lnTo>
                <a:lnTo>
                  <a:pt x="3717826" y="4972721"/>
                </a:lnTo>
                <a:lnTo>
                  <a:pt x="3599839" y="4970263"/>
                </a:lnTo>
                <a:lnTo>
                  <a:pt x="3599839" y="4973949"/>
                </a:lnTo>
                <a:lnTo>
                  <a:pt x="3481852" y="4970263"/>
                </a:lnTo>
                <a:lnTo>
                  <a:pt x="3481852" y="4976407"/>
                </a:lnTo>
                <a:lnTo>
                  <a:pt x="3363865" y="4970263"/>
                </a:lnTo>
                <a:lnTo>
                  <a:pt x="3363865" y="4978865"/>
                </a:lnTo>
                <a:lnTo>
                  <a:pt x="3245877" y="4970263"/>
                </a:lnTo>
                <a:lnTo>
                  <a:pt x="3245877" y="4981323"/>
                </a:lnTo>
                <a:lnTo>
                  <a:pt x="3127890" y="4970263"/>
                </a:lnTo>
                <a:lnTo>
                  <a:pt x="3126662" y="4985011"/>
                </a:lnTo>
                <a:lnTo>
                  <a:pt x="3008674" y="4970263"/>
                </a:lnTo>
                <a:lnTo>
                  <a:pt x="3007445" y="4987469"/>
                </a:lnTo>
                <a:lnTo>
                  <a:pt x="2890687" y="4970263"/>
                </a:lnTo>
                <a:lnTo>
                  <a:pt x="2888229" y="4991156"/>
                </a:lnTo>
                <a:lnTo>
                  <a:pt x="2772700" y="4970263"/>
                </a:lnTo>
                <a:lnTo>
                  <a:pt x="2769012" y="4994843"/>
                </a:lnTo>
                <a:lnTo>
                  <a:pt x="2654713" y="4970263"/>
                </a:lnTo>
                <a:lnTo>
                  <a:pt x="2649797" y="4997301"/>
                </a:lnTo>
                <a:lnTo>
                  <a:pt x="2536726" y="4970263"/>
                </a:lnTo>
                <a:lnTo>
                  <a:pt x="2530580" y="5002218"/>
                </a:lnTo>
                <a:lnTo>
                  <a:pt x="2418738" y="4970263"/>
                </a:lnTo>
                <a:lnTo>
                  <a:pt x="2411364" y="5005904"/>
                </a:lnTo>
                <a:lnTo>
                  <a:pt x="2300751" y="4970263"/>
                </a:lnTo>
                <a:lnTo>
                  <a:pt x="2290919" y="5009592"/>
                </a:lnTo>
                <a:lnTo>
                  <a:pt x="2182764" y="4970263"/>
                </a:lnTo>
                <a:lnTo>
                  <a:pt x="2170474" y="5014508"/>
                </a:lnTo>
                <a:lnTo>
                  <a:pt x="2064777" y="4970263"/>
                </a:lnTo>
                <a:lnTo>
                  <a:pt x="2048799" y="5019424"/>
                </a:lnTo>
                <a:lnTo>
                  <a:pt x="1946789" y="4970263"/>
                </a:lnTo>
                <a:lnTo>
                  <a:pt x="1927125" y="5023110"/>
                </a:lnTo>
                <a:lnTo>
                  <a:pt x="1828802" y="4970263"/>
                </a:lnTo>
                <a:lnTo>
                  <a:pt x="1804221" y="5028027"/>
                </a:lnTo>
                <a:lnTo>
                  <a:pt x="1710815" y="4970263"/>
                </a:lnTo>
                <a:lnTo>
                  <a:pt x="1681318" y="5032943"/>
                </a:lnTo>
                <a:lnTo>
                  <a:pt x="1592828" y="4970263"/>
                </a:lnTo>
                <a:lnTo>
                  <a:pt x="1557659" y="5033322"/>
                </a:lnTo>
                <a:lnTo>
                  <a:pt x="1477299" y="4969033"/>
                </a:lnTo>
                <a:lnTo>
                  <a:pt x="1440428" y="5028027"/>
                </a:lnTo>
                <a:lnTo>
                  <a:pt x="1557185" y="5121433"/>
                </a:lnTo>
                <a:lnTo>
                  <a:pt x="1594056" y="5062440"/>
                </a:lnTo>
                <a:lnTo>
                  <a:pt x="1569358" y="5042682"/>
                </a:lnTo>
                <a:lnTo>
                  <a:pt x="1683776" y="5122663"/>
                </a:lnTo>
                <a:lnTo>
                  <a:pt x="1716959" y="5062440"/>
                </a:lnTo>
                <a:lnTo>
                  <a:pt x="1814054" y="5122663"/>
                </a:lnTo>
                <a:lnTo>
                  <a:pt x="1841092" y="5067356"/>
                </a:lnTo>
                <a:lnTo>
                  <a:pt x="1944331" y="5122663"/>
                </a:lnTo>
                <a:lnTo>
                  <a:pt x="1966454" y="5071043"/>
                </a:lnTo>
                <a:lnTo>
                  <a:pt x="2074609" y="5122663"/>
                </a:lnTo>
                <a:lnTo>
                  <a:pt x="2091815" y="5075960"/>
                </a:lnTo>
                <a:lnTo>
                  <a:pt x="2203657" y="5122663"/>
                </a:lnTo>
                <a:lnTo>
                  <a:pt x="2217177" y="5079646"/>
                </a:lnTo>
                <a:lnTo>
                  <a:pt x="2332706" y="5122663"/>
                </a:lnTo>
                <a:lnTo>
                  <a:pt x="2343767" y="5084562"/>
                </a:lnTo>
                <a:lnTo>
                  <a:pt x="2462984" y="5122663"/>
                </a:lnTo>
                <a:lnTo>
                  <a:pt x="2471586" y="5088250"/>
                </a:lnTo>
                <a:lnTo>
                  <a:pt x="2593261" y="5122663"/>
                </a:lnTo>
                <a:lnTo>
                  <a:pt x="2599406" y="5093166"/>
                </a:lnTo>
                <a:lnTo>
                  <a:pt x="2722309" y="5122663"/>
                </a:lnTo>
                <a:lnTo>
                  <a:pt x="2727225" y="5096852"/>
                </a:lnTo>
                <a:lnTo>
                  <a:pt x="2852587" y="5122663"/>
                </a:lnTo>
                <a:lnTo>
                  <a:pt x="2856274" y="5100540"/>
                </a:lnTo>
                <a:lnTo>
                  <a:pt x="2982864" y="5122663"/>
                </a:lnTo>
                <a:lnTo>
                  <a:pt x="2985322" y="5104227"/>
                </a:lnTo>
                <a:lnTo>
                  <a:pt x="3111913" y="5122663"/>
                </a:lnTo>
                <a:lnTo>
                  <a:pt x="3113142" y="5106685"/>
                </a:lnTo>
                <a:lnTo>
                  <a:pt x="3240961" y="5122663"/>
                </a:lnTo>
                <a:lnTo>
                  <a:pt x="3242191" y="5110372"/>
                </a:lnTo>
                <a:lnTo>
                  <a:pt x="3371239" y="5122663"/>
                </a:lnTo>
                <a:lnTo>
                  <a:pt x="3372468" y="5112831"/>
                </a:lnTo>
                <a:lnTo>
                  <a:pt x="3501516" y="5122663"/>
                </a:lnTo>
                <a:lnTo>
                  <a:pt x="3501516" y="5115289"/>
                </a:lnTo>
                <a:lnTo>
                  <a:pt x="3630565" y="5122663"/>
                </a:lnTo>
                <a:lnTo>
                  <a:pt x="3630565" y="5117747"/>
                </a:lnTo>
                <a:lnTo>
                  <a:pt x="3639168" y="5117747"/>
                </a:lnTo>
                <a:lnTo>
                  <a:pt x="3719056" y="5120205"/>
                </a:lnTo>
                <a:lnTo>
                  <a:pt x="3719056" y="5121433"/>
                </a:lnTo>
                <a:lnTo>
                  <a:pt x="5716236" y="5163220"/>
                </a:lnTo>
                <a:lnTo>
                  <a:pt x="3719056" y="5163220"/>
                </a:lnTo>
                <a:lnTo>
                  <a:pt x="3719056" y="5165678"/>
                </a:lnTo>
                <a:lnTo>
                  <a:pt x="3601069" y="5163220"/>
                </a:lnTo>
                <a:lnTo>
                  <a:pt x="3601069" y="5166908"/>
                </a:lnTo>
                <a:lnTo>
                  <a:pt x="3483081" y="5163220"/>
                </a:lnTo>
                <a:lnTo>
                  <a:pt x="3483081" y="5169366"/>
                </a:lnTo>
                <a:lnTo>
                  <a:pt x="3365094" y="5163220"/>
                </a:lnTo>
                <a:lnTo>
                  <a:pt x="3365094" y="5171824"/>
                </a:lnTo>
                <a:lnTo>
                  <a:pt x="3247107" y="5163220"/>
                </a:lnTo>
                <a:lnTo>
                  <a:pt x="3247107" y="5174282"/>
                </a:lnTo>
                <a:lnTo>
                  <a:pt x="3129120" y="5163220"/>
                </a:lnTo>
                <a:lnTo>
                  <a:pt x="3127890" y="5177969"/>
                </a:lnTo>
                <a:lnTo>
                  <a:pt x="3009903" y="5163220"/>
                </a:lnTo>
                <a:lnTo>
                  <a:pt x="3008674" y="5180427"/>
                </a:lnTo>
                <a:lnTo>
                  <a:pt x="2891916" y="5163220"/>
                </a:lnTo>
                <a:lnTo>
                  <a:pt x="2889458" y="5184115"/>
                </a:lnTo>
                <a:lnTo>
                  <a:pt x="2773928" y="5163220"/>
                </a:lnTo>
                <a:lnTo>
                  <a:pt x="2770242" y="5187801"/>
                </a:lnTo>
                <a:lnTo>
                  <a:pt x="2655941" y="5163220"/>
                </a:lnTo>
                <a:lnTo>
                  <a:pt x="2651025" y="5190259"/>
                </a:lnTo>
                <a:lnTo>
                  <a:pt x="2537954" y="5163220"/>
                </a:lnTo>
                <a:lnTo>
                  <a:pt x="2531809" y="5195175"/>
                </a:lnTo>
                <a:lnTo>
                  <a:pt x="2419967" y="5163220"/>
                </a:lnTo>
                <a:lnTo>
                  <a:pt x="2412593" y="5198863"/>
                </a:lnTo>
                <a:lnTo>
                  <a:pt x="2301980" y="5163220"/>
                </a:lnTo>
                <a:lnTo>
                  <a:pt x="2292147" y="5202549"/>
                </a:lnTo>
                <a:lnTo>
                  <a:pt x="2183992" y="5163220"/>
                </a:lnTo>
                <a:lnTo>
                  <a:pt x="2171702" y="5207466"/>
                </a:lnTo>
                <a:lnTo>
                  <a:pt x="2066005" y="5163220"/>
                </a:lnTo>
                <a:lnTo>
                  <a:pt x="2050028" y="5212382"/>
                </a:lnTo>
                <a:lnTo>
                  <a:pt x="1948018" y="5163220"/>
                </a:lnTo>
                <a:lnTo>
                  <a:pt x="1928353" y="5216069"/>
                </a:lnTo>
                <a:lnTo>
                  <a:pt x="1830031" y="5163220"/>
                </a:lnTo>
                <a:lnTo>
                  <a:pt x="1805450" y="5220986"/>
                </a:lnTo>
                <a:lnTo>
                  <a:pt x="1712043" y="5163220"/>
                </a:lnTo>
                <a:lnTo>
                  <a:pt x="1682547" y="5225902"/>
                </a:lnTo>
                <a:lnTo>
                  <a:pt x="1594056" y="5163220"/>
                </a:lnTo>
                <a:lnTo>
                  <a:pt x="1558415" y="5227130"/>
                </a:lnTo>
                <a:lnTo>
                  <a:pt x="1685005" y="5315620"/>
                </a:lnTo>
                <a:lnTo>
                  <a:pt x="1718189" y="5255398"/>
                </a:lnTo>
                <a:lnTo>
                  <a:pt x="1815282" y="5315620"/>
                </a:lnTo>
                <a:lnTo>
                  <a:pt x="1842321" y="5260315"/>
                </a:lnTo>
                <a:lnTo>
                  <a:pt x="1945560" y="5315620"/>
                </a:lnTo>
                <a:lnTo>
                  <a:pt x="1967682" y="5264001"/>
                </a:lnTo>
                <a:lnTo>
                  <a:pt x="2075837" y="5315620"/>
                </a:lnTo>
                <a:lnTo>
                  <a:pt x="2093044" y="5268917"/>
                </a:lnTo>
                <a:lnTo>
                  <a:pt x="2204887" y="5315620"/>
                </a:lnTo>
                <a:lnTo>
                  <a:pt x="2218405" y="5272605"/>
                </a:lnTo>
                <a:lnTo>
                  <a:pt x="2333934" y="5315620"/>
                </a:lnTo>
                <a:lnTo>
                  <a:pt x="2344996" y="5277521"/>
                </a:lnTo>
                <a:lnTo>
                  <a:pt x="2464212" y="5315620"/>
                </a:lnTo>
                <a:lnTo>
                  <a:pt x="2472816" y="5281208"/>
                </a:lnTo>
                <a:lnTo>
                  <a:pt x="2594490" y="5315620"/>
                </a:lnTo>
                <a:lnTo>
                  <a:pt x="2600635" y="5286124"/>
                </a:lnTo>
                <a:lnTo>
                  <a:pt x="2723539" y="5315620"/>
                </a:lnTo>
                <a:lnTo>
                  <a:pt x="2728455" y="5289811"/>
                </a:lnTo>
                <a:lnTo>
                  <a:pt x="2853816" y="5316850"/>
                </a:lnTo>
                <a:lnTo>
                  <a:pt x="2857503" y="5294728"/>
                </a:lnTo>
                <a:lnTo>
                  <a:pt x="2984094" y="5316850"/>
                </a:lnTo>
                <a:lnTo>
                  <a:pt x="2986552" y="5298414"/>
                </a:lnTo>
                <a:lnTo>
                  <a:pt x="3113142" y="5316850"/>
                </a:lnTo>
                <a:lnTo>
                  <a:pt x="3114371" y="5300872"/>
                </a:lnTo>
                <a:lnTo>
                  <a:pt x="3242191" y="5316850"/>
                </a:lnTo>
                <a:lnTo>
                  <a:pt x="3243419" y="5304560"/>
                </a:lnTo>
                <a:lnTo>
                  <a:pt x="3372468" y="5316850"/>
                </a:lnTo>
                <a:lnTo>
                  <a:pt x="3373697" y="5307018"/>
                </a:lnTo>
                <a:lnTo>
                  <a:pt x="3502746" y="5316850"/>
                </a:lnTo>
                <a:lnTo>
                  <a:pt x="3502746" y="5309476"/>
                </a:lnTo>
                <a:lnTo>
                  <a:pt x="3631794" y="5316850"/>
                </a:lnTo>
                <a:lnTo>
                  <a:pt x="3631794" y="5311934"/>
                </a:lnTo>
                <a:lnTo>
                  <a:pt x="3640398" y="5311934"/>
                </a:lnTo>
                <a:lnTo>
                  <a:pt x="3720284" y="5314392"/>
                </a:lnTo>
                <a:lnTo>
                  <a:pt x="3720284" y="5318079"/>
                </a:lnTo>
                <a:lnTo>
                  <a:pt x="5611768" y="5353721"/>
                </a:lnTo>
                <a:lnTo>
                  <a:pt x="3720284" y="5353721"/>
                </a:lnTo>
                <a:lnTo>
                  <a:pt x="3720284" y="5354950"/>
                </a:lnTo>
                <a:lnTo>
                  <a:pt x="3602297" y="5352493"/>
                </a:lnTo>
                <a:lnTo>
                  <a:pt x="3602297" y="5356179"/>
                </a:lnTo>
                <a:lnTo>
                  <a:pt x="3484310" y="5352493"/>
                </a:lnTo>
                <a:lnTo>
                  <a:pt x="3484310" y="5358637"/>
                </a:lnTo>
                <a:lnTo>
                  <a:pt x="3366323" y="5352493"/>
                </a:lnTo>
                <a:lnTo>
                  <a:pt x="3366323" y="5361095"/>
                </a:lnTo>
                <a:lnTo>
                  <a:pt x="3248335" y="5352493"/>
                </a:lnTo>
                <a:lnTo>
                  <a:pt x="3248335" y="5363553"/>
                </a:lnTo>
                <a:lnTo>
                  <a:pt x="3130348" y="5352493"/>
                </a:lnTo>
                <a:lnTo>
                  <a:pt x="3129120" y="5367240"/>
                </a:lnTo>
                <a:lnTo>
                  <a:pt x="3011133" y="5352493"/>
                </a:lnTo>
                <a:lnTo>
                  <a:pt x="3009903" y="5369698"/>
                </a:lnTo>
                <a:lnTo>
                  <a:pt x="2893145" y="5352493"/>
                </a:lnTo>
                <a:lnTo>
                  <a:pt x="2890687" y="5373386"/>
                </a:lnTo>
                <a:lnTo>
                  <a:pt x="2775158" y="5352493"/>
                </a:lnTo>
                <a:lnTo>
                  <a:pt x="2771470" y="5375844"/>
                </a:lnTo>
                <a:lnTo>
                  <a:pt x="2657171" y="5352493"/>
                </a:lnTo>
                <a:lnTo>
                  <a:pt x="2652255" y="5379530"/>
                </a:lnTo>
                <a:lnTo>
                  <a:pt x="2539184" y="5352493"/>
                </a:lnTo>
                <a:lnTo>
                  <a:pt x="2533038" y="5383218"/>
                </a:lnTo>
                <a:lnTo>
                  <a:pt x="2421196" y="5352493"/>
                </a:lnTo>
                <a:lnTo>
                  <a:pt x="2413822" y="5388134"/>
                </a:lnTo>
                <a:lnTo>
                  <a:pt x="2303209" y="5352493"/>
                </a:lnTo>
                <a:lnTo>
                  <a:pt x="2293377" y="5391821"/>
                </a:lnTo>
                <a:lnTo>
                  <a:pt x="2185222" y="5352493"/>
                </a:lnTo>
                <a:lnTo>
                  <a:pt x="2172932" y="5396738"/>
                </a:lnTo>
                <a:lnTo>
                  <a:pt x="2067235" y="5352493"/>
                </a:lnTo>
                <a:lnTo>
                  <a:pt x="2051257" y="5401654"/>
                </a:lnTo>
                <a:lnTo>
                  <a:pt x="1949247" y="5352493"/>
                </a:lnTo>
                <a:lnTo>
                  <a:pt x="1929583" y="5405341"/>
                </a:lnTo>
                <a:lnTo>
                  <a:pt x="1831260" y="5352493"/>
                </a:lnTo>
                <a:lnTo>
                  <a:pt x="1806680" y="5410257"/>
                </a:lnTo>
                <a:lnTo>
                  <a:pt x="1713273" y="5352493"/>
                </a:lnTo>
                <a:lnTo>
                  <a:pt x="1683776" y="5415173"/>
                </a:lnTo>
                <a:lnTo>
                  <a:pt x="1595286" y="5353721"/>
                </a:lnTo>
                <a:lnTo>
                  <a:pt x="1559643" y="5417631"/>
                </a:lnTo>
                <a:lnTo>
                  <a:pt x="1686234" y="5506121"/>
                </a:lnTo>
                <a:lnTo>
                  <a:pt x="1719418" y="5445899"/>
                </a:lnTo>
                <a:lnTo>
                  <a:pt x="1816512" y="5506121"/>
                </a:lnTo>
                <a:lnTo>
                  <a:pt x="1843551" y="5450815"/>
                </a:lnTo>
                <a:lnTo>
                  <a:pt x="1946789" y="5506121"/>
                </a:lnTo>
                <a:lnTo>
                  <a:pt x="1968912" y="5454502"/>
                </a:lnTo>
                <a:lnTo>
                  <a:pt x="2077067" y="5506121"/>
                </a:lnTo>
                <a:lnTo>
                  <a:pt x="2094273" y="5459418"/>
                </a:lnTo>
                <a:lnTo>
                  <a:pt x="2206115" y="5506121"/>
                </a:lnTo>
                <a:lnTo>
                  <a:pt x="2219635" y="5463106"/>
                </a:lnTo>
                <a:lnTo>
                  <a:pt x="2335164" y="5506121"/>
                </a:lnTo>
                <a:lnTo>
                  <a:pt x="2346225" y="5468021"/>
                </a:lnTo>
                <a:lnTo>
                  <a:pt x="2465442" y="5506121"/>
                </a:lnTo>
                <a:lnTo>
                  <a:pt x="2474044" y="5471708"/>
                </a:lnTo>
                <a:lnTo>
                  <a:pt x="2595719" y="5506121"/>
                </a:lnTo>
                <a:lnTo>
                  <a:pt x="2601864" y="5476625"/>
                </a:lnTo>
                <a:lnTo>
                  <a:pt x="2724767" y="5506121"/>
                </a:lnTo>
                <a:lnTo>
                  <a:pt x="2729683" y="5480311"/>
                </a:lnTo>
                <a:lnTo>
                  <a:pt x="2855045" y="5506121"/>
                </a:lnTo>
                <a:lnTo>
                  <a:pt x="2858732" y="5483999"/>
                </a:lnTo>
                <a:lnTo>
                  <a:pt x="2985322" y="5506121"/>
                </a:lnTo>
                <a:lnTo>
                  <a:pt x="2987780" y="5487686"/>
                </a:lnTo>
                <a:lnTo>
                  <a:pt x="3114371" y="5506121"/>
                </a:lnTo>
                <a:lnTo>
                  <a:pt x="3115600" y="5490143"/>
                </a:lnTo>
                <a:lnTo>
                  <a:pt x="3243419" y="5506121"/>
                </a:lnTo>
                <a:lnTo>
                  <a:pt x="3244649" y="5493831"/>
                </a:lnTo>
                <a:lnTo>
                  <a:pt x="3373697" y="5506121"/>
                </a:lnTo>
                <a:lnTo>
                  <a:pt x="3374927" y="5496289"/>
                </a:lnTo>
                <a:lnTo>
                  <a:pt x="3503974" y="5506121"/>
                </a:lnTo>
                <a:lnTo>
                  <a:pt x="3503974" y="5498747"/>
                </a:lnTo>
                <a:lnTo>
                  <a:pt x="3633024" y="5506121"/>
                </a:lnTo>
                <a:lnTo>
                  <a:pt x="3633024" y="5501205"/>
                </a:lnTo>
                <a:lnTo>
                  <a:pt x="3641626" y="5501205"/>
                </a:lnTo>
                <a:lnTo>
                  <a:pt x="3721514" y="5503663"/>
                </a:lnTo>
                <a:lnTo>
                  <a:pt x="3721514" y="5504892"/>
                </a:lnTo>
                <a:lnTo>
                  <a:pt x="5766626" y="5542992"/>
                </a:lnTo>
                <a:lnTo>
                  <a:pt x="3720284" y="5542992"/>
                </a:lnTo>
                <a:lnTo>
                  <a:pt x="3720284" y="5545450"/>
                </a:lnTo>
                <a:lnTo>
                  <a:pt x="3602297" y="5542992"/>
                </a:lnTo>
                <a:lnTo>
                  <a:pt x="3602297" y="5546679"/>
                </a:lnTo>
                <a:lnTo>
                  <a:pt x="3484310" y="5542992"/>
                </a:lnTo>
                <a:lnTo>
                  <a:pt x="3484310" y="5549138"/>
                </a:lnTo>
                <a:lnTo>
                  <a:pt x="3366323" y="5542992"/>
                </a:lnTo>
                <a:lnTo>
                  <a:pt x="3366323" y="5551595"/>
                </a:lnTo>
                <a:lnTo>
                  <a:pt x="3248335" y="5542992"/>
                </a:lnTo>
                <a:lnTo>
                  <a:pt x="3248335" y="5554053"/>
                </a:lnTo>
                <a:lnTo>
                  <a:pt x="3130348" y="5542992"/>
                </a:lnTo>
                <a:lnTo>
                  <a:pt x="3129120" y="5557741"/>
                </a:lnTo>
                <a:lnTo>
                  <a:pt x="3011133" y="5542992"/>
                </a:lnTo>
                <a:lnTo>
                  <a:pt x="3009903" y="5560199"/>
                </a:lnTo>
                <a:lnTo>
                  <a:pt x="2893145" y="5542992"/>
                </a:lnTo>
                <a:lnTo>
                  <a:pt x="2890687" y="5563885"/>
                </a:lnTo>
                <a:lnTo>
                  <a:pt x="2775158" y="5542992"/>
                </a:lnTo>
                <a:lnTo>
                  <a:pt x="2771470" y="5567573"/>
                </a:lnTo>
                <a:lnTo>
                  <a:pt x="2657171" y="5542992"/>
                </a:lnTo>
                <a:lnTo>
                  <a:pt x="2652255" y="5570031"/>
                </a:lnTo>
                <a:lnTo>
                  <a:pt x="2539184" y="5542992"/>
                </a:lnTo>
                <a:lnTo>
                  <a:pt x="2533038" y="5574947"/>
                </a:lnTo>
                <a:lnTo>
                  <a:pt x="2421196" y="5542992"/>
                </a:lnTo>
                <a:lnTo>
                  <a:pt x="2413822" y="5578634"/>
                </a:lnTo>
                <a:lnTo>
                  <a:pt x="2303209" y="5542992"/>
                </a:lnTo>
                <a:lnTo>
                  <a:pt x="2293377" y="5582321"/>
                </a:lnTo>
                <a:lnTo>
                  <a:pt x="2185222" y="5542992"/>
                </a:lnTo>
                <a:lnTo>
                  <a:pt x="2172932" y="5587238"/>
                </a:lnTo>
                <a:lnTo>
                  <a:pt x="2067235" y="5542992"/>
                </a:lnTo>
                <a:lnTo>
                  <a:pt x="2051257" y="5592154"/>
                </a:lnTo>
                <a:lnTo>
                  <a:pt x="1949247" y="5542992"/>
                </a:lnTo>
                <a:lnTo>
                  <a:pt x="1929583" y="5595840"/>
                </a:lnTo>
                <a:lnTo>
                  <a:pt x="1831260" y="5542992"/>
                </a:lnTo>
                <a:lnTo>
                  <a:pt x="1806680" y="5600756"/>
                </a:lnTo>
                <a:lnTo>
                  <a:pt x="1713273" y="5542992"/>
                </a:lnTo>
                <a:lnTo>
                  <a:pt x="1683776" y="5605674"/>
                </a:lnTo>
                <a:lnTo>
                  <a:pt x="1595286" y="5542992"/>
                </a:lnTo>
                <a:lnTo>
                  <a:pt x="1559643" y="5606902"/>
                </a:lnTo>
                <a:lnTo>
                  <a:pt x="1685005" y="5695392"/>
                </a:lnTo>
                <a:lnTo>
                  <a:pt x="1718189" y="5635170"/>
                </a:lnTo>
                <a:lnTo>
                  <a:pt x="1815282" y="5695392"/>
                </a:lnTo>
                <a:lnTo>
                  <a:pt x="1842321" y="5640085"/>
                </a:lnTo>
                <a:lnTo>
                  <a:pt x="1945560" y="5695392"/>
                </a:lnTo>
                <a:lnTo>
                  <a:pt x="1967682" y="5643773"/>
                </a:lnTo>
                <a:lnTo>
                  <a:pt x="2075837" y="5695392"/>
                </a:lnTo>
                <a:lnTo>
                  <a:pt x="2093044" y="5648689"/>
                </a:lnTo>
                <a:lnTo>
                  <a:pt x="2204887" y="5695392"/>
                </a:lnTo>
                <a:lnTo>
                  <a:pt x="2218405" y="5652376"/>
                </a:lnTo>
                <a:lnTo>
                  <a:pt x="2333934" y="5695392"/>
                </a:lnTo>
                <a:lnTo>
                  <a:pt x="2344996" y="5657292"/>
                </a:lnTo>
                <a:lnTo>
                  <a:pt x="2464212" y="5695392"/>
                </a:lnTo>
                <a:lnTo>
                  <a:pt x="2472816" y="5660980"/>
                </a:lnTo>
                <a:lnTo>
                  <a:pt x="2593261" y="5695392"/>
                </a:lnTo>
                <a:lnTo>
                  <a:pt x="2598177" y="5667125"/>
                </a:lnTo>
                <a:lnTo>
                  <a:pt x="2721081" y="5696622"/>
                </a:lnTo>
                <a:lnTo>
                  <a:pt x="2725997" y="5670812"/>
                </a:lnTo>
                <a:lnTo>
                  <a:pt x="2851358" y="5696622"/>
                </a:lnTo>
                <a:lnTo>
                  <a:pt x="2855045" y="5674498"/>
                </a:lnTo>
                <a:lnTo>
                  <a:pt x="2981636" y="5696622"/>
                </a:lnTo>
                <a:lnTo>
                  <a:pt x="2984094" y="5678186"/>
                </a:lnTo>
                <a:lnTo>
                  <a:pt x="3110684" y="5696622"/>
                </a:lnTo>
                <a:lnTo>
                  <a:pt x="3113142" y="5680644"/>
                </a:lnTo>
                <a:lnTo>
                  <a:pt x="3240961" y="5696622"/>
                </a:lnTo>
                <a:lnTo>
                  <a:pt x="3242191" y="5684332"/>
                </a:lnTo>
                <a:lnTo>
                  <a:pt x="3371239" y="5696622"/>
                </a:lnTo>
                <a:lnTo>
                  <a:pt x="3372468" y="5686789"/>
                </a:lnTo>
                <a:lnTo>
                  <a:pt x="3501516" y="5696622"/>
                </a:lnTo>
                <a:lnTo>
                  <a:pt x="3501516" y="5689247"/>
                </a:lnTo>
                <a:lnTo>
                  <a:pt x="3630565" y="5696622"/>
                </a:lnTo>
                <a:lnTo>
                  <a:pt x="3630565" y="5691706"/>
                </a:lnTo>
                <a:lnTo>
                  <a:pt x="3639168" y="5691706"/>
                </a:lnTo>
                <a:lnTo>
                  <a:pt x="3719056" y="5694163"/>
                </a:lnTo>
                <a:lnTo>
                  <a:pt x="3719056" y="5695392"/>
                </a:lnTo>
                <a:lnTo>
                  <a:pt x="5581043" y="5739638"/>
                </a:lnTo>
                <a:lnTo>
                  <a:pt x="3715368" y="5739638"/>
                </a:lnTo>
                <a:lnTo>
                  <a:pt x="3715368" y="5742096"/>
                </a:lnTo>
                <a:lnTo>
                  <a:pt x="3597381" y="5739638"/>
                </a:lnTo>
                <a:lnTo>
                  <a:pt x="3597381" y="5743324"/>
                </a:lnTo>
                <a:lnTo>
                  <a:pt x="3479394" y="5739638"/>
                </a:lnTo>
                <a:lnTo>
                  <a:pt x="3479394" y="5745784"/>
                </a:lnTo>
                <a:lnTo>
                  <a:pt x="3361406" y="5739638"/>
                </a:lnTo>
                <a:lnTo>
                  <a:pt x="3361406" y="5748240"/>
                </a:lnTo>
                <a:lnTo>
                  <a:pt x="3243419" y="5739638"/>
                </a:lnTo>
                <a:lnTo>
                  <a:pt x="3243419" y="5750698"/>
                </a:lnTo>
                <a:lnTo>
                  <a:pt x="3125432" y="5739638"/>
                </a:lnTo>
                <a:lnTo>
                  <a:pt x="3124204" y="5754386"/>
                </a:lnTo>
                <a:lnTo>
                  <a:pt x="3006216" y="5739638"/>
                </a:lnTo>
                <a:lnTo>
                  <a:pt x="3004987" y="5756844"/>
                </a:lnTo>
                <a:lnTo>
                  <a:pt x="2888229" y="5739638"/>
                </a:lnTo>
                <a:lnTo>
                  <a:pt x="2885771" y="5760531"/>
                </a:lnTo>
                <a:lnTo>
                  <a:pt x="2770242" y="5739638"/>
                </a:lnTo>
                <a:lnTo>
                  <a:pt x="2766554" y="5762989"/>
                </a:lnTo>
                <a:lnTo>
                  <a:pt x="2652255" y="5739638"/>
                </a:lnTo>
                <a:lnTo>
                  <a:pt x="2647339" y="5766676"/>
                </a:lnTo>
                <a:lnTo>
                  <a:pt x="2534268" y="5739638"/>
                </a:lnTo>
                <a:lnTo>
                  <a:pt x="2528122" y="5770364"/>
                </a:lnTo>
                <a:lnTo>
                  <a:pt x="2416280" y="5739638"/>
                </a:lnTo>
                <a:lnTo>
                  <a:pt x="2408906" y="5775279"/>
                </a:lnTo>
                <a:lnTo>
                  <a:pt x="2298293" y="5739638"/>
                </a:lnTo>
                <a:lnTo>
                  <a:pt x="2288461" y="5778967"/>
                </a:lnTo>
                <a:lnTo>
                  <a:pt x="2180306" y="5739638"/>
                </a:lnTo>
                <a:lnTo>
                  <a:pt x="2168015" y="5783883"/>
                </a:lnTo>
                <a:lnTo>
                  <a:pt x="2062319" y="5739638"/>
                </a:lnTo>
                <a:lnTo>
                  <a:pt x="2046340" y="5788799"/>
                </a:lnTo>
                <a:lnTo>
                  <a:pt x="1944331" y="5739638"/>
                </a:lnTo>
                <a:lnTo>
                  <a:pt x="1924667" y="5792485"/>
                </a:lnTo>
                <a:lnTo>
                  <a:pt x="1826344" y="5739638"/>
                </a:lnTo>
                <a:lnTo>
                  <a:pt x="1801763" y="5797402"/>
                </a:lnTo>
                <a:lnTo>
                  <a:pt x="1708357" y="5739638"/>
                </a:lnTo>
                <a:lnTo>
                  <a:pt x="1678860" y="5801089"/>
                </a:lnTo>
                <a:lnTo>
                  <a:pt x="1590370" y="5739638"/>
                </a:lnTo>
                <a:lnTo>
                  <a:pt x="1557002" y="5799468"/>
                </a:lnTo>
                <a:lnTo>
                  <a:pt x="1476069" y="5734722"/>
                </a:lnTo>
                <a:lnTo>
                  <a:pt x="1439198" y="5793715"/>
                </a:lnTo>
                <a:lnTo>
                  <a:pt x="1555957" y="5887122"/>
                </a:lnTo>
                <a:lnTo>
                  <a:pt x="1591935" y="5829557"/>
                </a:lnTo>
                <a:lnTo>
                  <a:pt x="1681318" y="5892038"/>
                </a:lnTo>
                <a:lnTo>
                  <a:pt x="1714501" y="5831816"/>
                </a:lnTo>
                <a:lnTo>
                  <a:pt x="1811596" y="5892038"/>
                </a:lnTo>
                <a:lnTo>
                  <a:pt x="1838634" y="5836731"/>
                </a:lnTo>
                <a:lnTo>
                  <a:pt x="1941873" y="5892038"/>
                </a:lnTo>
                <a:lnTo>
                  <a:pt x="1963996" y="5840418"/>
                </a:lnTo>
                <a:lnTo>
                  <a:pt x="2072151" y="5892038"/>
                </a:lnTo>
                <a:lnTo>
                  <a:pt x="2089357" y="5845335"/>
                </a:lnTo>
                <a:lnTo>
                  <a:pt x="2201199" y="5892038"/>
                </a:lnTo>
                <a:lnTo>
                  <a:pt x="2214719" y="5849021"/>
                </a:lnTo>
                <a:lnTo>
                  <a:pt x="2330248" y="5892038"/>
                </a:lnTo>
                <a:lnTo>
                  <a:pt x="2341309" y="5853937"/>
                </a:lnTo>
                <a:lnTo>
                  <a:pt x="2460525" y="5892038"/>
                </a:lnTo>
                <a:lnTo>
                  <a:pt x="2469128" y="5857625"/>
                </a:lnTo>
                <a:lnTo>
                  <a:pt x="2590803" y="5892038"/>
                </a:lnTo>
                <a:lnTo>
                  <a:pt x="2596948" y="5862541"/>
                </a:lnTo>
                <a:lnTo>
                  <a:pt x="2719851" y="5892038"/>
                </a:lnTo>
                <a:lnTo>
                  <a:pt x="2724767" y="5866228"/>
                </a:lnTo>
                <a:lnTo>
                  <a:pt x="2850129" y="5892038"/>
                </a:lnTo>
                <a:lnTo>
                  <a:pt x="2853816" y="5869915"/>
                </a:lnTo>
                <a:lnTo>
                  <a:pt x="2980406" y="5892038"/>
                </a:lnTo>
                <a:lnTo>
                  <a:pt x="2982864" y="5873602"/>
                </a:lnTo>
                <a:lnTo>
                  <a:pt x="3109455" y="5892038"/>
                </a:lnTo>
                <a:lnTo>
                  <a:pt x="3110684" y="5876061"/>
                </a:lnTo>
                <a:lnTo>
                  <a:pt x="3238503" y="5892038"/>
                </a:lnTo>
                <a:lnTo>
                  <a:pt x="3239733" y="5879748"/>
                </a:lnTo>
                <a:lnTo>
                  <a:pt x="3368781" y="5892038"/>
                </a:lnTo>
                <a:lnTo>
                  <a:pt x="3370010" y="5882206"/>
                </a:lnTo>
                <a:lnTo>
                  <a:pt x="3499058" y="5892038"/>
                </a:lnTo>
                <a:lnTo>
                  <a:pt x="3499058" y="5884664"/>
                </a:lnTo>
                <a:lnTo>
                  <a:pt x="3628107" y="5892038"/>
                </a:lnTo>
                <a:lnTo>
                  <a:pt x="3628107" y="5887122"/>
                </a:lnTo>
                <a:lnTo>
                  <a:pt x="3636710" y="5887122"/>
                </a:lnTo>
                <a:lnTo>
                  <a:pt x="3716598" y="5889580"/>
                </a:lnTo>
                <a:lnTo>
                  <a:pt x="3716598" y="5890808"/>
                </a:lnTo>
                <a:lnTo>
                  <a:pt x="5568752" y="5928909"/>
                </a:lnTo>
                <a:lnTo>
                  <a:pt x="3716598" y="5928909"/>
                </a:lnTo>
                <a:lnTo>
                  <a:pt x="3717826" y="5931367"/>
                </a:lnTo>
                <a:lnTo>
                  <a:pt x="3599839" y="5928909"/>
                </a:lnTo>
                <a:lnTo>
                  <a:pt x="3599839" y="5932595"/>
                </a:lnTo>
                <a:lnTo>
                  <a:pt x="3481852" y="5928909"/>
                </a:lnTo>
                <a:lnTo>
                  <a:pt x="3481852" y="5935053"/>
                </a:lnTo>
                <a:lnTo>
                  <a:pt x="3363865" y="5928909"/>
                </a:lnTo>
                <a:lnTo>
                  <a:pt x="3363865" y="5937513"/>
                </a:lnTo>
                <a:lnTo>
                  <a:pt x="3245877" y="5928909"/>
                </a:lnTo>
                <a:lnTo>
                  <a:pt x="3245877" y="5939970"/>
                </a:lnTo>
                <a:lnTo>
                  <a:pt x="3127890" y="5928909"/>
                </a:lnTo>
                <a:lnTo>
                  <a:pt x="3126662" y="5943657"/>
                </a:lnTo>
                <a:lnTo>
                  <a:pt x="3008674" y="5928909"/>
                </a:lnTo>
                <a:lnTo>
                  <a:pt x="3007445" y="5946115"/>
                </a:lnTo>
                <a:lnTo>
                  <a:pt x="2890687" y="5928909"/>
                </a:lnTo>
                <a:lnTo>
                  <a:pt x="2888229" y="5949803"/>
                </a:lnTo>
                <a:lnTo>
                  <a:pt x="2772700" y="5928909"/>
                </a:lnTo>
                <a:lnTo>
                  <a:pt x="2769012" y="5953490"/>
                </a:lnTo>
                <a:lnTo>
                  <a:pt x="2654713" y="5928909"/>
                </a:lnTo>
                <a:lnTo>
                  <a:pt x="2649797" y="5955948"/>
                </a:lnTo>
                <a:lnTo>
                  <a:pt x="2536726" y="5928909"/>
                </a:lnTo>
                <a:lnTo>
                  <a:pt x="2530580" y="5960864"/>
                </a:lnTo>
                <a:lnTo>
                  <a:pt x="2418738" y="5928909"/>
                </a:lnTo>
                <a:lnTo>
                  <a:pt x="2411364" y="5964550"/>
                </a:lnTo>
                <a:lnTo>
                  <a:pt x="2300751" y="5928909"/>
                </a:lnTo>
                <a:lnTo>
                  <a:pt x="2290919" y="5968238"/>
                </a:lnTo>
                <a:lnTo>
                  <a:pt x="2182764" y="5928909"/>
                </a:lnTo>
                <a:lnTo>
                  <a:pt x="2170474" y="5973154"/>
                </a:lnTo>
                <a:lnTo>
                  <a:pt x="2064777" y="5928909"/>
                </a:lnTo>
                <a:lnTo>
                  <a:pt x="2048799" y="5978070"/>
                </a:lnTo>
                <a:lnTo>
                  <a:pt x="1946789" y="5928909"/>
                </a:lnTo>
                <a:lnTo>
                  <a:pt x="1927125" y="5981757"/>
                </a:lnTo>
                <a:lnTo>
                  <a:pt x="1828802" y="5928909"/>
                </a:lnTo>
                <a:lnTo>
                  <a:pt x="1804221" y="5986674"/>
                </a:lnTo>
                <a:lnTo>
                  <a:pt x="1710815" y="5928909"/>
                </a:lnTo>
                <a:lnTo>
                  <a:pt x="1681318" y="5991590"/>
                </a:lnTo>
                <a:lnTo>
                  <a:pt x="1592828" y="5928909"/>
                </a:lnTo>
                <a:lnTo>
                  <a:pt x="1557754" y="5991799"/>
                </a:lnTo>
                <a:lnTo>
                  <a:pt x="1476069" y="5926451"/>
                </a:lnTo>
                <a:lnTo>
                  <a:pt x="1439198" y="5985444"/>
                </a:lnTo>
                <a:lnTo>
                  <a:pt x="1555957" y="6078851"/>
                </a:lnTo>
                <a:lnTo>
                  <a:pt x="1592828" y="6019857"/>
                </a:lnTo>
                <a:lnTo>
                  <a:pt x="1571804" y="6003038"/>
                </a:lnTo>
                <a:lnTo>
                  <a:pt x="1683776" y="6081309"/>
                </a:lnTo>
                <a:lnTo>
                  <a:pt x="1716959" y="6021086"/>
                </a:lnTo>
                <a:lnTo>
                  <a:pt x="1814054" y="6081309"/>
                </a:lnTo>
                <a:lnTo>
                  <a:pt x="1841092" y="6026002"/>
                </a:lnTo>
                <a:lnTo>
                  <a:pt x="1944331" y="6081309"/>
                </a:lnTo>
                <a:lnTo>
                  <a:pt x="1966454" y="6029690"/>
                </a:lnTo>
                <a:lnTo>
                  <a:pt x="2074609" y="6081309"/>
                </a:lnTo>
                <a:lnTo>
                  <a:pt x="2091815" y="6034606"/>
                </a:lnTo>
                <a:lnTo>
                  <a:pt x="2203657" y="6081309"/>
                </a:lnTo>
                <a:lnTo>
                  <a:pt x="2217177" y="6038292"/>
                </a:lnTo>
                <a:lnTo>
                  <a:pt x="2332706" y="6081309"/>
                </a:lnTo>
                <a:lnTo>
                  <a:pt x="2343767" y="6043208"/>
                </a:lnTo>
                <a:lnTo>
                  <a:pt x="2462984" y="6081309"/>
                </a:lnTo>
                <a:lnTo>
                  <a:pt x="2471586" y="6046896"/>
                </a:lnTo>
                <a:lnTo>
                  <a:pt x="2593261" y="6081309"/>
                </a:lnTo>
                <a:lnTo>
                  <a:pt x="2599406" y="6051812"/>
                </a:lnTo>
                <a:lnTo>
                  <a:pt x="2722309" y="6081309"/>
                </a:lnTo>
                <a:lnTo>
                  <a:pt x="2727225" y="6055499"/>
                </a:lnTo>
                <a:lnTo>
                  <a:pt x="2851358" y="6081309"/>
                </a:lnTo>
                <a:lnTo>
                  <a:pt x="2855045" y="6059186"/>
                </a:lnTo>
                <a:lnTo>
                  <a:pt x="2981636" y="6081309"/>
                </a:lnTo>
                <a:lnTo>
                  <a:pt x="2984094" y="6062873"/>
                </a:lnTo>
                <a:lnTo>
                  <a:pt x="3110684" y="6081309"/>
                </a:lnTo>
                <a:lnTo>
                  <a:pt x="3111913" y="6065332"/>
                </a:lnTo>
                <a:lnTo>
                  <a:pt x="3239733" y="6081309"/>
                </a:lnTo>
                <a:lnTo>
                  <a:pt x="3240961" y="6069019"/>
                </a:lnTo>
                <a:lnTo>
                  <a:pt x="3370010" y="6081309"/>
                </a:lnTo>
                <a:lnTo>
                  <a:pt x="3371239" y="6071477"/>
                </a:lnTo>
                <a:lnTo>
                  <a:pt x="3500288" y="6081309"/>
                </a:lnTo>
                <a:lnTo>
                  <a:pt x="3500288" y="6073935"/>
                </a:lnTo>
                <a:lnTo>
                  <a:pt x="3629336" y="6081309"/>
                </a:lnTo>
                <a:lnTo>
                  <a:pt x="3629336" y="6076393"/>
                </a:lnTo>
                <a:lnTo>
                  <a:pt x="3637940" y="6076393"/>
                </a:lnTo>
                <a:lnTo>
                  <a:pt x="3717826" y="6078851"/>
                </a:lnTo>
                <a:lnTo>
                  <a:pt x="3717826" y="6080079"/>
                </a:lnTo>
                <a:lnTo>
                  <a:pt x="5534338" y="6118180"/>
                </a:lnTo>
                <a:lnTo>
                  <a:pt x="3719056" y="6118180"/>
                </a:lnTo>
                <a:lnTo>
                  <a:pt x="3719056" y="6119408"/>
                </a:lnTo>
                <a:lnTo>
                  <a:pt x="3601069" y="6116950"/>
                </a:lnTo>
                <a:lnTo>
                  <a:pt x="3601069" y="6120638"/>
                </a:lnTo>
                <a:lnTo>
                  <a:pt x="3483081" y="6116950"/>
                </a:lnTo>
                <a:lnTo>
                  <a:pt x="3483081" y="6123096"/>
                </a:lnTo>
                <a:lnTo>
                  <a:pt x="3365094" y="6116950"/>
                </a:lnTo>
                <a:lnTo>
                  <a:pt x="3365094" y="6125554"/>
                </a:lnTo>
                <a:lnTo>
                  <a:pt x="3247107" y="6116950"/>
                </a:lnTo>
                <a:lnTo>
                  <a:pt x="3247107" y="6128012"/>
                </a:lnTo>
                <a:lnTo>
                  <a:pt x="3129120" y="6116950"/>
                </a:lnTo>
                <a:lnTo>
                  <a:pt x="3127890" y="6131699"/>
                </a:lnTo>
                <a:lnTo>
                  <a:pt x="3009903" y="6116950"/>
                </a:lnTo>
                <a:lnTo>
                  <a:pt x="3008674" y="6134158"/>
                </a:lnTo>
                <a:lnTo>
                  <a:pt x="2891916" y="6116950"/>
                </a:lnTo>
                <a:lnTo>
                  <a:pt x="2889458" y="6137845"/>
                </a:lnTo>
                <a:lnTo>
                  <a:pt x="2773928" y="6116950"/>
                </a:lnTo>
                <a:lnTo>
                  <a:pt x="2770242" y="6140303"/>
                </a:lnTo>
                <a:lnTo>
                  <a:pt x="2655941" y="6116950"/>
                </a:lnTo>
                <a:lnTo>
                  <a:pt x="2651025" y="6143989"/>
                </a:lnTo>
                <a:lnTo>
                  <a:pt x="2537954" y="6116950"/>
                </a:lnTo>
                <a:lnTo>
                  <a:pt x="2531809" y="6147677"/>
                </a:lnTo>
                <a:lnTo>
                  <a:pt x="2419967" y="6116950"/>
                </a:lnTo>
                <a:lnTo>
                  <a:pt x="2412593" y="6152593"/>
                </a:lnTo>
                <a:lnTo>
                  <a:pt x="2301980" y="6116950"/>
                </a:lnTo>
                <a:lnTo>
                  <a:pt x="2292147" y="6156279"/>
                </a:lnTo>
                <a:lnTo>
                  <a:pt x="2183992" y="6116950"/>
                </a:lnTo>
                <a:lnTo>
                  <a:pt x="2171702" y="6161196"/>
                </a:lnTo>
                <a:lnTo>
                  <a:pt x="2066005" y="6116950"/>
                </a:lnTo>
                <a:lnTo>
                  <a:pt x="2050028" y="6166112"/>
                </a:lnTo>
                <a:lnTo>
                  <a:pt x="1948018" y="6116950"/>
                </a:lnTo>
                <a:lnTo>
                  <a:pt x="1928353" y="6169799"/>
                </a:lnTo>
                <a:lnTo>
                  <a:pt x="1830031" y="6116950"/>
                </a:lnTo>
                <a:lnTo>
                  <a:pt x="1805450" y="6174716"/>
                </a:lnTo>
                <a:lnTo>
                  <a:pt x="1712043" y="6116950"/>
                </a:lnTo>
                <a:lnTo>
                  <a:pt x="1682547" y="6179632"/>
                </a:lnTo>
                <a:lnTo>
                  <a:pt x="1594056" y="6118180"/>
                </a:lnTo>
                <a:lnTo>
                  <a:pt x="1558415" y="6182090"/>
                </a:lnTo>
                <a:lnTo>
                  <a:pt x="1685005" y="6270580"/>
                </a:lnTo>
                <a:lnTo>
                  <a:pt x="1718189" y="6210357"/>
                </a:lnTo>
                <a:lnTo>
                  <a:pt x="1815282" y="6270580"/>
                </a:lnTo>
                <a:lnTo>
                  <a:pt x="1842321" y="6215273"/>
                </a:lnTo>
                <a:lnTo>
                  <a:pt x="1945560" y="6270580"/>
                </a:lnTo>
                <a:lnTo>
                  <a:pt x="1967682" y="6218961"/>
                </a:lnTo>
                <a:lnTo>
                  <a:pt x="2075837" y="6270580"/>
                </a:lnTo>
                <a:lnTo>
                  <a:pt x="2093044" y="6223877"/>
                </a:lnTo>
                <a:lnTo>
                  <a:pt x="2204887" y="6270580"/>
                </a:lnTo>
                <a:lnTo>
                  <a:pt x="2218405" y="6227563"/>
                </a:lnTo>
                <a:lnTo>
                  <a:pt x="2333934" y="6270580"/>
                </a:lnTo>
                <a:lnTo>
                  <a:pt x="2344996" y="6232481"/>
                </a:lnTo>
                <a:lnTo>
                  <a:pt x="2464212" y="6270580"/>
                </a:lnTo>
                <a:lnTo>
                  <a:pt x="2472816" y="6236167"/>
                </a:lnTo>
                <a:lnTo>
                  <a:pt x="2594490" y="6270580"/>
                </a:lnTo>
                <a:lnTo>
                  <a:pt x="2600635" y="6241083"/>
                </a:lnTo>
                <a:lnTo>
                  <a:pt x="2723539" y="6270580"/>
                </a:lnTo>
                <a:lnTo>
                  <a:pt x="2728455" y="6244771"/>
                </a:lnTo>
                <a:lnTo>
                  <a:pt x="2853816" y="6270580"/>
                </a:lnTo>
                <a:lnTo>
                  <a:pt x="2857503" y="6248458"/>
                </a:lnTo>
                <a:lnTo>
                  <a:pt x="2984094" y="6270580"/>
                </a:lnTo>
                <a:lnTo>
                  <a:pt x="2986552" y="6252144"/>
                </a:lnTo>
                <a:lnTo>
                  <a:pt x="3113142" y="6270580"/>
                </a:lnTo>
                <a:lnTo>
                  <a:pt x="3114371" y="6254602"/>
                </a:lnTo>
                <a:lnTo>
                  <a:pt x="3242191" y="6270580"/>
                </a:lnTo>
                <a:lnTo>
                  <a:pt x="3243419" y="6258290"/>
                </a:lnTo>
                <a:lnTo>
                  <a:pt x="3372468" y="6270580"/>
                </a:lnTo>
                <a:lnTo>
                  <a:pt x="3373697" y="6260748"/>
                </a:lnTo>
                <a:lnTo>
                  <a:pt x="3502746" y="6270580"/>
                </a:lnTo>
                <a:lnTo>
                  <a:pt x="3502746" y="6263206"/>
                </a:lnTo>
                <a:lnTo>
                  <a:pt x="3631794" y="6270580"/>
                </a:lnTo>
                <a:lnTo>
                  <a:pt x="3631794" y="6265664"/>
                </a:lnTo>
                <a:lnTo>
                  <a:pt x="3640398" y="6265664"/>
                </a:lnTo>
                <a:lnTo>
                  <a:pt x="3720284" y="6268122"/>
                </a:lnTo>
                <a:lnTo>
                  <a:pt x="3720284" y="6269352"/>
                </a:lnTo>
                <a:lnTo>
                  <a:pt x="5476574" y="6306223"/>
                </a:lnTo>
                <a:lnTo>
                  <a:pt x="3720284" y="6306223"/>
                </a:lnTo>
                <a:lnTo>
                  <a:pt x="3720284" y="6308681"/>
                </a:lnTo>
                <a:lnTo>
                  <a:pt x="3602297" y="6306223"/>
                </a:lnTo>
                <a:lnTo>
                  <a:pt x="3602297" y="6309909"/>
                </a:lnTo>
                <a:lnTo>
                  <a:pt x="3484310" y="6306223"/>
                </a:lnTo>
                <a:lnTo>
                  <a:pt x="3484310" y="6312367"/>
                </a:lnTo>
                <a:lnTo>
                  <a:pt x="3366323" y="6306223"/>
                </a:lnTo>
                <a:lnTo>
                  <a:pt x="3366323" y="6314825"/>
                </a:lnTo>
                <a:lnTo>
                  <a:pt x="3248335" y="6306223"/>
                </a:lnTo>
                <a:lnTo>
                  <a:pt x="3248335" y="6317283"/>
                </a:lnTo>
                <a:lnTo>
                  <a:pt x="3130348" y="6306223"/>
                </a:lnTo>
                <a:lnTo>
                  <a:pt x="3129120" y="6320971"/>
                </a:lnTo>
                <a:lnTo>
                  <a:pt x="3011133" y="6307451"/>
                </a:lnTo>
                <a:lnTo>
                  <a:pt x="3009903" y="6324658"/>
                </a:lnTo>
                <a:lnTo>
                  <a:pt x="2893145" y="6307451"/>
                </a:lnTo>
                <a:lnTo>
                  <a:pt x="2890687" y="6328344"/>
                </a:lnTo>
                <a:lnTo>
                  <a:pt x="2775158" y="6307451"/>
                </a:lnTo>
                <a:lnTo>
                  <a:pt x="2771470" y="6330803"/>
                </a:lnTo>
                <a:lnTo>
                  <a:pt x="2657171" y="6307451"/>
                </a:lnTo>
                <a:lnTo>
                  <a:pt x="2652255" y="6334490"/>
                </a:lnTo>
                <a:lnTo>
                  <a:pt x="2539184" y="6307451"/>
                </a:lnTo>
                <a:lnTo>
                  <a:pt x="2533038" y="6338176"/>
                </a:lnTo>
                <a:lnTo>
                  <a:pt x="2421196" y="6307451"/>
                </a:lnTo>
                <a:lnTo>
                  <a:pt x="2413822" y="6343094"/>
                </a:lnTo>
                <a:lnTo>
                  <a:pt x="2303209" y="6307451"/>
                </a:lnTo>
                <a:lnTo>
                  <a:pt x="2293377" y="6346780"/>
                </a:lnTo>
                <a:lnTo>
                  <a:pt x="2185222" y="6307451"/>
                </a:lnTo>
                <a:lnTo>
                  <a:pt x="2172932" y="6351696"/>
                </a:lnTo>
                <a:lnTo>
                  <a:pt x="2067235" y="6307451"/>
                </a:lnTo>
                <a:lnTo>
                  <a:pt x="2051257" y="6356613"/>
                </a:lnTo>
                <a:lnTo>
                  <a:pt x="1949247" y="6307451"/>
                </a:lnTo>
                <a:lnTo>
                  <a:pt x="1929583" y="6360299"/>
                </a:lnTo>
                <a:lnTo>
                  <a:pt x="1831260" y="6307451"/>
                </a:lnTo>
                <a:lnTo>
                  <a:pt x="1806680" y="6365215"/>
                </a:lnTo>
                <a:lnTo>
                  <a:pt x="1713273" y="6307451"/>
                </a:lnTo>
                <a:lnTo>
                  <a:pt x="1683776" y="6368903"/>
                </a:lnTo>
                <a:lnTo>
                  <a:pt x="1595286" y="6307451"/>
                </a:lnTo>
                <a:lnTo>
                  <a:pt x="1559643" y="6371361"/>
                </a:lnTo>
                <a:lnTo>
                  <a:pt x="1686234" y="6459851"/>
                </a:lnTo>
                <a:lnTo>
                  <a:pt x="1719418" y="6399628"/>
                </a:lnTo>
                <a:lnTo>
                  <a:pt x="1816512" y="6459851"/>
                </a:lnTo>
                <a:lnTo>
                  <a:pt x="1843551" y="6404546"/>
                </a:lnTo>
                <a:lnTo>
                  <a:pt x="1946789" y="6459851"/>
                </a:lnTo>
                <a:lnTo>
                  <a:pt x="1968912" y="6408232"/>
                </a:lnTo>
                <a:lnTo>
                  <a:pt x="2077067" y="6459851"/>
                </a:lnTo>
                <a:lnTo>
                  <a:pt x="2094273" y="6413148"/>
                </a:lnTo>
                <a:lnTo>
                  <a:pt x="2206115" y="6459851"/>
                </a:lnTo>
                <a:lnTo>
                  <a:pt x="2219635" y="6416836"/>
                </a:lnTo>
                <a:lnTo>
                  <a:pt x="2335164" y="6459851"/>
                </a:lnTo>
                <a:lnTo>
                  <a:pt x="2346225" y="6421751"/>
                </a:lnTo>
                <a:lnTo>
                  <a:pt x="2465442" y="6459851"/>
                </a:lnTo>
                <a:lnTo>
                  <a:pt x="2474044" y="6425438"/>
                </a:lnTo>
                <a:lnTo>
                  <a:pt x="2595719" y="6459851"/>
                </a:lnTo>
                <a:lnTo>
                  <a:pt x="2601864" y="6430355"/>
                </a:lnTo>
                <a:lnTo>
                  <a:pt x="2724767" y="6459851"/>
                </a:lnTo>
                <a:lnTo>
                  <a:pt x="2729683" y="6434041"/>
                </a:lnTo>
                <a:lnTo>
                  <a:pt x="2853816" y="6459851"/>
                </a:lnTo>
                <a:lnTo>
                  <a:pt x="2857503" y="6437729"/>
                </a:lnTo>
                <a:lnTo>
                  <a:pt x="2984094" y="6459851"/>
                </a:lnTo>
                <a:lnTo>
                  <a:pt x="2986552" y="6441417"/>
                </a:lnTo>
                <a:lnTo>
                  <a:pt x="3113142" y="6459851"/>
                </a:lnTo>
                <a:lnTo>
                  <a:pt x="3114371" y="6443875"/>
                </a:lnTo>
                <a:lnTo>
                  <a:pt x="3242191" y="6459851"/>
                </a:lnTo>
                <a:lnTo>
                  <a:pt x="3243419" y="6447561"/>
                </a:lnTo>
                <a:lnTo>
                  <a:pt x="3372468" y="6459851"/>
                </a:lnTo>
                <a:lnTo>
                  <a:pt x="3373697" y="6450019"/>
                </a:lnTo>
                <a:lnTo>
                  <a:pt x="3502746" y="6459851"/>
                </a:lnTo>
                <a:lnTo>
                  <a:pt x="3502746" y="6452477"/>
                </a:lnTo>
                <a:lnTo>
                  <a:pt x="3631794" y="6459851"/>
                </a:lnTo>
                <a:lnTo>
                  <a:pt x="3631794" y="6454935"/>
                </a:lnTo>
                <a:lnTo>
                  <a:pt x="3640398" y="6454935"/>
                </a:lnTo>
                <a:lnTo>
                  <a:pt x="3720284" y="6457393"/>
                </a:lnTo>
                <a:lnTo>
                  <a:pt x="3720284" y="6459851"/>
                </a:lnTo>
                <a:lnTo>
                  <a:pt x="5711320" y="6501639"/>
                </a:lnTo>
                <a:lnTo>
                  <a:pt x="3720284" y="6501639"/>
                </a:lnTo>
                <a:lnTo>
                  <a:pt x="3720284" y="6504097"/>
                </a:lnTo>
                <a:lnTo>
                  <a:pt x="3602297" y="6501639"/>
                </a:lnTo>
                <a:lnTo>
                  <a:pt x="3602297" y="6505326"/>
                </a:lnTo>
                <a:lnTo>
                  <a:pt x="3484310" y="6501639"/>
                </a:lnTo>
                <a:lnTo>
                  <a:pt x="3484310" y="6507783"/>
                </a:lnTo>
                <a:lnTo>
                  <a:pt x="3366323" y="6501639"/>
                </a:lnTo>
                <a:lnTo>
                  <a:pt x="3366323" y="6510241"/>
                </a:lnTo>
                <a:lnTo>
                  <a:pt x="3248335" y="6501639"/>
                </a:lnTo>
                <a:lnTo>
                  <a:pt x="3248335" y="6512699"/>
                </a:lnTo>
                <a:lnTo>
                  <a:pt x="3130348" y="6501639"/>
                </a:lnTo>
                <a:lnTo>
                  <a:pt x="3129120" y="6516387"/>
                </a:lnTo>
                <a:lnTo>
                  <a:pt x="3011133" y="6501639"/>
                </a:lnTo>
                <a:lnTo>
                  <a:pt x="3009903" y="6518845"/>
                </a:lnTo>
                <a:lnTo>
                  <a:pt x="2893145" y="6501639"/>
                </a:lnTo>
                <a:lnTo>
                  <a:pt x="2890687" y="6522531"/>
                </a:lnTo>
                <a:lnTo>
                  <a:pt x="2775158" y="6501639"/>
                </a:lnTo>
                <a:lnTo>
                  <a:pt x="2771470" y="6526219"/>
                </a:lnTo>
                <a:lnTo>
                  <a:pt x="2657171" y="6501639"/>
                </a:lnTo>
                <a:lnTo>
                  <a:pt x="2652255" y="6528677"/>
                </a:lnTo>
                <a:lnTo>
                  <a:pt x="2539184" y="6501639"/>
                </a:lnTo>
                <a:lnTo>
                  <a:pt x="2533038" y="6533593"/>
                </a:lnTo>
                <a:lnTo>
                  <a:pt x="2421196" y="6501639"/>
                </a:lnTo>
                <a:lnTo>
                  <a:pt x="2413822" y="6537280"/>
                </a:lnTo>
                <a:lnTo>
                  <a:pt x="2303209" y="6501639"/>
                </a:lnTo>
                <a:lnTo>
                  <a:pt x="2293377" y="6540968"/>
                </a:lnTo>
                <a:lnTo>
                  <a:pt x="2185222" y="6501639"/>
                </a:lnTo>
                <a:lnTo>
                  <a:pt x="2172932" y="6545884"/>
                </a:lnTo>
                <a:lnTo>
                  <a:pt x="2067235" y="6501639"/>
                </a:lnTo>
                <a:lnTo>
                  <a:pt x="2051257" y="6550800"/>
                </a:lnTo>
                <a:lnTo>
                  <a:pt x="1949247" y="6501639"/>
                </a:lnTo>
                <a:lnTo>
                  <a:pt x="1929583" y="6554488"/>
                </a:lnTo>
                <a:lnTo>
                  <a:pt x="1831260" y="6501639"/>
                </a:lnTo>
                <a:lnTo>
                  <a:pt x="1806680" y="6559402"/>
                </a:lnTo>
                <a:lnTo>
                  <a:pt x="1713273" y="6501639"/>
                </a:lnTo>
                <a:lnTo>
                  <a:pt x="1683776" y="6564320"/>
                </a:lnTo>
                <a:lnTo>
                  <a:pt x="1595286" y="6501639"/>
                </a:lnTo>
                <a:lnTo>
                  <a:pt x="1559643" y="6565548"/>
                </a:lnTo>
                <a:lnTo>
                  <a:pt x="1685005" y="6654039"/>
                </a:lnTo>
                <a:lnTo>
                  <a:pt x="1718189" y="6593815"/>
                </a:lnTo>
                <a:lnTo>
                  <a:pt x="1815282" y="6654039"/>
                </a:lnTo>
                <a:lnTo>
                  <a:pt x="1842321" y="6598732"/>
                </a:lnTo>
                <a:lnTo>
                  <a:pt x="1945560" y="6654039"/>
                </a:lnTo>
                <a:lnTo>
                  <a:pt x="1967682" y="6602419"/>
                </a:lnTo>
                <a:lnTo>
                  <a:pt x="2075837" y="6654039"/>
                </a:lnTo>
                <a:lnTo>
                  <a:pt x="2093044" y="6607335"/>
                </a:lnTo>
                <a:lnTo>
                  <a:pt x="2204887" y="6654039"/>
                </a:lnTo>
                <a:lnTo>
                  <a:pt x="2218405" y="6611022"/>
                </a:lnTo>
                <a:lnTo>
                  <a:pt x="2333934" y="6654039"/>
                </a:lnTo>
                <a:lnTo>
                  <a:pt x="2344996" y="6615939"/>
                </a:lnTo>
                <a:lnTo>
                  <a:pt x="2464212" y="6654039"/>
                </a:lnTo>
                <a:lnTo>
                  <a:pt x="2472816" y="6619626"/>
                </a:lnTo>
                <a:lnTo>
                  <a:pt x="2593261" y="6654039"/>
                </a:lnTo>
                <a:lnTo>
                  <a:pt x="2598177" y="6625772"/>
                </a:lnTo>
                <a:lnTo>
                  <a:pt x="2721081" y="6655267"/>
                </a:lnTo>
                <a:lnTo>
                  <a:pt x="2725997" y="6629458"/>
                </a:lnTo>
                <a:lnTo>
                  <a:pt x="2851358" y="6655267"/>
                </a:lnTo>
                <a:lnTo>
                  <a:pt x="2855045" y="6633144"/>
                </a:lnTo>
                <a:lnTo>
                  <a:pt x="2981636" y="6655267"/>
                </a:lnTo>
                <a:lnTo>
                  <a:pt x="2984094" y="6636832"/>
                </a:lnTo>
                <a:lnTo>
                  <a:pt x="3110684" y="6655267"/>
                </a:lnTo>
                <a:lnTo>
                  <a:pt x="3113142" y="6639290"/>
                </a:lnTo>
                <a:lnTo>
                  <a:pt x="3240961" y="6655267"/>
                </a:lnTo>
                <a:lnTo>
                  <a:pt x="3242191" y="6642977"/>
                </a:lnTo>
                <a:lnTo>
                  <a:pt x="3371239" y="6655267"/>
                </a:lnTo>
                <a:lnTo>
                  <a:pt x="3372468" y="6645435"/>
                </a:lnTo>
                <a:lnTo>
                  <a:pt x="3501516" y="6655267"/>
                </a:lnTo>
                <a:lnTo>
                  <a:pt x="3501516" y="6647893"/>
                </a:lnTo>
                <a:lnTo>
                  <a:pt x="3630565" y="6655267"/>
                </a:lnTo>
                <a:lnTo>
                  <a:pt x="3630565" y="6650352"/>
                </a:lnTo>
                <a:lnTo>
                  <a:pt x="3639168" y="6650352"/>
                </a:lnTo>
                <a:lnTo>
                  <a:pt x="3719056" y="6652810"/>
                </a:lnTo>
                <a:lnTo>
                  <a:pt x="3719056" y="6654039"/>
                </a:lnTo>
                <a:lnTo>
                  <a:pt x="5715007" y="6700742"/>
                </a:lnTo>
                <a:lnTo>
                  <a:pt x="3716598" y="6700742"/>
                </a:lnTo>
                <a:lnTo>
                  <a:pt x="3716598" y="6701972"/>
                </a:lnTo>
                <a:lnTo>
                  <a:pt x="3598611" y="6699514"/>
                </a:lnTo>
                <a:lnTo>
                  <a:pt x="3598611" y="6703200"/>
                </a:lnTo>
                <a:lnTo>
                  <a:pt x="3480623" y="6699514"/>
                </a:lnTo>
                <a:lnTo>
                  <a:pt x="3480623" y="6705658"/>
                </a:lnTo>
                <a:lnTo>
                  <a:pt x="3362636" y="6699514"/>
                </a:lnTo>
                <a:lnTo>
                  <a:pt x="3362636" y="6708116"/>
                </a:lnTo>
                <a:lnTo>
                  <a:pt x="3244649" y="6699514"/>
                </a:lnTo>
                <a:lnTo>
                  <a:pt x="3244649" y="6710574"/>
                </a:lnTo>
                <a:lnTo>
                  <a:pt x="3126662" y="6699514"/>
                </a:lnTo>
                <a:lnTo>
                  <a:pt x="3125432" y="6714262"/>
                </a:lnTo>
                <a:lnTo>
                  <a:pt x="3007445" y="6699514"/>
                </a:lnTo>
                <a:lnTo>
                  <a:pt x="3006216" y="6716719"/>
                </a:lnTo>
                <a:lnTo>
                  <a:pt x="2889458" y="6699514"/>
                </a:lnTo>
                <a:lnTo>
                  <a:pt x="2887000" y="6720406"/>
                </a:lnTo>
                <a:lnTo>
                  <a:pt x="2771470" y="6699514"/>
                </a:lnTo>
                <a:lnTo>
                  <a:pt x="2767784" y="6724094"/>
                </a:lnTo>
                <a:lnTo>
                  <a:pt x="2653483" y="6699514"/>
                </a:lnTo>
                <a:lnTo>
                  <a:pt x="2648567" y="6726552"/>
                </a:lnTo>
                <a:lnTo>
                  <a:pt x="2535496" y="6699514"/>
                </a:lnTo>
                <a:lnTo>
                  <a:pt x="2529351" y="6731467"/>
                </a:lnTo>
                <a:lnTo>
                  <a:pt x="2417509" y="6699514"/>
                </a:lnTo>
                <a:lnTo>
                  <a:pt x="2410134" y="6735155"/>
                </a:lnTo>
                <a:lnTo>
                  <a:pt x="2299521" y="6699514"/>
                </a:lnTo>
                <a:lnTo>
                  <a:pt x="2289689" y="6738843"/>
                </a:lnTo>
                <a:lnTo>
                  <a:pt x="2181534" y="6699514"/>
                </a:lnTo>
                <a:lnTo>
                  <a:pt x="2169244" y="6743757"/>
                </a:lnTo>
                <a:lnTo>
                  <a:pt x="2063547" y="6699514"/>
                </a:lnTo>
                <a:lnTo>
                  <a:pt x="2047570" y="6748675"/>
                </a:lnTo>
                <a:lnTo>
                  <a:pt x="1945560" y="6699514"/>
                </a:lnTo>
                <a:lnTo>
                  <a:pt x="1925895" y="6752361"/>
                </a:lnTo>
                <a:lnTo>
                  <a:pt x="1827572" y="6699514"/>
                </a:lnTo>
                <a:lnTo>
                  <a:pt x="1802992" y="6757277"/>
                </a:lnTo>
                <a:lnTo>
                  <a:pt x="1709585" y="6699514"/>
                </a:lnTo>
                <a:lnTo>
                  <a:pt x="1680088" y="6762194"/>
                </a:lnTo>
                <a:lnTo>
                  <a:pt x="1591598" y="6699514"/>
                </a:lnTo>
                <a:lnTo>
                  <a:pt x="1557758" y="6760194"/>
                </a:lnTo>
                <a:lnTo>
                  <a:pt x="1477299" y="6695826"/>
                </a:lnTo>
                <a:lnTo>
                  <a:pt x="1440428" y="6754819"/>
                </a:lnTo>
                <a:lnTo>
                  <a:pt x="1557185" y="6848226"/>
                </a:lnTo>
                <a:lnTo>
                  <a:pt x="1593698" y="6789805"/>
                </a:lnTo>
                <a:lnTo>
                  <a:pt x="1682547" y="6851912"/>
                </a:lnTo>
                <a:lnTo>
                  <a:pt x="1715731" y="6791690"/>
                </a:lnTo>
                <a:lnTo>
                  <a:pt x="1812824" y="6851912"/>
                </a:lnTo>
                <a:lnTo>
                  <a:pt x="1839863" y="6796607"/>
                </a:lnTo>
                <a:lnTo>
                  <a:pt x="1943102" y="6851912"/>
                </a:lnTo>
                <a:lnTo>
                  <a:pt x="1965224" y="6800294"/>
                </a:lnTo>
                <a:lnTo>
                  <a:pt x="2073379" y="6851912"/>
                </a:lnTo>
                <a:lnTo>
                  <a:pt x="2090586" y="6805209"/>
                </a:lnTo>
                <a:lnTo>
                  <a:pt x="2202428" y="6851912"/>
                </a:lnTo>
                <a:lnTo>
                  <a:pt x="2215947" y="6808897"/>
                </a:lnTo>
                <a:lnTo>
                  <a:pt x="2331476" y="6851912"/>
                </a:lnTo>
                <a:lnTo>
                  <a:pt x="2342538" y="6813813"/>
                </a:lnTo>
                <a:lnTo>
                  <a:pt x="2461754" y="6851912"/>
                </a:lnTo>
                <a:lnTo>
                  <a:pt x="2470358" y="6817499"/>
                </a:lnTo>
                <a:lnTo>
                  <a:pt x="2592031" y="6851912"/>
                </a:lnTo>
                <a:lnTo>
                  <a:pt x="2598177" y="6822417"/>
                </a:lnTo>
                <a:lnTo>
                  <a:pt x="2721081" y="6851912"/>
                </a:lnTo>
                <a:lnTo>
                  <a:pt x="2725997" y="6826103"/>
                </a:lnTo>
                <a:lnTo>
                  <a:pt x="2851358" y="6851912"/>
                </a:lnTo>
                <a:lnTo>
                  <a:pt x="2855045" y="6829790"/>
                </a:lnTo>
                <a:lnTo>
                  <a:pt x="2981636" y="6851912"/>
                </a:lnTo>
                <a:lnTo>
                  <a:pt x="2984094" y="6833478"/>
                </a:lnTo>
                <a:lnTo>
                  <a:pt x="3110684" y="6851912"/>
                </a:lnTo>
                <a:lnTo>
                  <a:pt x="3111913" y="6835936"/>
                </a:lnTo>
                <a:lnTo>
                  <a:pt x="3239733" y="6851912"/>
                </a:lnTo>
                <a:lnTo>
                  <a:pt x="3240961" y="6839622"/>
                </a:lnTo>
                <a:lnTo>
                  <a:pt x="3370010" y="6851912"/>
                </a:lnTo>
                <a:lnTo>
                  <a:pt x="3371239" y="6842080"/>
                </a:lnTo>
                <a:lnTo>
                  <a:pt x="3500288" y="6851912"/>
                </a:lnTo>
                <a:lnTo>
                  <a:pt x="3500288" y="6844538"/>
                </a:lnTo>
                <a:lnTo>
                  <a:pt x="3629336" y="6851912"/>
                </a:lnTo>
                <a:lnTo>
                  <a:pt x="3629336" y="6848226"/>
                </a:lnTo>
                <a:lnTo>
                  <a:pt x="3637940" y="6848226"/>
                </a:lnTo>
                <a:lnTo>
                  <a:pt x="3717826" y="6850684"/>
                </a:lnTo>
                <a:lnTo>
                  <a:pt x="3717826" y="6851912"/>
                </a:lnTo>
                <a:lnTo>
                  <a:pt x="4009865" y="6858000"/>
                </a:lnTo>
                <a:lnTo>
                  <a:pt x="0" y="6858000"/>
                </a:lnTo>
                <a:lnTo>
                  <a:pt x="0" y="6848226"/>
                </a:lnTo>
                <a:lnTo>
                  <a:pt x="60222" y="6848226"/>
                </a:lnTo>
                <a:lnTo>
                  <a:pt x="60222" y="6694596"/>
                </a:lnTo>
                <a:lnTo>
                  <a:pt x="0" y="6694596"/>
                </a:lnTo>
                <a:lnTo>
                  <a:pt x="0" y="6654039"/>
                </a:lnTo>
                <a:lnTo>
                  <a:pt x="60222" y="6654039"/>
                </a:lnTo>
                <a:lnTo>
                  <a:pt x="60222" y="6504097"/>
                </a:lnTo>
                <a:lnTo>
                  <a:pt x="0" y="6504097"/>
                </a:lnTo>
                <a:lnTo>
                  <a:pt x="0" y="6462309"/>
                </a:lnTo>
                <a:lnTo>
                  <a:pt x="60222" y="6462309"/>
                </a:lnTo>
                <a:lnTo>
                  <a:pt x="60222" y="6308681"/>
                </a:lnTo>
                <a:lnTo>
                  <a:pt x="0" y="6308681"/>
                </a:lnTo>
                <a:lnTo>
                  <a:pt x="0" y="6271810"/>
                </a:lnTo>
                <a:lnTo>
                  <a:pt x="60222" y="6271810"/>
                </a:lnTo>
                <a:lnTo>
                  <a:pt x="60222" y="6118180"/>
                </a:lnTo>
                <a:lnTo>
                  <a:pt x="0" y="6118180"/>
                </a:lnTo>
                <a:lnTo>
                  <a:pt x="0" y="6081309"/>
                </a:lnTo>
                <a:lnTo>
                  <a:pt x="60222" y="6081309"/>
                </a:lnTo>
                <a:lnTo>
                  <a:pt x="60222" y="5927679"/>
                </a:lnTo>
                <a:lnTo>
                  <a:pt x="0" y="5927679"/>
                </a:lnTo>
                <a:lnTo>
                  <a:pt x="0" y="5888351"/>
                </a:lnTo>
                <a:lnTo>
                  <a:pt x="60222" y="5888351"/>
                </a:lnTo>
                <a:lnTo>
                  <a:pt x="60222" y="5734722"/>
                </a:lnTo>
                <a:lnTo>
                  <a:pt x="0" y="5734722"/>
                </a:lnTo>
                <a:lnTo>
                  <a:pt x="0" y="5695392"/>
                </a:lnTo>
                <a:lnTo>
                  <a:pt x="60222" y="5695392"/>
                </a:lnTo>
                <a:lnTo>
                  <a:pt x="60222" y="5539305"/>
                </a:lnTo>
                <a:lnTo>
                  <a:pt x="0" y="5539305"/>
                </a:lnTo>
                <a:lnTo>
                  <a:pt x="0" y="5501205"/>
                </a:lnTo>
                <a:lnTo>
                  <a:pt x="60222" y="5501205"/>
                </a:lnTo>
                <a:lnTo>
                  <a:pt x="60222" y="5347577"/>
                </a:lnTo>
                <a:lnTo>
                  <a:pt x="0" y="5347577"/>
                </a:lnTo>
                <a:lnTo>
                  <a:pt x="0" y="5313162"/>
                </a:lnTo>
                <a:lnTo>
                  <a:pt x="60222" y="5313162"/>
                </a:lnTo>
                <a:lnTo>
                  <a:pt x="60222" y="5160762"/>
                </a:lnTo>
                <a:lnTo>
                  <a:pt x="0" y="5160762"/>
                </a:lnTo>
                <a:lnTo>
                  <a:pt x="0" y="5118975"/>
                </a:lnTo>
                <a:lnTo>
                  <a:pt x="60222" y="5118975"/>
                </a:lnTo>
                <a:lnTo>
                  <a:pt x="60222" y="4966575"/>
                </a:lnTo>
                <a:lnTo>
                  <a:pt x="0" y="4966575"/>
                </a:lnTo>
                <a:lnTo>
                  <a:pt x="0" y="4926017"/>
                </a:lnTo>
                <a:lnTo>
                  <a:pt x="60222" y="4926017"/>
                </a:lnTo>
                <a:lnTo>
                  <a:pt x="60222" y="4772388"/>
                </a:lnTo>
                <a:lnTo>
                  <a:pt x="0" y="4772388"/>
                </a:lnTo>
                <a:lnTo>
                  <a:pt x="0" y="4731830"/>
                </a:lnTo>
                <a:lnTo>
                  <a:pt x="60222" y="4731830"/>
                </a:lnTo>
                <a:lnTo>
                  <a:pt x="60222" y="4579430"/>
                </a:lnTo>
                <a:lnTo>
                  <a:pt x="0" y="4579430"/>
                </a:lnTo>
                <a:lnTo>
                  <a:pt x="0" y="4537643"/>
                </a:lnTo>
                <a:lnTo>
                  <a:pt x="60222" y="4537643"/>
                </a:lnTo>
                <a:lnTo>
                  <a:pt x="60222" y="4385243"/>
                </a:lnTo>
                <a:lnTo>
                  <a:pt x="0" y="4385243"/>
                </a:lnTo>
                <a:lnTo>
                  <a:pt x="0" y="4343456"/>
                </a:lnTo>
                <a:lnTo>
                  <a:pt x="60222" y="4343456"/>
                </a:lnTo>
                <a:lnTo>
                  <a:pt x="60222" y="4191055"/>
                </a:lnTo>
                <a:lnTo>
                  <a:pt x="0" y="4191055"/>
                </a:lnTo>
                <a:lnTo>
                  <a:pt x="0" y="4149268"/>
                </a:lnTo>
                <a:lnTo>
                  <a:pt x="60222" y="4149268"/>
                </a:lnTo>
                <a:lnTo>
                  <a:pt x="60222" y="4145580"/>
                </a:lnTo>
                <a:lnTo>
                  <a:pt x="60222" y="3996868"/>
                </a:lnTo>
                <a:lnTo>
                  <a:pt x="60222" y="3993180"/>
                </a:lnTo>
                <a:lnTo>
                  <a:pt x="0" y="3993180"/>
                </a:lnTo>
                <a:lnTo>
                  <a:pt x="0" y="3953851"/>
                </a:lnTo>
                <a:lnTo>
                  <a:pt x="60222" y="3953851"/>
                </a:lnTo>
                <a:lnTo>
                  <a:pt x="60222" y="3800223"/>
                </a:lnTo>
                <a:lnTo>
                  <a:pt x="0" y="3800223"/>
                </a:lnTo>
                <a:lnTo>
                  <a:pt x="0" y="3762122"/>
                </a:lnTo>
                <a:lnTo>
                  <a:pt x="60222" y="3762122"/>
                </a:lnTo>
                <a:lnTo>
                  <a:pt x="60222" y="3608493"/>
                </a:lnTo>
                <a:lnTo>
                  <a:pt x="0" y="3608493"/>
                </a:lnTo>
                <a:lnTo>
                  <a:pt x="0" y="3574080"/>
                </a:lnTo>
                <a:lnTo>
                  <a:pt x="60222" y="3574080"/>
                </a:lnTo>
                <a:lnTo>
                  <a:pt x="60222" y="3420451"/>
                </a:lnTo>
                <a:lnTo>
                  <a:pt x="0" y="3420451"/>
                </a:lnTo>
                <a:lnTo>
                  <a:pt x="0" y="3379893"/>
                </a:lnTo>
                <a:lnTo>
                  <a:pt x="60222" y="3379893"/>
                </a:lnTo>
                <a:lnTo>
                  <a:pt x="60222" y="3226263"/>
                </a:lnTo>
                <a:lnTo>
                  <a:pt x="0" y="3226263"/>
                </a:lnTo>
                <a:lnTo>
                  <a:pt x="0" y="3185706"/>
                </a:lnTo>
                <a:lnTo>
                  <a:pt x="60222" y="3185706"/>
                </a:lnTo>
                <a:lnTo>
                  <a:pt x="60222" y="3032076"/>
                </a:lnTo>
                <a:lnTo>
                  <a:pt x="0" y="3032076"/>
                </a:lnTo>
                <a:lnTo>
                  <a:pt x="0" y="2990289"/>
                </a:lnTo>
                <a:lnTo>
                  <a:pt x="60222" y="2990289"/>
                </a:lnTo>
                <a:lnTo>
                  <a:pt x="60222" y="2836660"/>
                </a:lnTo>
                <a:lnTo>
                  <a:pt x="0" y="2836660"/>
                </a:lnTo>
                <a:lnTo>
                  <a:pt x="0" y="2794873"/>
                </a:lnTo>
                <a:lnTo>
                  <a:pt x="60222" y="2794873"/>
                </a:lnTo>
                <a:lnTo>
                  <a:pt x="60222" y="2641243"/>
                </a:lnTo>
                <a:lnTo>
                  <a:pt x="0" y="2641243"/>
                </a:lnTo>
                <a:lnTo>
                  <a:pt x="0" y="2600686"/>
                </a:lnTo>
                <a:lnTo>
                  <a:pt x="60222" y="2600686"/>
                </a:lnTo>
                <a:lnTo>
                  <a:pt x="60222" y="2447056"/>
                </a:lnTo>
                <a:lnTo>
                  <a:pt x="0" y="2447056"/>
                </a:lnTo>
                <a:lnTo>
                  <a:pt x="0" y="2406498"/>
                </a:lnTo>
                <a:lnTo>
                  <a:pt x="60222" y="2406498"/>
                </a:lnTo>
                <a:lnTo>
                  <a:pt x="60222" y="2254098"/>
                </a:lnTo>
                <a:lnTo>
                  <a:pt x="0" y="2254098"/>
                </a:lnTo>
                <a:lnTo>
                  <a:pt x="0" y="2217227"/>
                </a:lnTo>
                <a:lnTo>
                  <a:pt x="60222" y="2217227"/>
                </a:lnTo>
                <a:lnTo>
                  <a:pt x="60222" y="2068514"/>
                </a:lnTo>
                <a:lnTo>
                  <a:pt x="0" y="2068514"/>
                </a:lnTo>
                <a:lnTo>
                  <a:pt x="0" y="2031643"/>
                </a:lnTo>
                <a:lnTo>
                  <a:pt x="60222" y="2031643"/>
                </a:lnTo>
                <a:lnTo>
                  <a:pt x="60222" y="1878014"/>
                </a:lnTo>
                <a:lnTo>
                  <a:pt x="0" y="1878014"/>
                </a:lnTo>
                <a:lnTo>
                  <a:pt x="0" y="1838685"/>
                </a:lnTo>
                <a:lnTo>
                  <a:pt x="60222" y="1838685"/>
                </a:lnTo>
                <a:lnTo>
                  <a:pt x="60222" y="1685055"/>
                </a:lnTo>
                <a:lnTo>
                  <a:pt x="0" y="1685055"/>
                </a:lnTo>
                <a:lnTo>
                  <a:pt x="0" y="1645726"/>
                </a:lnTo>
                <a:lnTo>
                  <a:pt x="60222" y="1645726"/>
                </a:lnTo>
                <a:lnTo>
                  <a:pt x="60222" y="1492097"/>
                </a:lnTo>
                <a:lnTo>
                  <a:pt x="0" y="1492097"/>
                </a:lnTo>
                <a:lnTo>
                  <a:pt x="0" y="1453997"/>
                </a:lnTo>
                <a:lnTo>
                  <a:pt x="60222" y="1453997"/>
                </a:lnTo>
                <a:lnTo>
                  <a:pt x="60222" y="1300368"/>
                </a:lnTo>
                <a:lnTo>
                  <a:pt x="0" y="1300368"/>
                </a:lnTo>
                <a:lnTo>
                  <a:pt x="0" y="1265955"/>
                </a:lnTo>
                <a:lnTo>
                  <a:pt x="60222" y="1265955"/>
                </a:lnTo>
                <a:lnTo>
                  <a:pt x="60222" y="1112325"/>
                </a:lnTo>
                <a:lnTo>
                  <a:pt x="0" y="1112325"/>
                </a:lnTo>
                <a:lnTo>
                  <a:pt x="0" y="1071768"/>
                </a:lnTo>
                <a:lnTo>
                  <a:pt x="60222" y="1071768"/>
                </a:lnTo>
                <a:lnTo>
                  <a:pt x="60222" y="918138"/>
                </a:lnTo>
                <a:lnTo>
                  <a:pt x="0" y="918138"/>
                </a:lnTo>
                <a:lnTo>
                  <a:pt x="0" y="877581"/>
                </a:lnTo>
                <a:lnTo>
                  <a:pt x="60222" y="877581"/>
                </a:lnTo>
                <a:lnTo>
                  <a:pt x="60222" y="723951"/>
                </a:lnTo>
                <a:lnTo>
                  <a:pt x="0" y="723951"/>
                </a:lnTo>
                <a:lnTo>
                  <a:pt x="0" y="683393"/>
                </a:lnTo>
                <a:lnTo>
                  <a:pt x="60222" y="683393"/>
                </a:lnTo>
                <a:lnTo>
                  <a:pt x="60222" y="529763"/>
                </a:lnTo>
                <a:lnTo>
                  <a:pt x="0" y="529763"/>
                </a:lnTo>
                <a:lnTo>
                  <a:pt x="0" y="487976"/>
                </a:lnTo>
                <a:lnTo>
                  <a:pt x="60222" y="487976"/>
                </a:lnTo>
                <a:lnTo>
                  <a:pt x="60222" y="334348"/>
                </a:lnTo>
                <a:lnTo>
                  <a:pt x="0" y="334348"/>
                </a:lnTo>
                <a:lnTo>
                  <a:pt x="0" y="292561"/>
                </a:lnTo>
                <a:lnTo>
                  <a:pt x="60222" y="292561"/>
                </a:lnTo>
                <a:lnTo>
                  <a:pt x="60222" y="138931"/>
                </a:lnTo>
                <a:lnTo>
                  <a:pt x="0" y="138931"/>
                </a:lnTo>
                <a:lnTo>
                  <a:pt x="0" y="97144"/>
                </a:lnTo>
                <a:lnTo>
                  <a:pt x="60222" y="97144"/>
                </a:lnTo>
                <a:lnTo>
                  <a:pt x="60222" y="0"/>
                </a:lnTo>
                <a:close/>
                <a:moveTo>
                  <a:pt x="179439" y="137702"/>
                </a:moveTo>
                <a:lnTo>
                  <a:pt x="120445" y="142619"/>
                </a:lnTo>
                <a:lnTo>
                  <a:pt x="129048" y="291331"/>
                </a:lnTo>
                <a:lnTo>
                  <a:pt x="189271" y="286415"/>
                </a:lnTo>
                <a:lnTo>
                  <a:pt x="179439" y="137702"/>
                </a:lnTo>
                <a:close/>
                <a:moveTo>
                  <a:pt x="296197" y="137702"/>
                </a:moveTo>
                <a:lnTo>
                  <a:pt x="240891" y="147535"/>
                </a:lnTo>
                <a:lnTo>
                  <a:pt x="259326" y="291331"/>
                </a:lnTo>
                <a:lnTo>
                  <a:pt x="315861" y="281499"/>
                </a:lnTo>
                <a:lnTo>
                  <a:pt x="296197" y="137702"/>
                </a:lnTo>
                <a:close/>
                <a:moveTo>
                  <a:pt x="415413" y="137702"/>
                </a:moveTo>
                <a:lnTo>
                  <a:pt x="360106" y="152451"/>
                </a:lnTo>
                <a:lnTo>
                  <a:pt x="389603" y="291331"/>
                </a:lnTo>
                <a:lnTo>
                  <a:pt x="444910" y="276583"/>
                </a:lnTo>
                <a:lnTo>
                  <a:pt x="415413" y="137702"/>
                </a:lnTo>
                <a:close/>
                <a:moveTo>
                  <a:pt x="532171" y="137702"/>
                </a:moveTo>
                <a:lnTo>
                  <a:pt x="479323" y="157367"/>
                </a:lnTo>
                <a:lnTo>
                  <a:pt x="518652" y="291331"/>
                </a:lnTo>
                <a:lnTo>
                  <a:pt x="571500" y="271666"/>
                </a:lnTo>
                <a:lnTo>
                  <a:pt x="532171" y="137702"/>
                </a:lnTo>
                <a:close/>
                <a:moveTo>
                  <a:pt x="651388" y="137702"/>
                </a:moveTo>
                <a:lnTo>
                  <a:pt x="599769" y="162283"/>
                </a:lnTo>
                <a:lnTo>
                  <a:pt x="648930" y="291331"/>
                </a:lnTo>
                <a:lnTo>
                  <a:pt x="699320" y="266750"/>
                </a:lnTo>
                <a:lnTo>
                  <a:pt x="651388" y="137702"/>
                </a:lnTo>
                <a:close/>
                <a:moveTo>
                  <a:pt x="768145" y="137702"/>
                </a:moveTo>
                <a:lnTo>
                  <a:pt x="720214" y="168428"/>
                </a:lnTo>
                <a:lnTo>
                  <a:pt x="777978" y="291331"/>
                </a:lnTo>
                <a:lnTo>
                  <a:pt x="827139" y="261834"/>
                </a:lnTo>
                <a:lnTo>
                  <a:pt x="768145" y="137702"/>
                </a:lnTo>
                <a:close/>
                <a:moveTo>
                  <a:pt x="1005350" y="137702"/>
                </a:moveTo>
                <a:lnTo>
                  <a:pt x="959875" y="177031"/>
                </a:lnTo>
                <a:lnTo>
                  <a:pt x="1037304" y="290103"/>
                </a:lnTo>
                <a:lnTo>
                  <a:pt x="1082778" y="250773"/>
                </a:lnTo>
                <a:lnTo>
                  <a:pt x="1005350" y="137702"/>
                </a:lnTo>
                <a:close/>
                <a:moveTo>
                  <a:pt x="1123337" y="137702"/>
                </a:moveTo>
                <a:lnTo>
                  <a:pt x="1080320" y="183176"/>
                </a:lnTo>
                <a:lnTo>
                  <a:pt x="1167582" y="291331"/>
                </a:lnTo>
                <a:lnTo>
                  <a:pt x="1210598" y="245857"/>
                </a:lnTo>
                <a:lnTo>
                  <a:pt x="1123337" y="137702"/>
                </a:lnTo>
                <a:close/>
                <a:moveTo>
                  <a:pt x="1241324" y="137702"/>
                </a:moveTo>
                <a:lnTo>
                  <a:pt x="1200765" y="186864"/>
                </a:lnTo>
                <a:lnTo>
                  <a:pt x="1297860" y="291331"/>
                </a:lnTo>
                <a:lnTo>
                  <a:pt x="1338417" y="242170"/>
                </a:lnTo>
                <a:lnTo>
                  <a:pt x="1241324" y="137702"/>
                </a:lnTo>
                <a:close/>
                <a:moveTo>
                  <a:pt x="1359311" y="138931"/>
                </a:moveTo>
                <a:lnTo>
                  <a:pt x="1319982" y="193008"/>
                </a:lnTo>
                <a:lnTo>
                  <a:pt x="1426908" y="291331"/>
                </a:lnTo>
                <a:lnTo>
                  <a:pt x="1466237" y="237253"/>
                </a:lnTo>
                <a:lnTo>
                  <a:pt x="1359311" y="138931"/>
                </a:lnTo>
                <a:close/>
                <a:moveTo>
                  <a:pt x="1477299" y="138931"/>
                </a:moveTo>
                <a:lnTo>
                  <a:pt x="1440428" y="197924"/>
                </a:lnTo>
                <a:lnTo>
                  <a:pt x="1557185" y="291331"/>
                </a:lnTo>
                <a:lnTo>
                  <a:pt x="1594056" y="232337"/>
                </a:lnTo>
                <a:lnTo>
                  <a:pt x="1477299" y="138931"/>
                </a:lnTo>
                <a:close/>
                <a:moveTo>
                  <a:pt x="887362" y="138931"/>
                </a:moveTo>
                <a:lnTo>
                  <a:pt x="840659" y="173344"/>
                </a:lnTo>
                <a:lnTo>
                  <a:pt x="908255" y="291331"/>
                </a:lnTo>
                <a:lnTo>
                  <a:pt x="954959" y="258148"/>
                </a:lnTo>
                <a:lnTo>
                  <a:pt x="887362" y="138931"/>
                </a:lnTo>
                <a:close/>
                <a:moveTo>
                  <a:pt x="179439" y="331890"/>
                </a:moveTo>
                <a:lnTo>
                  <a:pt x="120445" y="336806"/>
                </a:lnTo>
                <a:lnTo>
                  <a:pt x="129048" y="485518"/>
                </a:lnTo>
                <a:lnTo>
                  <a:pt x="189271" y="480602"/>
                </a:lnTo>
                <a:lnTo>
                  <a:pt x="179439" y="331890"/>
                </a:lnTo>
                <a:close/>
                <a:moveTo>
                  <a:pt x="296197" y="331890"/>
                </a:moveTo>
                <a:lnTo>
                  <a:pt x="239661" y="341722"/>
                </a:lnTo>
                <a:lnTo>
                  <a:pt x="259326" y="485518"/>
                </a:lnTo>
                <a:lnTo>
                  <a:pt x="315861" y="475686"/>
                </a:lnTo>
                <a:lnTo>
                  <a:pt x="296197" y="331890"/>
                </a:lnTo>
                <a:close/>
                <a:moveTo>
                  <a:pt x="415413" y="331890"/>
                </a:moveTo>
                <a:lnTo>
                  <a:pt x="360106" y="346638"/>
                </a:lnTo>
                <a:lnTo>
                  <a:pt x="389603" y="485518"/>
                </a:lnTo>
                <a:lnTo>
                  <a:pt x="444910" y="470770"/>
                </a:lnTo>
                <a:lnTo>
                  <a:pt x="415413" y="331890"/>
                </a:lnTo>
                <a:close/>
                <a:moveTo>
                  <a:pt x="532171" y="331890"/>
                </a:moveTo>
                <a:lnTo>
                  <a:pt x="479323" y="351554"/>
                </a:lnTo>
                <a:lnTo>
                  <a:pt x="518652" y="485518"/>
                </a:lnTo>
                <a:lnTo>
                  <a:pt x="571500" y="465854"/>
                </a:lnTo>
                <a:lnTo>
                  <a:pt x="532171" y="331890"/>
                </a:lnTo>
                <a:close/>
                <a:moveTo>
                  <a:pt x="651388" y="331890"/>
                </a:moveTo>
                <a:lnTo>
                  <a:pt x="599769" y="356470"/>
                </a:lnTo>
                <a:lnTo>
                  <a:pt x="648930" y="485518"/>
                </a:lnTo>
                <a:lnTo>
                  <a:pt x="699320" y="460938"/>
                </a:lnTo>
                <a:lnTo>
                  <a:pt x="651388" y="331890"/>
                </a:lnTo>
                <a:close/>
                <a:moveTo>
                  <a:pt x="768145" y="331890"/>
                </a:moveTo>
                <a:lnTo>
                  <a:pt x="720214" y="361387"/>
                </a:lnTo>
                <a:lnTo>
                  <a:pt x="777978" y="484290"/>
                </a:lnTo>
                <a:lnTo>
                  <a:pt x="827139" y="454793"/>
                </a:lnTo>
                <a:lnTo>
                  <a:pt x="768145" y="331890"/>
                </a:lnTo>
                <a:close/>
                <a:moveTo>
                  <a:pt x="1005350" y="331890"/>
                </a:moveTo>
                <a:lnTo>
                  <a:pt x="959875" y="372447"/>
                </a:lnTo>
                <a:lnTo>
                  <a:pt x="1037304" y="485518"/>
                </a:lnTo>
                <a:lnTo>
                  <a:pt x="1082778" y="446189"/>
                </a:lnTo>
                <a:lnTo>
                  <a:pt x="1005350" y="331890"/>
                </a:lnTo>
                <a:close/>
                <a:moveTo>
                  <a:pt x="1123337" y="333118"/>
                </a:moveTo>
                <a:lnTo>
                  <a:pt x="1080320" y="377363"/>
                </a:lnTo>
                <a:lnTo>
                  <a:pt x="1167582" y="485518"/>
                </a:lnTo>
                <a:lnTo>
                  <a:pt x="1210598" y="441273"/>
                </a:lnTo>
                <a:lnTo>
                  <a:pt x="1123337" y="333118"/>
                </a:lnTo>
                <a:close/>
                <a:moveTo>
                  <a:pt x="1240094" y="333118"/>
                </a:moveTo>
                <a:lnTo>
                  <a:pt x="1199537" y="382279"/>
                </a:lnTo>
                <a:lnTo>
                  <a:pt x="1296630" y="485518"/>
                </a:lnTo>
                <a:lnTo>
                  <a:pt x="1338417" y="436357"/>
                </a:lnTo>
                <a:lnTo>
                  <a:pt x="1240094" y="333118"/>
                </a:lnTo>
                <a:close/>
                <a:moveTo>
                  <a:pt x="1359311" y="333118"/>
                </a:moveTo>
                <a:lnTo>
                  <a:pt x="1319982" y="387196"/>
                </a:lnTo>
                <a:lnTo>
                  <a:pt x="1426908" y="485518"/>
                </a:lnTo>
                <a:lnTo>
                  <a:pt x="1466237" y="431441"/>
                </a:lnTo>
                <a:lnTo>
                  <a:pt x="1359311" y="333118"/>
                </a:lnTo>
                <a:close/>
                <a:moveTo>
                  <a:pt x="1477299" y="333118"/>
                </a:moveTo>
                <a:lnTo>
                  <a:pt x="1440428" y="392112"/>
                </a:lnTo>
                <a:lnTo>
                  <a:pt x="1557185" y="485518"/>
                </a:lnTo>
                <a:lnTo>
                  <a:pt x="1594056" y="426525"/>
                </a:lnTo>
                <a:lnTo>
                  <a:pt x="1477299" y="333118"/>
                </a:lnTo>
                <a:close/>
                <a:moveTo>
                  <a:pt x="887362" y="333118"/>
                </a:moveTo>
                <a:lnTo>
                  <a:pt x="840659" y="367531"/>
                </a:lnTo>
                <a:lnTo>
                  <a:pt x="908255" y="485518"/>
                </a:lnTo>
                <a:lnTo>
                  <a:pt x="954959" y="452335"/>
                </a:lnTo>
                <a:lnTo>
                  <a:pt x="887362" y="333118"/>
                </a:lnTo>
                <a:close/>
                <a:moveTo>
                  <a:pt x="415413" y="526077"/>
                </a:moveTo>
                <a:lnTo>
                  <a:pt x="360106" y="540825"/>
                </a:lnTo>
                <a:lnTo>
                  <a:pt x="389603" y="679706"/>
                </a:lnTo>
                <a:lnTo>
                  <a:pt x="444910" y="664957"/>
                </a:lnTo>
                <a:lnTo>
                  <a:pt x="415413" y="526077"/>
                </a:lnTo>
                <a:close/>
                <a:moveTo>
                  <a:pt x="651388" y="526077"/>
                </a:moveTo>
                <a:lnTo>
                  <a:pt x="599769" y="550658"/>
                </a:lnTo>
                <a:lnTo>
                  <a:pt x="648930" y="679706"/>
                </a:lnTo>
                <a:lnTo>
                  <a:pt x="699320" y="655125"/>
                </a:lnTo>
                <a:lnTo>
                  <a:pt x="651388" y="526077"/>
                </a:lnTo>
                <a:close/>
                <a:moveTo>
                  <a:pt x="887362" y="526077"/>
                </a:moveTo>
                <a:lnTo>
                  <a:pt x="840659" y="560490"/>
                </a:lnTo>
                <a:lnTo>
                  <a:pt x="908255" y="679706"/>
                </a:lnTo>
                <a:lnTo>
                  <a:pt x="954959" y="644064"/>
                </a:lnTo>
                <a:lnTo>
                  <a:pt x="887362" y="526077"/>
                </a:lnTo>
                <a:close/>
                <a:moveTo>
                  <a:pt x="1477299" y="526077"/>
                </a:moveTo>
                <a:lnTo>
                  <a:pt x="1440428" y="585071"/>
                </a:lnTo>
                <a:lnTo>
                  <a:pt x="1557185" y="679706"/>
                </a:lnTo>
                <a:lnTo>
                  <a:pt x="1594056" y="620712"/>
                </a:lnTo>
                <a:lnTo>
                  <a:pt x="1477299" y="526077"/>
                </a:lnTo>
                <a:close/>
                <a:moveTo>
                  <a:pt x="1005350" y="527305"/>
                </a:moveTo>
                <a:lnTo>
                  <a:pt x="959875" y="565406"/>
                </a:lnTo>
                <a:lnTo>
                  <a:pt x="1037304" y="679706"/>
                </a:lnTo>
                <a:lnTo>
                  <a:pt x="1082778" y="640377"/>
                </a:lnTo>
                <a:lnTo>
                  <a:pt x="1005350" y="527305"/>
                </a:lnTo>
                <a:close/>
                <a:moveTo>
                  <a:pt x="1123337" y="527305"/>
                </a:moveTo>
                <a:lnTo>
                  <a:pt x="1080320" y="571551"/>
                </a:lnTo>
                <a:lnTo>
                  <a:pt x="1167582" y="679706"/>
                </a:lnTo>
                <a:lnTo>
                  <a:pt x="1210598" y="635460"/>
                </a:lnTo>
                <a:lnTo>
                  <a:pt x="1123337" y="527305"/>
                </a:lnTo>
                <a:close/>
                <a:moveTo>
                  <a:pt x="1241324" y="527305"/>
                </a:moveTo>
                <a:lnTo>
                  <a:pt x="1200765" y="576467"/>
                </a:lnTo>
                <a:lnTo>
                  <a:pt x="1297860" y="680935"/>
                </a:lnTo>
                <a:lnTo>
                  <a:pt x="1338417" y="631774"/>
                </a:lnTo>
                <a:lnTo>
                  <a:pt x="1241324" y="527305"/>
                </a:lnTo>
                <a:close/>
                <a:moveTo>
                  <a:pt x="1359311" y="527305"/>
                </a:moveTo>
                <a:lnTo>
                  <a:pt x="1319982" y="581383"/>
                </a:lnTo>
                <a:lnTo>
                  <a:pt x="1426908" y="679706"/>
                </a:lnTo>
                <a:lnTo>
                  <a:pt x="1466237" y="625628"/>
                </a:lnTo>
                <a:lnTo>
                  <a:pt x="1359311" y="527305"/>
                </a:lnTo>
                <a:close/>
                <a:moveTo>
                  <a:pt x="768145" y="527305"/>
                </a:moveTo>
                <a:lnTo>
                  <a:pt x="720214" y="556802"/>
                </a:lnTo>
                <a:lnTo>
                  <a:pt x="777978" y="680935"/>
                </a:lnTo>
                <a:lnTo>
                  <a:pt x="827139" y="651438"/>
                </a:lnTo>
                <a:lnTo>
                  <a:pt x="768145" y="527305"/>
                </a:lnTo>
                <a:close/>
                <a:moveTo>
                  <a:pt x="532171" y="527305"/>
                </a:moveTo>
                <a:lnTo>
                  <a:pt x="479323" y="546970"/>
                </a:lnTo>
                <a:lnTo>
                  <a:pt x="518652" y="679706"/>
                </a:lnTo>
                <a:lnTo>
                  <a:pt x="571500" y="661271"/>
                </a:lnTo>
                <a:lnTo>
                  <a:pt x="532171" y="527305"/>
                </a:lnTo>
                <a:close/>
                <a:moveTo>
                  <a:pt x="179439" y="527305"/>
                </a:moveTo>
                <a:lnTo>
                  <a:pt x="120445" y="532222"/>
                </a:lnTo>
                <a:lnTo>
                  <a:pt x="129048" y="679706"/>
                </a:lnTo>
                <a:lnTo>
                  <a:pt x="189271" y="676019"/>
                </a:lnTo>
                <a:lnTo>
                  <a:pt x="179439" y="527305"/>
                </a:lnTo>
                <a:close/>
                <a:moveTo>
                  <a:pt x="296197" y="527305"/>
                </a:moveTo>
                <a:lnTo>
                  <a:pt x="239661" y="537138"/>
                </a:lnTo>
                <a:lnTo>
                  <a:pt x="259326" y="680935"/>
                </a:lnTo>
                <a:lnTo>
                  <a:pt x="315861" y="671103"/>
                </a:lnTo>
                <a:lnTo>
                  <a:pt x="296197" y="527305"/>
                </a:lnTo>
                <a:close/>
                <a:moveTo>
                  <a:pt x="179439" y="721493"/>
                </a:moveTo>
                <a:lnTo>
                  <a:pt x="120445" y="726409"/>
                </a:lnTo>
                <a:lnTo>
                  <a:pt x="129048" y="875123"/>
                </a:lnTo>
                <a:lnTo>
                  <a:pt x="189271" y="870206"/>
                </a:lnTo>
                <a:lnTo>
                  <a:pt x="179439" y="721493"/>
                </a:lnTo>
                <a:close/>
                <a:moveTo>
                  <a:pt x="296197" y="721493"/>
                </a:moveTo>
                <a:lnTo>
                  <a:pt x="239661" y="731325"/>
                </a:lnTo>
                <a:lnTo>
                  <a:pt x="259326" y="875123"/>
                </a:lnTo>
                <a:lnTo>
                  <a:pt x="315861" y="865290"/>
                </a:lnTo>
                <a:lnTo>
                  <a:pt x="296197" y="721493"/>
                </a:lnTo>
                <a:close/>
                <a:moveTo>
                  <a:pt x="415413" y="721493"/>
                </a:moveTo>
                <a:lnTo>
                  <a:pt x="360106" y="736241"/>
                </a:lnTo>
                <a:lnTo>
                  <a:pt x="389603" y="875123"/>
                </a:lnTo>
                <a:lnTo>
                  <a:pt x="444910" y="860374"/>
                </a:lnTo>
                <a:lnTo>
                  <a:pt x="415413" y="721493"/>
                </a:lnTo>
                <a:close/>
                <a:moveTo>
                  <a:pt x="532171" y="721493"/>
                </a:moveTo>
                <a:lnTo>
                  <a:pt x="479323" y="741157"/>
                </a:lnTo>
                <a:lnTo>
                  <a:pt x="518652" y="875123"/>
                </a:lnTo>
                <a:lnTo>
                  <a:pt x="571500" y="855458"/>
                </a:lnTo>
                <a:lnTo>
                  <a:pt x="532171" y="721493"/>
                </a:lnTo>
                <a:close/>
                <a:moveTo>
                  <a:pt x="651388" y="721493"/>
                </a:moveTo>
                <a:lnTo>
                  <a:pt x="599769" y="746073"/>
                </a:lnTo>
                <a:lnTo>
                  <a:pt x="648930" y="875123"/>
                </a:lnTo>
                <a:lnTo>
                  <a:pt x="699320" y="850542"/>
                </a:lnTo>
                <a:lnTo>
                  <a:pt x="651388" y="721493"/>
                </a:lnTo>
                <a:close/>
                <a:moveTo>
                  <a:pt x="769375" y="721493"/>
                </a:moveTo>
                <a:lnTo>
                  <a:pt x="721442" y="750990"/>
                </a:lnTo>
                <a:lnTo>
                  <a:pt x="779207" y="875123"/>
                </a:lnTo>
                <a:lnTo>
                  <a:pt x="828369" y="845626"/>
                </a:lnTo>
                <a:lnTo>
                  <a:pt x="769375" y="721493"/>
                </a:lnTo>
                <a:close/>
                <a:moveTo>
                  <a:pt x="887362" y="721493"/>
                </a:moveTo>
                <a:lnTo>
                  <a:pt x="840659" y="755906"/>
                </a:lnTo>
                <a:lnTo>
                  <a:pt x="908255" y="875123"/>
                </a:lnTo>
                <a:lnTo>
                  <a:pt x="954959" y="840710"/>
                </a:lnTo>
                <a:lnTo>
                  <a:pt x="887362" y="721493"/>
                </a:lnTo>
                <a:close/>
                <a:moveTo>
                  <a:pt x="1005350" y="721493"/>
                </a:moveTo>
                <a:lnTo>
                  <a:pt x="959875" y="760822"/>
                </a:lnTo>
                <a:lnTo>
                  <a:pt x="1037304" y="873893"/>
                </a:lnTo>
                <a:lnTo>
                  <a:pt x="1082778" y="834564"/>
                </a:lnTo>
                <a:lnTo>
                  <a:pt x="1005350" y="721493"/>
                </a:lnTo>
                <a:close/>
                <a:moveTo>
                  <a:pt x="1123337" y="721493"/>
                </a:moveTo>
                <a:lnTo>
                  <a:pt x="1080320" y="765738"/>
                </a:lnTo>
                <a:lnTo>
                  <a:pt x="1167582" y="875123"/>
                </a:lnTo>
                <a:lnTo>
                  <a:pt x="1210598" y="829648"/>
                </a:lnTo>
                <a:lnTo>
                  <a:pt x="1123337" y="721493"/>
                </a:lnTo>
                <a:close/>
                <a:moveTo>
                  <a:pt x="1241324" y="721493"/>
                </a:moveTo>
                <a:lnTo>
                  <a:pt x="1200765" y="770654"/>
                </a:lnTo>
                <a:lnTo>
                  <a:pt x="1297860" y="875123"/>
                </a:lnTo>
                <a:lnTo>
                  <a:pt x="1338417" y="825961"/>
                </a:lnTo>
                <a:lnTo>
                  <a:pt x="1241324" y="721493"/>
                </a:lnTo>
                <a:close/>
                <a:moveTo>
                  <a:pt x="1477299" y="721493"/>
                </a:moveTo>
                <a:lnTo>
                  <a:pt x="1440428" y="780486"/>
                </a:lnTo>
                <a:lnTo>
                  <a:pt x="1557185" y="873893"/>
                </a:lnTo>
                <a:lnTo>
                  <a:pt x="1594056" y="814899"/>
                </a:lnTo>
                <a:lnTo>
                  <a:pt x="1477299" y="721493"/>
                </a:lnTo>
                <a:close/>
                <a:moveTo>
                  <a:pt x="1359311" y="722722"/>
                </a:moveTo>
                <a:lnTo>
                  <a:pt x="1319982" y="776800"/>
                </a:lnTo>
                <a:lnTo>
                  <a:pt x="1426908" y="876351"/>
                </a:lnTo>
                <a:lnTo>
                  <a:pt x="1466237" y="821045"/>
                </a:lnTo>
                <a:lnTo>
                  <a:pt x="1359311" y="722722"/>
                </a:lnTo>
                <a:close/>
                <a:moveTo>
                  <a:pt x="179439" y="915680"/>
                </a:moveTo>
                <a:lnTo>
                  <a:pt x="120445" y="920596"/>
                </a:lnTo>
                <a:lnTo>
                  <a:pt x="129048" y="1069310"/>
                </a:lnTo>
                <a:lnTo>
                  <a:pt x="189271" y="1064394"/>
                </a:lnTo>
                <a:lnTo>
                  <a:pt x="179439" y="915680"/>
                </a:lnTo>
                <a:close/>
                <a:moveTo>
                  <a:pt x="296197" y="915680"/>
                </a:moveTo>
                <a:lnTo>
                  <a:pt x="239661" y="925512"/>
                </a:lnTo>
                <a:lnTo>
                  <a:pt x="259326" y="1069310"/>
                </a:lnTo>
                <a:lnTo>
                  <a:pt x="315861" y="1059478"/>
                </a:lnTo>
                <a:lnTo>
                  <a:pt x="296197" y="915680"/>
                </a:lnTo>
                <a:close/>
                <a:moveTo>
                  <a:pt x="415413" y="915680"/>
                </a:moveTo>
                <a:lnTo>
                  <a:pt x="360106" y="930428"/>
                </a:lnTo>
                <a:lnTo>
                  <a:pt x="389603" y="1069310"/>
                </a:lnTo>
                <a:lnTo>
                  <a:pt x="444910" y="1054561"/>
                </a:lnTo>
                <a:lnTo>
                  <a:pt x="415413" y="915680"/>
                </a:lnTo>
                <a:close/>
                <a:moveTo>
                  <a:pt x="532171" y="915680"/>
                </a:moveTo>
                <a:lnTo>
                  <a:pt x="479323" y="935345"/>
                </a:lnTo>
                <a:lnTo>
                  <a:pt x="518652" y="1069310"/>
                </a:lnTo>
                <a:lnTo>
                  <a:pt x="571500" y="1049645"/>
                </a:lnTo>
                <a:lnTo>
                  <a:pt x="532171" y="915680"/>
                </a:lnTo>
                <a:close/>
                <a:moveTo>
                  <a:pt x="651388" y="915680"/>
                </a:moveTo>
                <a:lnTo>
                  <a:pt x="599769" y="940261"/>
                </a:lnTo>
                <a:lnTo>
                  <a:pt x="648930" y="1069310"/>
                </a:lnTo>
                <a:lnTo>
                  <a:pt x="699320" y="1044729"/>
                </a:lnTo>
                <a:lnTo>
                  <a:pt x="651388" y="915680"/>
                </a:lnTo>
                <a:close/>
                <a:moveTo>
                  <a:pt x="768145" y="915680"/>
                </a:moveTo>
                <a:lnTo>
                  <a:pt x="720214" y="945177"/>
                </a:lnTo>
                <a:lnTo>
                  <a:pt x="777978" y="1068080"/>
                </a:lnTo>
                <a:lnTo>
                  <a:pt x="827139" y="1038583"/>
                </a:lnTo>
                <a:lnTo>
                  <a:pt x="768145" y="915680"/>
                </a:lnTo>
                <a:close/>
                <a:moveTo>
                  <a:pt x="887362" y="915680"/>
                </a:moveTo>
                <a:lnTo>
                  <a:pt x="840659" y="950093"/>
                </a:lnTo>
                <a:lnTo>
                  <a:pt x="908255" y="1069310"/>
                </a:lnTo>
                <a:lnTo>
                  <a:pt x="954959" y="1034897"/>
                </a:lnTo>
                <a:lnTo>
                  <a:pt x="887362" y="915680"/>
                </a:lnTo>
                <a:close/>
                <a:moveTo>
                  <a:pt x="1005350" y="915680"/>
                </a:moveTo>
                <a:lnTo>
                  <a:pt x="959875" y="955009"/>
                </a:lnTo>
                <a:lnTo>
                  <a:pt x="1037304" y="1068080"/>
                </a:lnTo>
                <a:lnTo>
                  <a:pt x="1082778" y="1028751"/>
                </a:lnTo>
                <a:lnTo>
                  <a:pt x="1005350" y="915680"/>
                </a:lnTo>
                <a:close/>
                <a:moveTo>
                  <a:pt x="1241324" y="915680"/>
                </a:moveTo>
                <a:lnTo>
                  <a:pt x="1200765" y="964841"/>
                </a:lnTo>
                <a:lnTo>
                  <a:pt x="1297860" y="1069310"/>
                </a:lnTo>
                <a:lnTo>
                  <a:pt x="1338417" y="1020149"/>
                </a:lnTo>
                <a:lnTo>
                  <a:pt x="1241324" y="915680"/>
                </a:lnTo>
                <a:close/>
                <a:moveTo>
                  <a:pt x="1477299" y="915680"/>
                </a:moveTo>
                <a:lnTo>
                  <a:pt x="1440428" y="974674"/>
                </a:lnTo>
                <a:lnTo>
                  <a:pt x="1557185" y="1068080"/>
                </a:lnTo>
                <a:lnTo>
                  <a:pt x="1594056" y="1009087"/>
                </a:lnTo>
                <a:lnTo>
                  <a:pt x="1477299" y="915680"/>
                </a:lnTo>
                <a:close/>
                <a:moveTo>
                  <a:pt x="1359311" y="916910"/>
                </a:moveTo>
                <a:lnTo>
                  <a:pt x="1319982" y="970987"/>
                </a:lnTo>
                <a:lnTo>
                  <a:pt x="1426908" y="1069310"/>
                </a:lnTo>
                <a:lnTo>
                  <a:pt x="1466237" y="1015232"/>
                </a:lnTo>
                <a:lnTo>
                  <a:pt x="1359311" y="916910"/>
                </a:lnTo>
                <a:close/>
                <a:moveTo>
                  <a:pt x="1123337" y="916910"/>
                </a:moveTo>
                <a:lnTo>
                  <a:pt x="1080320" y="961155"/>
                </a:lnTo>
                <a:lnTo>
                  <a:pt x="1167582" y="1069310"/>
                </a:lnTo>
                <a:lnTo>
                  <a:pt x="1210598" y="1025065"/>
                </a:lnTo>
                <a:lnTo>
                  <a:pt x="1123337" y="916910"/>
                </a:lnTo>
                <a:close/>
                <a:moveTo>
                  <a:pt x="179439" y="1109867"/>
                </a:moveTo>
                <a:lnTo>
                  <a:pt x="120445" y="1114783"/>
                </a:lnTo>
                <a:lnTo>
                  <a:pt x="129048" y="1263497"/>
                </a:lnTo>
                <a:lnTo>
                  <a:pt x="189271" y="1258581"/>
                </a:lnTo>
                <a:lnTo>
                  <a:pt x="179439" y="1109867"/>
                </a:lnTo>
                <a:close/>
                <a:moveTo>
                  <a:pt x="296197" y="1109867"/>
                </a:moveTo>
                <a:lnTo>
                  <a:pt x="239661" y="1119700"/>
                </a:lnTo>
                <a:lnTo>
                  <a:pt x="259326" y="1263497"/>
                </a:lnTo>
                <a:lnTo>
                  <a:pt x="315861" y="1253665"/>
                </a:lnTo>
                <a:lnTo>
                  <a:pt x="296197" y="1109867"/>
                </a:lnTo>
                <a:close/>
                <a:moveTo>
                  <a:pt x="415413" y="1109867"/>
                </a:moveTo>
                <a:lnTo>
                  <a:pt x="360106" y="1124616"/>
                </a:lnTo>
                <a:lnTo>
                  <a:pt x="389603" y="1263497"/>
                </a:lnTo>
                <a:lnTo>
                  <a:pt x="444910" y="1248749"/>
                </a:lnTo>
                <a:lnTo>
                  <a:pt x="415413" y="1109867"/>
                </a:lnTo>
                <a:close/>
                <a:moveTo>
                  <a:pt x="532171" y="1109867"/>
                </a:moveTo>
                <a:lnTo>
                  <a:pt x="479323" y="1129532"/>
                </a:lnTo>
                <a:lnTo>
                  <a:pt x="518652" y="1263497"/>
                </a:lnTo>
                <a:lnTo>
                  <a:pt x="571500" y="1243833"/>
                </a:lnTo>
                <a:lnTo>
                  <a:pt x="532171" y="1109867"/>
                </a:lnTo>
                <a:close/>
                <a:moveTo>
                  <a:pt x="651388" y="1109867"/>
                </a:moveTo>
                <a:lnTo>
                  <a:pt x="599769" y="1135678"/>
                </a:lnTo>
                <a:lnTo>
                  <a:pt x="648930" y="1264726"/>
                </a:lnTo>
                <a:lnTo>
                  <a:pt x="699320" y="1238917"/>
                </a:lnTo>
                <a:lnTo>
                  <a:pt x="651388" y="1109867"/>
                </a:lnTo>
                <a:close/>
                <a:moveTo>
                  <a:pt x="768145" y="1109867"/>
                </a:moveTo>
                <a:lnTo>
                  <a:pt x="720214" y="1138136"/>
                </a:lnTo>
                <a:lnTo>
                  <a:pt x="777978" y="1262268"/>
                </a:lnTo>
                <a:lnTo>
                  <a:pt x="827139" y="1232771"/>
                </a:lnTo>
                <a:lnTo>
                  <a:pt x="768145" y="1109867"/>
                </a:lnTo>
                <a:close/>
                <a:moveTo>
                  <a:pt x="887362" y="1109867"/>
                </a:moveTo>
                <a:lnTo>
                  <a:pt x="840659" y="1144280"/>
                </a:lnTo>
                <a:lnTo>
                  <a:pt x="908255" y="1263497"/>
                </a:lnTo>
                <a:lnTo>
                  <a:pt x="954959" y="1229084"/>
                </a:lnTo>
                <a:lnTo>
                  <a:pt x="887362" y="1109867"/>
                </a:lnTo>
                <a:close/>
                <a:moveTo>
                  <a:pt x="1005350" y="1109867"/>
                </a:moveTo>
                <a:lnTo>
                  <a:pt x="959875" y="1150426"/>
                </a:lnTo>
                <a:lnTo>
                  <a:pt x="1037304" y="1263497"/>
                </a:lnTo>
                <a:lnTo>
                  <a:pt x="1082778" y="1224168"/>
                </a:lnTo>
                <a:lnTo>
                  <a:pt x="1005350" y="1109867"/>
                </a:lnTo>
                <a:close/>
                <a:moveTo>
                  <a:pt x="1123337" y="1109867"/>
                </a:moveTo>
                <a:lnTo>
                  <a:pt x="1080320" y="1154113"/>
                </a:lnTo>
                <a:lnTo>
                  <a:pt x="1167582" y="1263497"/>
                </a:lnTo>
                <a:lnTo>
                  <a:pt x="1210598" y="1219252"/>
                </a:lnTo>
                <a:lnTo>
                  <a:pt x="1123337" y="1109867"/>
                </a:lnTo>
                <a:close/>
                <a:moveTo>
                  <a:pt x="1241324" y="1109867"/>
                </a:moveTo>
                <a:lnTo>
                  <a:pt x="1199537" y="1160258"/>
                </a:lnTo>
                <a:lnTo>
                  <a:pt x="1297860" y="1263497"/>
                </a:lnTo>
                <a:lnTo>
                  <a:pt x="1338417" y="1214336"/>
                </a:lnTo>
                <a:lnTo>
                  <a:pt x="1241324" y="1109867"/>
                </a:lnTo>
                <a:close/>
                <a:moveTo>
                  <a:pt x="1359311" y="1111097"/>
                </a:moveTo>
                <a:lnTo>
                  <a:pt x="1319982" y="1165175"/>
                </a:lnTo>
                <a:lnTo>
                  <a:pt x="1426908" y="1263497"/>
                </a:lnTo>
                <a:lnTo>
                  <a:pt x="1466237" y="1209420"/>
                </a:lnTo>
                <a:lnTo>
                  <a:pt x="1359311" y="1111097"/>
                </a:lnTo>
                <a:close/>
                <a:moveTo>
                  <a:pt x="1476069" y="1111097"/>
                </a:moveTo>
                <a:lnTo>
                  <a:pt x="1439198" y="1170091"/>
                </a:lnTo>
                <a:lnTo>
                  <a:pt x="1555957" y="1263497"/>
                </a:lnTo>
                <a:lnTo>
                  <a:pt x="1592828" y="1204504"/>
                </a:lnTo>
                <a:lnTo>
                  <a:pt x="1476069" y="1111097"/>
                </a:lnTo>
                <a:close/>
                <a:moveTo>
                  <a:pt x="769375" y="1296680"/>
                </a:moveTo>
                <a:lnTo>
                  <a:pt x="720214" y="1327407"/>
                </a:lnTo>
                <a:lnTo>
                  <a:pt x="777978" y="1450310"/>
                </a:lnTo>
                <a:lnTo>
                  <a:pt x="827139" y="1420814"/>
                </a:lnTo>
                <a:lnTo>
                  <a:pt x="769375" y="1296680"/>
                </a:lnTo>
                <a:close/>
                <a:moveTo>
                  <a:pt x="1123337" y="1296680"/>
                </a:moveTo>
                <a:lnTo>
                  <a:pt x="1080320" y="1342155"/>
                </a:lnTo>
                <a:lnTo>
                  <a:pt x="1167582" y="1450310"/>
                </a:lnTo>
                <a:lnTo>
                  <a:pt x="1210598" y="1406065"/>
                </a:lnTo>
                <a:lnTo>
                  <a:pt x="1123337" y="1296680"/>
                </a:lnTo>
                <a:close/>
                <a:moveTo>
                  <a:pt x="1359311" y="1297910"/>
                </a:moveTo>
                <a:lnTo>
                  <a:pt x="1319982" y="1351988"/>
                </a:lnTo>
                <a:lnTo>
                  <a:pt x="1426908" y="1450310"/>
                </a:lnTo>
                <a:lnTo>
                  <a:pt x="1466237" y="1396233"/>
                </a:lnTo>
                <a:lnTo>
                  <a:pt x="1359311" y="1297910"/>
                </a:lnTo>
                <a:close/>
                <a:moveTo>
                  <a:pt x="1242552" y="1299139"/>
                </a:moveTo>
                <a:lnTo>
                  <a:pt x="1200765" y="1348300"/>
                </a:lnTo>
                <a:lnTo>
                  <a:pt x="1297860" y="1451539"/>
                </a:lnTo>
                <a:lnTo>
                  <a:pt x="1338417" y="1402377"/>
                </a:lnTo>
                <a:lnTo>
                  <a:pt x="1242552" y="1299139"/>
                </a:lnTo>
                <a:close/>
                <a:moveTo>
                  <a:pt x="1005350" y="1297910"/>
                </a:moveTo>
                <a:lnTo>
                  <a:pt x="959875" y="1338468"/>
                </a:lnTo>
                <a:lnTo>
                  <a:pt x="1037304" y="1451539"/>
                </a:lnTo>
                <a:lnTo>
                  <a:pt x="1082778" y="1412210"/>
                </a:lnTo>
                <a:lnTo>
                  <a:pt x="1005350" y="1297910"/>
                </a:lnTo>
                <a:close/>
                <a:moveTo>
                  <a:pt x="887362" y="1299139"/>
                </a:moveTo>
                <a:lnTo>
                  <a:pt x="840659" y="1333551"/>
                </a:lnTo>
                <a:lnTo>
                  <a:pt x="908255" y="1451539"/>
                </a:lnTo>
                <a:lnTo>
                  <a:pt x="954959" y="1418355"/>
                </a:lnTo>
                <a:lnTo>
                  <a:pt x="887362" y="1299139"/>
                </a:lnTo>
                <a:close/>
                <a:moveTo>
                  <a:pt x="178209" y="1297910"/>
                </a:moveTo>
                <a:lnTo>
                  <a:pt x="119216" y="1302826"/>
                </a:lnTo>
                <a:lnTo>
                  <a:pt x="129048" y="1451539"/>
                </a:lnTo>
                <a:lnTo>
                  <a:pt x="188042" y="1446623"/>
                </a:lnTo>
                <a:lnTo>
                  <a:pt x="178209" y="1297910"/>
                </a:lnTo>
                <a:close/>
                <a:moveTo>
                  <a:pt x="296197" y="1297910"/>
                </a:moveTo>
                <a:lnTo>
                  <a:pt x="239661" y="1307742"/>
                </a:lnTo>
                <a:lnTo>
                  <a:pt x="259326" y="1451539"/>
                </a:lnTo>
                <a:lnTo>
                  <a:pt x="315861" y="1441706"/>
                </a:lnTo>
                <a:lnTo>
                  <a:pt x="296197" y="1297910"/>
                </a:lnTo>
                <a:close/>
                <a:moveTo>
                  <a:pt x="415413" y="1297910"/>
                </a:moveTo>
                <a:lnTo>
                  <a:pt x="360106" y="1312659"/>
                </a:lnTo>
                <a:lnTo>
                  <a:pt x="389603" y="1451539"/>
                </a:lnTo>
                <a:lnTo>
                  <a:pt x="444910" y="1436790"/>
                </a:lnTo>
                <a:lnTo>
                  <a:pt x="415413" y="1297910"/>
                </a:lnTo>
                <a:close/>
                <a:moveTo>
                  <a:pt x="532171" y="1297910"/>
                </a:moveTo>
                <a:lnTo>
                  <a:pt x="479323" y="1317575"/>
                </a:lnTo>
                <a:lnTo>
                  <a:pt x="518652" y="1451539"/>
                </a:lnTo>
                <a:lnTo>
                  <a:pt x="571500" y="1431874"/>
                </a:lnTo>
                <a:lnTo>
                  <a:pt x="532171" y="1297910"/>
                </a:lnTo>
                <a:close/>
                <a:moveTo>
                  <a:pt x="651388" y="1297910"/>
                </a:moveTo>
                <a:lnTo>
                  <a:pt x="599769" y="1322491"/>
                </a:lnTo>
                <a:lnTo>
                  <a:pt x="648930" y="1451539"/>
                </a:lnTo>
                <a:lnTo>
                  <a:pt x="699320" y="1426958"/>
                </a:lnTo>
                <a:lnTo>
                  <a:pt x="651388" y="1297910"/>
                </a:lnTo>
                <a:close/>
                <a:moveTo>
                  <a:pt x="178209" y="1488410"/>
                </a:moveTo>
                <a:lnTo>
                  <a:pt x="119216" y="1493326"/>
                </a:lnTo>
                <a:lnTo>
                  <a:pt x="129048" y="1642040"/>
                </a:lnTo>
                <a:lnTo>
                  <a:pt x="188042" y="1637123"/>
                </a:lnTo>
                <a:lnTo>
                  <a:pt x="178209" y="1488410"/>
                </a:lnTo>
                <a:close/>
                <a:moveTo>
                  <a:pt x="651388" y="1488410"/>
                </a:moveTo>
                <a:lnTo>
                  <a:pt x="599769" y="1512990"/>
                </a:lnTo>
                <a:lnTo>
                  <a:pt x="648930" y="1642040"/>
                </a:lnTo>
                <a:lnTo>
                  <a:pt x="699320" y="1617459"/>
                </a:lnTo>
                <a:lnTo>
                  <a:pt x="651388" y="1488410"/>
                </a:lnTo>
                <a:close/>
                <a:moveTo>
                  <a:pt x="887362" y="1488410"/>
                </a:moveTo>
                <a:lnTo>
                  <a:pt x="840659" y="1522823"/>
                </a:lnTo>
                <a:lnTo>
                  <a:pt x="908255" y="1642040"/>
                </a:lnTo>
                <a:lnTo>
                  <a:pt x="954959" y="1607627"/>
                </a:lnTo>
                <a:lnTo>
                  <a:pt x="887362" y="1488410"/>
                </a:lnTo>
                <a:close/>
                <a:moveTo>
                  <a:pt x="1242552" y="1488410"/>
                </a:moveTo>
                <a:lnTo>
                  <a:pt x="1200765" y="1537571"/>
                </a:lnTo>
                <a:lnTo>
                  <a:pt x="1297860" y="1642040"/>
                </a:lnTo>
                <a:lnTo>
                  <a:pt x="1338417" y="1592878"/>
                </a:lnTo>
                <a:lnTo>
                  <a:pt x="1242552" y="1488410"/>
                </a:lnTo>
                <a:close/>
                <a:moveTo>
                  <a:pt x="1359311" y="1488410"/>
                </a:moveTo>
                <a:lnTo>
                  <a:pt x="1319982" y="1543717"/>
                </a:lnTo>
                <a:lnTo>
                  <a:pt x="1426908" y="1640810"/>
                </a:lnTo>
                <a:lnTo>
                  <a:pt x="1466237" y="1586732"/>
                </a:lnTo>
                <a:lnTo>
                  <a:pt x="1359311" y="1488410"/>
                </a:lnTo>
                <a:close/>
                <a:moveTo>
                  <a:pt x="1005350" y="1489639"/>
                </a:moveTo>
                <a:lnTo>
                  <a:pt x="959875" y="1528968"/>
                </a:lnTo>
                <a:lnTo>
                  <a:pt x="1037304" y="1642040"/>
                </a:lnTo>
                <a:lnTo>
                  <a:pt x="1082778" y="1602710"/>
                </a:lnTo>
                <a:lnTo>
                  <a:pt x="1005350" y="1489639"/>
                </a:lnTo>
                <a:close/>
                <a:moveTo>
                  <a:pt x="1123337" y="1489639"/>
                </a:moveTo>
                <a:lnTo>
                  <a:pt x="1080320" y="1533885"/>
                </a:lnTo>
                <a:lnTo>
                  <a:pt x="1167582" y="1642040"/>
                </a:lnTo>
                <a:lnTo>
                  <a:pt x="1210598" y="1597794"/>
                </a:lnTo>
                <a:lnTo>
                  <a:pt x="1123337" y="1489639"/>
                </a:lnTo>
                <a:close/>
                <a:moveTo>
                  <a:pt x="769375" y="1489639"/>
                </a:moveTo>
                <a:lnTo>
                  <a:pt x="720214" y="1519136"/>
                </a:lnTo>
                <a:lnTo>
                  <a:pt x="777978" y="1643268"/>
                </a:lnTo>
                <a:lnTo>
                  <a:pt x="827139" y="1613771"/>
                </a:lnTo>
                <a:lnTo>
                  <a:pt x="769375" y="1489639"/>
                </a:lnTo>
                <a:close/>
                <a:moveTo>
                  <a:pt x="296197" y="1489639"/>
                </a:moveTo>
                <a:lnTo>
                  <a:pt x="239661" y="1499472"/>
                </a:lnTo>
                <a:lnTo>
                  <a:pt x="259326" y="1643268"/>
                </a:lnTo>
                <a:lnTo>
                  <a:pt x="315861" y="1633436"/>
                </a:lnTo>
                <a:lnTo>
                  <a:pt x="296197" y="1489639"/>
                </a:lnTo>
                <a:close/>
                <a:moveTo>
                  <a:pt x="415413" y="1489639"/>
                </a:moveTo>
                <a:lnTo>
                  <a:pt x="360106" y="1504388"/>
                </a:lnTo>
                <a:lnTo>
                  <a:pt x="389603" y="1642040"/>
                </a:lnTo>
                <a:lnTo>
                  <a:pt x="444910" y="1628520"/>
                </a:lnTo>
                <a:lnTo>
                  <a:pt x="415413" y="1489639"/>
                </a:lnTo>
                <a:close/>
                <a:moveTo>
                  <a:pt x="532171" y="1489639"/>
                </a:moveTo>
                <a:lnTo>
                  <a:pt x="479323" y="1509304"/>
                </a:lnTo>
                <a:lnTo>
                  <a:pt x="518652" y="1642040"/>
                </a:lnTo>
                <a:lnTo>
                  <a:pt x="571500" y="1623603"/>
                </a:lnTo>
                <a:lnTo>
                  <a:pt x="532171" y="1489639"/>
                </a:lnTo>
                <a:close/>
                <a:moveTo>
                  <a:pt x="178209" y="1681369"/>
                </a:moveTo>
                <a:lnTo>
                  <a:pt x="119216" y="1686285"/>
                </a:lnTo>
                <a:lnTo>
                  <a:pt x="129048" y="1834997"/>
                </a:lnTo>
                <a:lnTo>
                  <a:pt x="188042" y="1830081"/>
                </a:lnTo>
                <a:lnTo>
                  <a:pt x="178209" y="1681369"/>
                </a:lnTo>
                <a:close/>
                <a:moveTo>
                  <a:pt x="296197" y="1681369"/>
                </a:moveTo>
                <a:lnTo>
                  <a:pt x="239661" y="1691201"/>
                </a:lnTo>
                <a:lnTo>
                  <a:pt x="259326" y="1834997"/>
                </a:lnTo>
                <a:lnTo>
                  <a:pt x="315861" y="1825165"/>
                </a:lnTo>
                <a:lnTo>
                  <a:pt x="296197" y="1681369"/>
                </a:lnTo>
                <a:close/>
                <a:moveTo>
                  <a:pt x="415413" y="1681369"/>
                </a:moveTo>
                <a:lnTo>
                  <a:pt x="360106" y="1696117"/>
                </a:lnTo>
                <a:lnTo>
                  <a:pt x="389603" y="1834997"/>
                </a:lnTo>
                <a:lnTo>
                  <a:pt x="444910" y="1820249"/>
                </a:lnTo>
                <a:lnTo>
                  <a:pt x="415413" y="1681369"/>
                </a:lnTo>
                <a:close/>
                <a:moveTo>
                  <a:pt x="532171" y="1681369"/>
                </a:moveTo>
                <a:lnTo>
                  <a:pt x="479323" y="1701033"/>
                </a:lnTo>
                <a:lnTo>
                  <a:pt x="518652" y="1834997"/>
                </a:lnTo>
                <a:lnTo>
                  <a:pt x="571500" y="1815333"/>
                </a:lnTo>
                <a:lnTo>
                  <a:pt x="532171" y="1681369"/>
                </a:lnTo>
                <a:close/>
                <a:moveTo>
                  <a:pt x="651388" y="1681369"/>
                </a:moveTo>
                <a:lnTo>
                  <a:pt x="599769" y="1705949"/>
                </a:lnTo>
                <a:lnTo>
                  <a:pt x="648930" y="1834997"/>
                </a:lnTo>
                <a:lnTo>
                  <a:pt x="699320" y="1809188"/>
                </a:lnTo>
                <a:lnTo>
                  <a:pt x="651388" y="1681369"/>
                </a:lnTo>
                <a:close/>
                <a:moveTo>
                  <a:pt x="769375" y="1681369"/>
                </a:moveTo>
                <a:lnTo>
                  <a:pt x="720214" y="1709636"/>
                </a:lnTo>
                <a:lnTo>
                  <a:pt x="777978" y="1833769"/>
                </a:lnTo>
                <a:lnTo>
                  <a:pt x="827139" y="1804272"/>
                </a:lnTo>
                <a:lnTo>
                  <a:pt x="769375" y="1681369"/>
                </a:lnTo>
                <a:close/>
                <a:moveTo>
                  <a:pt x="887362" y="1681369"/>
                </a:moveTo>
                <a:lnTo>
                  <a:pt x="840659" y="1715782"/>
                </a:lnTo>
                <a:lnTo>
                  <a:pt x="908255" y="1834997"/>
                </a:lnTo>
                <a:lnTo>
                  <a:pt x="954959" y="1800584"/>
                </a:lnTo>
                <a:lnTo>
                  <a:pt x="887362" y="1681369"/>
                </a:lnTo>
                <a:close/>
                <a:moveTo>
                  <a:pt x="1005350" y="1681369"/>
                </a:moveTo>
                <a:lnTo>
                  <a:pt x="959875" y="1720698"/>
                </a:lnTo>
                <a:lnTo>
                  <a:pt x="1037304" y="1833769"/>
                </a:lnTo>
                <a:lnTo>
                  <a:pt x="1082778" y="1794440"/>
                </a:lnTo>
                <a:lnTo>
                  <a:pt x="1005350" y="1681369"/>
                </a:lnTo>
                <a:close/>
                <a:moveTo>
                  <a:pt x="1242552" y="1681369"/>
                </a:moveTo>
                <a:lnTo>
                  <a:pt x="1200765" y="1730530"/>
                </a:lnTo>
                <a:lnTo>
                  <a:pt x="1297860" y="1834997"/>
                </a:lnTo>
                <a:lnTo>
                  <a:pt x="1338417" y="1785836"/>
                </a:lnTo>
                <a:lnTo>
                  <a:pt x="1242552" y="1681369"/>
                </a:lnTo>
                <a:close/>
                <a:moveTo>
                  <a:pt x="1359311" y="1681369"/>
                </a:moveTo>
                <a:lnTo>
                  <a:pt x="1319982" y="1735446"/>
                </a:lnTo>
                <a:lnTo>
                  <a:pt x="1426908" y="1833769"/>
                </a:lnTo>
                <a:lnTo>
                  <a:pt x="1466237" y="1779691"/>
                </a:lnTo>
                <a:lnTo>
                  <a:pt x="1359311" y="1681369"/>
                </a:lnTo>
                <a:close/>
                <a:moveTo>
                  <a:pt x="1476069" y="1682597"/>
                </a:moveTo>
                <a:lnTo>
                  <a:pt x="1439198" y="1741591"/>
                </a:lnTo>
                <a:lnTo>
                  <a:pt x="1555957" y="1834997"/>
                </a:lnTo>
                <a:lnTo>
                  <a:pt x="1592828" y="1776004"/>
                </a:lnTo>
                <a:lnTo>
                  <a:pt x="1476069" y="1682597"/>
                </a:lnTo>
                <a:close/>
                <a:moveTo>
                  <a:pt x="1123337" y="1682597"/>
                </a:moveTo>
                <a:lnTo>
                  <a:pt x="1080320" y="1726842"/>
                </a:lnTo>
                <a:lnTo>
                  <a:pt x="1167582" y="1834997"/>
                </a:lnTo>
                <a:lnTo>
                  <a:pt x="1210598" y="1790752"/>
                </a:lnTo>
                <a:lnTo>
                  <a:pt x="1123337" y="1682597"/>
                </a:lnTo>
                <a:close/>
                <a:moveTo>
                  <a:pt x="178209" y="1873098"/>
                </a:moveTo>
                <a:lnTo>
                  <a:pt x="119216" y="1878014"/>
                </a:lnTo>
                <a:lnTo>
                  <a:pt x="129048" y="2026726"/>
                </a:lnTo>
                <a:lnTo>
                  <a:pt x="188042" y="2021810"/>
                </a:lnTo>
                <a:lnTo>
                  <a:pt x="178209" y="1873098"/>
                </a:lnTo>
                <a:close/>
                <a:moveTo>
                  <a:pt x="415413" y="1873098"/>
                </a:moveTo>
                <a:lnTo>
                  <a:pt x="360106" y="1887846"/>
                </a:lnTo>
                <a:lnTo>
                  <a:pt x="389603" y="2026726"/>
                </a:lnTo>
                <a:lnTo>
                  <a:pt x="444910" y="2011978"/>
                </a:lnTo>
                <a:lnTo>
                  <a:pt x="415413" y="1873098"/>
                </a:lnTo>
                <a:close/>
                <a:moveTo>
                  <a:pt x="651388" y="1873098"/>
                </a:moveTo>
                <a:lnTo>
                  <a:pt x="599769" y="1897679"/>
                </a:lnTo>
                <a:lnTo>
                  <a:pt x="648930" y="2026726"/>
                </a:lnTo>
                <a:lnTo>
                  <a:pt x="699320" y="2002146"/>
                </a:lnTo>
                <a:lnTo>
                  <a:pt x="651388" y="1873098"/>
                </a:lnTo>
                <a:close/>
                <a:moveTo>
                  <a:pt x="1359311" y="1873098"/>
                </a:moveTo>
                <a:lnTo>
                  <a:pt x="1319982" y="1928404"/>
                </a:lnTo>
                <a:lnTo>
                  <a:pt x="1426908" y="2026726"/>
                </a:lnTo>
                <a:lnTo>
                  <a:pt x="1466237" y="1972649"/>
                </a:lnTo>
                <a:lnTo>
                  <a:pt x="1359311" y="1873098"/>
                </a:lnTo>
                <a:close/>
                <a:moveTo>
                  <a:pt x="1476069" y="1874326"/>
                </a:moveTo>
                <a:lnTo>
                  <a:pt x="1439198" y="1933320"/>
                </a:lnTo>
                <a:lnTo>
                  <a:pt x="1555957" y="2026726"/>
                </a:lnTo>
                <a:lnTo>
                  <a:pt x="1592828" y="1967733"/>
                </a:lnTo>
                <a:lnTo>
                  <a:pt x="1476069" y="1874326"/>
                </a:lnTo>
                <a:close/>
                <a:moveTo>
                  <a:pt x="769375" y="1874326"/>
                </a:moveTo>
                <a:lnTo>
                  <a:pt x="720214" y="1903823"/>
                </a:lnTo>
                <a:lnTo>
                  <a:pt x="777978" y="2027956"/>
                </a:lnTo>
                <a:lnTo>
                  <a:pt x="827139" y="1998459"/>
                </a:lnTo>
                <a:lnTo>
                  <a:pt x="769375" y="1874326"/>
                </a:lnTo>
                <a:close/>
                <a:moveTo>
                  <a:pt x="887362" y="1874326"/>
                </a:moveTo>
                <a:lnTo>
                  <a:pt x="840659" y="1908739"/>
                </a:lnTo>
                <a:lnTo>
                  <a:pt x="908255" y="2026726"/>
                </a:lnTo>
                <a:lnTo>
                  <a:pt x="954959" y="1993543"/>
                </a:lnTo>
                <a:lnTo>
                  <a:pt x="887362" y="1874326"/>
                </a:lnTo>
                <a:close/>
                <a:moveTo>
                  <a:pt x="1005350" y="1874326"/>
                </a:moveTo>
                <a:lnTo>
                  <a:pt x="959875" y="1913655"/>
                </a:lnTo>
                <a:lnTo>
                  <a:pt x="1037304" y="2026726"/>
                </a:lnTo>
                <a:lnTo>
                  <a:pt x="1082778" y="1987397"/>
                </a:lnTo>
                <a:lnTo>
                  <a:pt x="1005350" y="1874326"/>
                </a:lnTo>
                <a:close/>
                <a:moveTo>
                  <a:pt x="1123337" y="1874326"/>
                </a:moveTo>
                <a:lnTo>
                  <a:pt x="1080320" y="1918571"/>
                </a:lnTo>
                <a:lnTo>
                  <a:pt x="1167582" y="2026726"/>
                </a:lnTo>
                <a:lnTo>
                  <a:pt x="1210598" y="1982481"/>
                </a:lnTo>
                <a:lnTo>
                  <a:pt x="1123337" y="1874326"/>
                </a:lnTo>
                <a:close/>
                <a:moveTo>
                  <a:pt x="1242552" y="1874326"/>
                </a:moveTo>
                <a:lnTo>
                  <a:pt x="1200765" y="1923488"/>
                </a:lnTo>
                <a:lnTo>
                  <a:pt x="1297860" y="2026726"/>
                </a:lnTo>
                <a:lnTo>
                  <a:pt x="1338417" y="1977565"/>
                </a:lnTo>
                <a:lnTo>
                  <a:pt x="1242552" y="1874326"/>
                </a:lnTo>
                <a:close/>
                <a:moveTo>
                  <a:pt x="532171" y="1874326"/>
                </a:moveTo>
                <a:lnTo>
                  <a:pt x="479323" y="1893991"/>
                </a:lnTo>
                <a:lnTo>
                  <a:pt x="518652" y="2026726"/>
                </a:lnTo>
                <a:lnTo>
                  <a:pt x="571500" y="2008292"/>
                </a:lnTo>
                <a:lnTo>
                  <a:pt x="532171" y="1874326"/>
                </a:lnTo>
                <a:close/>
                <a:moveTo>
                  <a:pt x="296197" y="1874326"/>
                </a:moveTo>
                <a:lnTo>
                  <a:pt x="239661" y="1884159"/>
                </a:lnTo>
                <a:lnTo>
                  <a:pt x="259326" y="2027956"/>
                </a:lnTo>
                <a:lnTo>
                  <a:pt x="315861" y="2018124"/>
                </a:lnTo>
                <a:lnTo>
                  <a:pt x="296197" y="1874326"/>
                </a:lnTo>
                <a:close/>
                <a:moveTo>
                  <a:pt x="1242552" y="2062369"/>
                </a:moveTo>
                <a:lnTo>
                  <a:pt x="1200765" y="2112759"/>
                </a:lnTo>
                <a:lnTo>
                  <a:pt x="1297860" y="2217227"/>
                </a:lnTo>
                <a:lnTo>
                  <a:pt x="1338417" y="2168066"/>
                </a:lnTo>
                <a:lnTo>
                  <a:pt x="1242552" y="2062369"/>
                </a:lnTo>
                <a:close/>
                <a:moveTo>
                  <a:pt x="1476069" y="2063597"/>
                </a:moveTo>
                <a:lnTo>
                  <a:pt x="1439198" y="2122591"/>
                </a:lnTo>
                <a:lnTo>
                  <a:pt x="1555957" y="2217227"/>
                </a:lnTo>
                <a:lnTo>
                  <a:pt x="1592828" y="2158234"/>
                </a:lnTo>
                <a:lnTo>
                  <a:pt x="1476069" y="2063597"/>
                </a:lnTo>
                <a:close/>
                <a:moveTo>
                  <a:pt x="1359311" y="2064827"/>
                </a:moveTo>
                <a:lnTo>
                  <a:pt x="1319982" y="2118905"/>
                </a:lnTo>
                <a:lnTo>
                  <a:pt x="1426908" y="2217227"/>
                </a:lnTo>
                <a:lnTo>
                  <a:pt x="1466237" y="2163150"/>
                </a:lnTo>
                <a:lnTo>
                  <a:pt x="1359311" y="2064827"/>
                </a:lnTo>
                <a:close/>
                <a:moveTo>
                  <a:pt x="178209" y="2063597"/>
                </a:moveTo>
                <a:lnTo>
                  <a:pt x="119216" y="2068514"/>
                </a:lnTo>
                <a:lnTo>
                  <a:pt x="129048" y="2217227"/>
                </a:lnTo>
                <a:lnTo>
                  <a:pt x="188042" y="2212311"/>
                </a:lnTo>
                <a:lnTo>
                  <a:pt x="178209" y="2063597"/>
                </a:lnTo>
                <a:close/>
                <a:moveTo>
                  <a:pt x="296197" y="2063597"/>
                </a:moveTo>
                <a:lnTo>
                  <a:pt x="239661" y="2073430"/>
                </a:lnTo>
                <a:lnTo>
                  <a:pt x="259326" y="2217227"/>
                </a:lnTo>
                <a:lnTo>
                  <a:pt x="315861" y="2207395"/>
                </a:lnTo>
                <a:lnTo>
                  <a:pt x="296197" y="2063597"/>
                </a:lnTo>
                <a:close/>
                <a:moveTo>
                  <a:pt x="532171" y="2063597"/>
                </a:moveTo>
                <a:lnTo>
                  <a:pt x="479323" y="2084492"/>
                </a:lnTo>
                <a:lnTo>
                  <a:pt x="518652" y="2217227"/>
                </a:lnTo>
                <a:lnTo>
                  <a:pt x="571500" y="2197563"/>
                </a:lnTo>
                <a:lnTo>
                  <a:pt x="532171" y="2063597"/>
                </a:lnTo>
                <a:close/>
                <a:moveTo>
                  <a:pt x="651388" y="2063597"/>
                </a:moveTo>
                <a:lnTo>
                  <a:pt x="599769" y="2089408"/>
                </a:lnTo>
                <a:lnTo>
                  <a:pt x="648930" y="2217227"/>
                </a:lnTo>
                <a:lnTo>
                  <a:pt x="699320" y="2192647"/>
                </a:lnTo>
                <a:lnTo>
                  <a:pt x="651388" y="2063597"/>
                </a:lnTo>
                <a:close/>
                <a:moveTo>
                  <a:pt x="769375" y="2063597"/>
                </a:moveTo>
                <a:lnTo>
                  <a:pt x="720214" y="2094324"/>
                </a:lnTo>
                <a:lnTo>
                  <a:pt x="777978" y="2217227"/>
                </a:lnTo>
                <a:lnTo>
                  <a:pt x="827139" y="2187731"/>
                </a:lnTo>
                <a:lnTo>
                  <a:pt x="769375" y="2063597"/>
                </a:lnTo>
                <a:close/>
                <a:moveTo>
                  <a:pt x="887362" y="2063597"/>
                </a:moveTo>
                <a:lnTo>
                  <a:pt x="840659" y="2098010"/>
                </a:lnTo>
                <a:lnTo>
                  <a:pt x="908255" y="2217227"/>
                </a:lnTo>
                <a:lnTo>
                  <a:pt x="954959" y="2182814"/>
                </a:lnTo>
                <a:lnTo>
                  <a:pt x="887362" y="2063597"/>
                </a:lnTo>
                <a:close/>
                <a:moveTo>
                  <a:pt x="1005350" y="2063597"/>
                </a:moveTo>
                <a:lnTo>
                  <a:pt x="959875" y="2101698"/>
                </a:lnTo>
                <a:lnTo>
                  <a:pt x="1037304" y="2215998"/>
                </a:lnTo>
                <a:lnTo>
                  <a:pt x="1082778" y="2176669"/>
                </a:lnTo>
                <a:lnTo>
                  <a:pt x="1005350" y="2063597"/>
                </a:lnTo>
                <a:close/>
                <a:moveTo>
                  <a:pt x="1123337" y="2063597"/>
                </a:moveTo>
                <a:lnTo>
                  <a:pt x="1080320" y="2109072"/>
                </a:lnTo>
                <a:lnTo>
                  <a:pt x="1167582" y="2217227"/>
                </a:lnTo>
                <a:lnTo>
                  <a:pt x="1210598" y="2172982"/>
                </a:lnTo>
                <a:lnTo>
                  <a:pt x="1123337" y="2063597"/>
                </a:lnTo>
                <a:close/>
                <a:moveTo>
                  <a:pt x="415413" y="2064827"/>
                </a:moveTo>
                <a:lnTo>
                  <a:pt x="360106" y="2079576"/>
                </a:lnTo>
                <a:lnTo>
                  <a:pt x="389603" y="2217227"/>
                </a:lnTo>
                <a:lnTo>
                  <a:pt x="444910" y="2203707"/>
                </a:lnTo>
                <a:lnTo>
                  <a:pt x="415413" y="2064827"/>
                </a:lnTo>
                <a:close/>
                <a:moveTo>
                  <a:pt x="178209" y="2252869"/>
                </a:moveTo>
                <a:lnTo>
                  <a:pt x="119216" y="2257785"/>
                </a:lnTo>
                <a:lnTo>
                  <a:pt x="129048" y="2406498"/>
                </a:lnTo>
                <a:lnTo>
                  <a:pt x="188042" y="2400353"/>
                </a:lnTo>
                <a:lnTo>
                  <a:pt x="178209" y="2252869"/>
                </a:lnTo>
                <a:close/>
                <a:moveTo>
                  <a:pt x="415413" y="2252869"/>
                </a:moveTo>
                <a:lnTo>
                  <a:pt x="360106" y="2267617"/>
                </a:lnTo>
                <a:lnTo>
                  <a:pt x="389603" y="2406498"/>
                </a:lnTo>
                <a:lnTo>
                  <a:pt x="444910" y="2390520"/>
                </a:lnTo>
                <a:lnTo>
                  <a:pt x="415413" y="2252869"/>
                </a:lnTo>
                <a:close/>
                <a:moveTo>
                  <a:pt x="887362" y="2252869"/>
                </a:moveTo>
                <a:lnTo>
                  <a:pt x="840659" y="2287282"/>
                </a:lnTo>
                <a:lnTo>
                  <a:pt x="908255" y="2406498"/>
                </a:lnTo>
                <a:lnTo>
                  <a:pt x="954959" y="2370856"/>
                </a:lnTo>
                <a:lnTo>
                  <a:pt x="887362" y="2252869"/>
                </a:lnTo>
                <a:close/>
                <a:moveTo>
                  <a:pt x="1240094" y="2252869"/>
                </a:moveTo>
                <a:lnTo>
                  <a:pt x="1199537" y="2302030"/>
                </a:lnTo>
                <a:lnTo>
                  <a:pt x="1296630" y="2406498"/>
                </a:lnTo>
                <a:lnTo>
                  <a:pt x="1338417" y="2357337"/>
                </a:lnTo>
                <a:lnTo>
                  <a:pt x="1240094" y="2252869"/>
                </a:lnTo>
                <a:close/>
                <a:moveTo>
                  <a:pt x="1359311" y="2254098"/>
                </a:moveTo>
                <a:lnTo>
                  <a:pt x="1319982" y="2308176"/>
                </a:lnTo>
                <a:lnTo>
                  <a:pt x="1426908" y="2407727"/>
                </a:lnTo>
                <a:lnTo>
                  <a:pt x="1466237" y="2352421"/>
                </a:lnTo>
                <a:lnTo>
                  <a:pt x="1359311" y="2254098"/>
                </a:lnTo>
                <a:close/>
                <a:moveTo>
                  <a:pt x="1005350" y="2254098"/>
                </a:moveTo>
                <a:lnTo>
                  <a:pt x="959875" y="2293427"/>
                </a:lnTo>
                <a:lnTo>
                  <a:pt x="1037304" y="2406498"/>
                </a:lnTo>
                <a:lnTo>
                  <a:pt x="1082778" y="2367169"/>
                </a:lnTo>
                <a:lnTo>
                  <a:pt x="1005350" y="2254098"/>
                </a:lnTo>
                <a:close/>
                <a:moveTo>
                  <a:pt x="1123337" y="2254098"/>
                </a:moveTo>
                <a:lnTo>
                  <a:pt x="1080320" y="2298344"/>
                </a:lnTo>
                <a:lnTo>
                  <a:pt x="1167582" y="2406498"/>
                </a:lnTo>
                <a:lnTo>
                  <a:pt x="1210598" y="2362253"/>
                </a:lnTo>
                <a:lnTo>
                  <a:pt x="1123337" y="2254098"/>
                </a:lnTo>
                <a:close/>
                <a:moveTo>
                  <a:pt x="532171" y="2254098"/>
                </a:moveTo>
                <a:lnTo>
                  <a:pt x="479323" y="2273763"/>
                </a:lnTo>
                <a:lnTo>
                  <a:pt x="518652" y="2406498"/>
                </a:lnTo>
                <a:lnTo>
                  <a:pt x="571500" y="2386834"/>
                </a:lnTo>
                <a:lnTo>
                  <a:pt x="532171" y="2254098"/>
                </a:lnTo>
                <a:close/>
                <a:moveTo>
                  <a:pt x="651388" y="2254098"/>
                </a:moveTo>
                <a:lnTo>
                  <a:pt x="599769" y="2277449"/>
                </a:lnTo>
                <a:lnTo>
                  <a:pt x="648930" y="2406498"/>
                </a:lnTo>
                <a:lnTo>
                  <a:pt x="699320" y="2381918"/>
                </a:lnTo>
                <a:lnTo>
                  <a:pt x="651388" y="2254098"/>
                </a:lnTo>
                <a:close/>
                <a:moveTo>
                  <a:pt x="768145" y="2254098"/>
                </a:moveTo>
                <a:lnTo>
                  <a:pt x="720214" y="2282365"/>
                </a:lnTo>
                <a:lnTo>
                  <a:pt x="777978" y="2406498"/>
                </a:lnTo>
                <a:lnTo>
                  <a:pt x="827139" y="2377002"/>
                </a:lnTo>
                <a:lnTo>
                  <a:pt x="768145" y="2254098"/>
                </a:lnTo>
                <a:close/>
                <a:moveTo>
                  <a:pt x="296197" y="2254098"/>
                </a:moveTo>
                <a:lnTo>
                  <a:pt x="239661" y="2262701"/>
                </a:lnTo>
                <a:lnTo>
                  <a:pt x="259326" y="2406498"/>
                </a:lnTo>
                <a:lnTo>
                  <a:pt x="315861" y="2396666"/>
                </a:lnTo>
                <a:lnTo>
                  <a:pt x="296197" y="2254098"/>
                </a:lnTo>
                <a:close/>
                <a:moveTo>
                  <a:pt x="651388" y="2447056"/>
                </a:moveTo>
                <a:lnTo>
                  <a:pt x="599769" y="2471637"/>
                </a:lnTo>
                <a:lnTo>
                  <a:pt x="648930" y="2600686"/>
                </a:lnTo>
                <a:lnTo>
                  <a:pt x="699320" y="2574875"/>
                </a:lnTo>
                <a:lnTo>
                  <a:pt x="651388" y="2447056"/>
                </a:lnTo>
                <a:close/>
                <a:moveTo>
                  <a:pt x="887362" y="2447056"/>
                </a:moveTo>
                <a:lnTo>
                  <a:pt x="840659" y="2481469"/>
                </a:lnTo>
                <a:lnTo>
                  <a:pt x="908255" y="2600686"/>
                </a:lnTo>
                <a:lnTo>
                  <a:pt x="954959" y="2566273"/>
                </a:lnTo>
                <a:lnTo>
                  <a:pt x="887362" y="2447056"/>
                </a:lnTo>
                <a:close/>
                <a:moveTo>
                  <a:pt x="1123337" y="2447056"/>
                </a:moveTo>
                <a:lnTo>
                  <a:pt x="1080320" y="2491301"/>
                </a:lnTo>
                <a:lnTo>
                  <a:pt x="1167582" y="2600686"/>
                </a:lnTo>
                <a:lnTo>
                  <a:pt x="1210598" y="2556441"/>
                </a:lnTo>
                <a:lnTo>
                  <a:pt x="1123337" y="2447056"/>
                </a:lnTo>
                <a:close/>
                <a:moveTo>
                  <a:pt x="1242552" y="2447056"/>
                </a:moveTo>
                <a:lnTo>
                  <a:pt x="1200765" y="2496217"/>
                </a:lnTo>
                <a:lnTo>
                  <a:pt x="1297860" y="2600686"/>
                </a:lnTo>
                <a:lnTo>
                  <a:pt x="1338417" y="2551524"/>
                </a:lnTo>
                <a:lnTo>
                  <a:pt x="1242552" y="2447056"/>
                </a:lnTo>
                <a:close/>
                <a:moveTo>
                  <a:pt x="1359311" y="2448286"/>
                </a:moveTo>
                <a:lnTo>
                  <a:pt x="1319982" y="2502363"/>
                </a:lnTo>
                <a:lnTo>
                  <a:pt x="1426908" y="2600686"/>
                </a:lnTo>
                <a:lnTo>
                  <a:pt x="1466237" y="2546608"/>
                </a:lnTo>
                <a:lnTo>
                  <a:pt x="1359311" y="2448286"/>
                </a:lnTo>
                <a:close/>
                <a:moveTo>
                  <a:pt x="1005350" y="2448286"/>
                </a:moveTo>
                <a:lnTo>
                  <a:pt x="959875" y="2487615"/>
                </a:lnTo>
                <a:lnTo>
                  <a:pt x="1037304" y="2600686"/>
                </a:lnTo>
                <a:lnTo>
                  <a:pt x="1082778" y="2561357"/>
                </a:lnTo>
                <a:lnTo>
                  <a:pt x="1005350" y="2448286"/>
                </a:lnTo>
                <a:close/>
                <a:moveTo>
                  <a:pt x="769375" y="2448286"/>
                </a:moveTo>
                <a:lnTo>
                  <a:pt x="720214" y="2477782"/>
                </a:lnTo>
                <a:lnTo>
                  <a:pt x="777978" y="2601914"/>
                </a:lnTo>
                <a:lnTo>
                  <a:pt x="827139" y="2572417"/>
                </a:lnTo>
                <a:lnTo>
                  <a:pt x="769375" y="2448286"/>
                </a:lnTo>
                <a:close/>
                <a:moveTo>
                  <a:pt x="178209" y="2448286"/>
                </a:moveTo>
                <a:lnTo>
                  <a:pt x="119216" y="2453202"/>
                </a:lnTo>
                <a:lnTo>
                  <a:pt x="129048" y="2601914"/>
                </a:lnTo>
                <a:lnTo>
                  <a:pt x="188042" y="2596998"/>
                </a:lnTo>
                <a:lnTo>
                  <a:pt x="178209" y="2448286"/>
                </a:lnTo>
                <a:close/>
                <a:moveTo>
                  <a:pt x="297426" y="2448286"/>
                </a:moveTo>
                <a:lnTo>
                  <a:pt x="240891" y="2458118"/>
                </a:lnTo>
                <a:lnTo>
                  <a:pt x="260555" y="2601914"/>
                </a:lnTo>
                <a:lnTo>
                  <a:pt x="317091" y="2592082"/>
                </a:lnTo>
                <a:lnTo>
                  <a:pt x="297426" y="2448286"/>
                </a:lnTo>
                <a:close/>
                <a:moveTo>
                  <a:pt x="415413" y="2448286"/>
                </a:moveTo>
                <a:lnTo>
                  <a:pt x="360106" y="2463034"/>
                </a:lnTo>
                <a:lnTo>
                  <a:pt x="389603" y="2601914"/>
                </a:lnTo>
                <a:lnTo>
                  <a:pt x="444910" y="2587166"/>
                </a:lnTo>
                <a:lnTo>
                  <a:pt x="415413" y="2448286"/>
                </a:lnTo>
                <a:close/>
                <a:moveTo>
                  <a:pt x="532171" y="2448286"/>
                </a:moveTo>
                <a:lnTo>
                  <a:pt x="479323" y="2467950"/>
                </a:lnTo>
                <a:lnTo>
                  <a:pt x="518652" y="2601914"/>
                </a:lnTo>
                <a:lnTo>
                  <a:pt x="571500" y="2582250"/>
                </a:lnTo>
                <a:lnTo>
                  <a:pt x="532171" y="2448286"/>
                </a:lnTo>
                <a:close/>
                <a:moveTo>
                  <a:pt x="415413" y="2641243"/>
                </a:moveTo>
                <a:lnTo>
                  <a:pt x="360106" y="2655992"/>
                </a:lnTo>
                <a:lnTo>
                  <a:pt x="389603" y="2794873"/>
                </a:lnTo>
                <a:lnTo>
                  <a:pt x="444910" y="2780125"/>
                </a:lnTo>
                <a:lnTo>
                  <a:pt x="415413" y="2641243"/>
                </a:lnTo>
                <a:close/>
                <a:moveTo>
                  <a:pt x="651388" y="2641243"/>
                </a:moveTo>
                <a:lnTo>
                  <a:pt x="599769" y="2665824"/>
                </a:lnTo>
                <a:lnTo>
                  <a:pt x="648930" y="2794873"/>
                </a:lnTo>
                <a:lnTo>
                  <a:pt x="699320" y="2769063"/>
                </a:lnTo>
                <a:lnTo>
                  <a:pt x="651388" y="2641243"/>
                </a:lnTo>
                <a:close/>
                <a:moveTo>
                  <a:pt x="769375" y="2642473"/>
                </a:moveTo>
                <a:lnTo>
                  <a:pt x="720214" y="2671970"/>
                </a:lnTo>
                <a:lnTo>
                  <a:pt x="777978" y="2796101"/>
                </a:lnTo>
                <a:lnTo>
                  <a:pt x="827139" y="2766605"/>
                </a:lnTo>
                <a:lnTo>
                  <a:pt x="769375" y="2642473"/>
                </a:lnTo>
                <a:close/>
                <a:moveTo>
                  <a:pt x="887362" y="2642473"/>
                </a:moveTo>
                <a:lnTo>
                  <a:pt x="840659" y="2676886"/>
                </a:lnTo>
                <a:lnTo>
                  <a:pt x="908255" y="2796101"/>
                </a:lnTo>
                <a:lnTo>
                  <a:pt x="954959" y="2761689"/>
                </a:lnTo>
                <a:lnTo>
                  <a:pt x="887362" y="2642473"/>
                </a:lnTo>
                <a:close/>
                <a:moveTo>
                  <a:pt x="1005350" y="2642473"/>
                </a:moveTo>
                <a:lnTo>
                  <a:pt x="959875" y="2681802"/>
                </a:lnTo>
                <a:lnTo>
                  <a:pt x="1037304" y="2794873"/>
                </a:lnTo>
                <a:lnTo>
                  <a:pt x="1082778" y="2755544"/>
                </a:lnTo>
                <a:lnTo>
                  <a:pt x="1005350" y="2642473"/>
                </a:lnTo>
                <a:close/>
                <a:moveTo>
                  <a:pt x="1123337" y="2642473"/>
                </a:moveTo>
                <a:lnTo>
                  <a:pt x="1080320" y="2686718"/>
                </a:lnTo>
                <a:lnTo>
                  <a:pt x="1167582" y="2796101"/>
                </a:lnTo>
                <a:lnTo>
                  <a:pt x="1210598" y="2751856"/>
                </a:lnTo>
                <a:lnTo>
                  <a:pt x="1123337" y="2642473"/>
                </a:lnTo>
                <a:close/>
                <a:moveTo>
                  <a:pt x="1240094" y="2642473"/>
                </a:moveTo>
                <a:lnTo>
                  <a:pt x="1199537" y="2691634"/>
                </a:lnTo>
                <a:lnTo>
                  <a:pt x="1296630" y="2794873"/>
                </a:lnTo>
                <a:lnTo>
                  <a:pt x="1338417" y="2745712"/>
                </a:lnTo>
                <a:lnTo>
                  <a:pt x="1240094" y="2642473"/>
                </a:lnTo>
                <a:close/>
                <a:moveTo>
                  <a:pt x="1359311" y="2642473"/>
                </a:moveTo>
                <a:lnTo>
                  <a:pt x="1319982" y="2696550"/>
                </a:lnTo>
                <a:lnTo>
                  <a:pt x="1426908" y="2794873"/>
                </a:lnTo>
                <a:lnTo>
                  <a:pt x="1466237" y="2740796"/>
                </a:lnTo>
                <a:lnTo>
                  <a:pt x="1359311" y="2642473"/>
                </a:lnTo>
                <a:close/>
                <a:moveTo>
                  <a:pt x="532171" y="2642473"/>
                </a:moveTo>
                <a:lnTo>
                  <a:pt x="479323" y="2662137"/>
                </a:lnTo>
                <a:lnTo>
                  <a:pt x="518652" y="2796101"/>
                </a:lnTo>
                <a:lnTo>
                  <a:pt x="571500" y="2776437"/>
                </a:lnTo>
                <a:lnTo>
                  <a:pt x="532171" y="2642473"/>
                </a:lnTo>
                <a:close/>
                <a:moveTo>
                  <a:pt x="179439" y="2642473"/>
                </a:moveTo>
                <a:lnTo>
                  <a:pt x="120445" y="2647389"/>
                </a:lnTo>
                <a:lnTo>
                  <a:pt x="129048" y="2796101"/>
                </a:lnTo>
                <a:lnTo>
                  <a:pt x="189271" y="2791185"/>
                </a:lnTo>
                <a:lnTo>
                  <a:pt x="179439" y="2642473"/>
                </a:lnTo>
                <a:close/>
                <a:moveTo>
                  <a:pt x="296197" y="2642473"/>
                </a:moveTo>
                <a:lnTo>
                  <a:pt x="239661" y="2652305"/>
                </a:lnTo>
                <a:lnTo>
                  <a:pt x="259326" y="2796101"/>
                </a:lnTo>
                <a:lnTo>
                  <a:pt x="315861" y="2786269"/>
                </a:lnTo>
                <a:lnTo>
                  <a:pt x="296197" y="2642473"/>
                </a:lnTo>
                <a:close/>
                <a:moveTo>
                  <a:pt x="178209" y="2836660"/>
                </a:moveTo>
                <a:lnTo>
                  <a:pt x="119216" y="2841576"/>
                </a:lnTo>
                <a:lnTo>
                  <a:pt x="129048" y="2990289"/>
                </a:lnTo>
                <a:lnTo>
                  <a:pt x="188042" y="2985373"/>
                </a:lnTo>
                <a:lnTo>
                  <a:pt x="178209" y="2836660"/>
                </a:lnTo>
                <a:close/>
                <a:moveTo>
                  <a:pt x="296197" y="2836660"/>
                </a:moveTo>
                <a:lnTo>
                  <a:pt x="239661" y="2846493"/>
                </a:lnTo>
                <a:lnTo>
                  <a:pt x="259326" y="2990289"/>
                </a:lnTo>
                <a:lnTo>
                  <a:pt x="315861" y="2980457"/>
                </a:lnTo>
                <a:lnTo>
                  <a:pt x="296197" y="2836660"/>
                </a:lnTo>
                <a:close/>
                <a:moveTo>
                  <a:pt x="415413" y="2836660"/>
                </a:moveTo>
                <a:lnTo>
                  <a:pt x="360106" y="2851409"/>
                </a:lnTo>
                <a:lnTo>
                  <a:pt x="389603" y="2990289"/>
                </a:lnTo>
                <a:lnTo>
                  <a:pt x="444910" y="2975540"/>
                </a:lnTo>
                <a:lnTo>
                  <a:pt x="415413" y="2836660"/>
                </a:lnTo>
                <a:close/>
                <a:moveTo>
                  <a:pt x="532171" y="2836660"/>
                </a:moveTo>
                <a:lnTo>
                  <a:pt x="479323" y="2856325"/>
                </a:lnTo>
                <a:lnTo>
                  <a:pt x="518652" y="2990289"/>
                </a:lnTo>
                <a:lnTo>
                  <a:pt x="571500" y="2970624"/>
                </a:lnTo>
                <a:lnTo>
                  <a:pt x="532171" y="2836660"/>
                </a:lnTo>
                <a:close/>
                <a:moveTo>
                  <a:pt x="651388" y="2836660"/>
                </a:moveTo>
                <a:lnTo>
                  <a:pt x="599769" y="2861241"/>
                </a:lnTo>
                <a:lnTo>
                  <a:pt x="648930" y="2990289"/>
                </a:lnTo>
                <a:lnTo>
                  <a:pt x="699320" y="2964480"/>
                </a:lnTo>
                <a:lnTo>
                  <a:pt x="651388" y="2836660"/>
                </a:lnTo>
                <a:close/>
                <a:moveTo>
                  <a:pt x="769375" y="2836660"/>
                </a:moveTo>
                <a:lnTo>
                  <a:pt x="720214" y="2864927"/>
                </a:lnTo>
                <a:lnTo>
                  <a:pt x="777978" y="2989060"/>
                </a:lnTo>
                <a:lnTo>
                  <a:pt x="827139" y="2959564"/>
                </a:lnTo>
                <a:lnTo>
                  <a:pt x="769375" y="2836660"/>
                </a:lnTo>
                <a:close/>
                <a:moveTo>
                  <a:pt x="887362" y="2836660"/>
                </a:moveTo>
                <a:lnTo>
                  <a:pt x="840659" y="2871073"/>
                </a:lnTo>
                <a:lnTo>
                  <a:pt x="908255" y="2990289"/>
                </a:lnTo>
                <a:lnTo>
                  <a:pt x="954959" y="2955876"/>
                </a:lnTo>
                <a:lnTo>
                  <a:pt x="887362" y="2836660"/>
                </a:lnTo>
                <a:close/>
                <a:moveTo>
                  <a:pt x="1005350" y="2836660"/>
                </a:moveTo>
                <a:lnTo>
                  <a:pt x="959875" y="2874760"/>
                </a:lnTo>
                <a:lnTo>
                  <a:pt x="1037304" y="2989060"/>
                </a:lnTo>
                <a:lnTo>
                  <a:pt x="1082778" y="2949731"/>
                </a:lnTo>
                <a:lnTo>
                  <a:pt x="1005350" y="2836660"/>
                </a:lnTo>
                <a:close/>
                <a:moveTo>
                  <a:pt x="1240094" y="2836660"/>
                </a:moveTo>
                <a:lnTo>
                  <a:pt x="1199537" y="2885822"/>
                </a:lnTo>
                <a:lnTo>
                  <a:pt x="1296630" y="2990289"/>
                </a:lnTo>
                <a:lnTo>
                  <a:pt x="1338417" y="2941127"/>
                </a:lnTo>
                <a:lnTo>
                  <a:pt x="1240094" y="2836660"/>
                </a:lnTo>
                <a:close/>
                <a:moveTo>
                  <a:pt x="1359311" y="2836660"/>
                </a:moveTo>
                <a:lnTo>
                  <a:pt x="1319982" y="2890738"/>
                </a:lnTo>
                <a:lnTo>
                  <a:pt x="1426908" y="2989060"/>
                </a:lnTo>
                <a:lnTo>
                  <a:pt x="1466237" y="2934983"/>
                </a:lnTo>
                <a:lnTo>
                  <a:pt x="1359311" y="2836660"/>
                </a:lnTo>
                <a:close/>
                <a:moveTo>
                  <a:pt x="1123337" y="2837889"/>
                </a:moveTo>
                <a:lnTo>
                  <a:pt x="1080320" y="2882134"/>
                </a:lnTo>
                <a:lnTo>
                  <a:pt x="1167582" y="2990289"/>
                </a:lnTo>
                <a:lnTo>
                  <a:pt x="1210598" y="2946044"/>
                </a:lnTo>
                <a:lnTo>
                  <a:pt x="1123337" y="2837889"/>
                </a:lnTo>
                <a:close/>
                <a:moveTo>
                  <a:pt x="178209" y="3030848"/>
                </a:moveTo>
                <a:lnTo>
                  <a:pt x="119216" y="3035764"/>
                </a:lnTo>
                <a:lnTo>
                  <a:pt x="129048" y="3184476"/>
                </a:lnTo>
                <a:lnTo>
                  <a:pt x="188042" y="3179560"/>
                </a:lnTo>
                <a:lnTo>
                  <a:pt x="178209" y="3030848"/>
                </a:lnTo>
                <a:close/>
                <a:moveTo>
                  <a:pt x="296197" y="3030848"/>
                </a:moveTo>
                <a:lnTo>
                  <a:pt x="239661" y="3040680"/>
                </a:lnTo>
                <a:lnTo>
                  <a:pt x="259326" y="3184476"/>
                </a:lnTo>
                <a:lnTo>
                  <a:pt x="315861" y="3174644"/>
                </a:lnTo>
                <a:lnTo>
                  <a:pt x="296197" y="3030848"/>
                </a:lnTo>
                <a:close/>
                <a:moveTo>
                  <a:pt x="415413" y="3030848"/>
                </a:moveTo>
                <a:lnTo>
                  <a:pt x="360106" y="3045596"/>
                </a:lnTo>
                <a:lnTo>
                  <a:pt x="389603" y="3184476"/>
                </a:lnTo>
                <a:lnTo>
                  <a:pt x="444910" y="3169728"/>
                </a:lnTo>
                <a:lnTo>
                  <a:pt x="415413" y="3030848"/>
                </a:lnTo>
                <a:close/>
                <a:moveTo>
                  <a:pt x="532171" y="3030848"/>
                </a:moveTo>
                <a:lnTo>
                  <a:pt x="479323" y="3050512"/>
                </a:lnTo>
                <a:lnTo>
                  <a:pt x="518652" y="3184476"/>
                </a:lnTo>
                <a:lnTo>
                  <a:pt x="571500" y="3164812"/>
                </a:lnTo>
                <a:lnTo>
                  <a:pt x="532171" y="3030848"/>
                </a:lnTo>
                <a:close/>
                <a:moveTo>
                  <a:pt x="651388" y="3030848"/>
                </a:moveTo>
                <a:lnTo>
                  <a:pt x="599769" y="3055428"/>
                </a:lnTo>
                <a:lnTo>
                  <a:pt x="648930" y="3184476"/>
                </a:lnTo>
                <a:lnTo>
                  <a:pt x="699320" y="3158667"/>
                </a:lnTo>
                <a:lnTo>
                  <a:pt x="651388" y="3030848"/>
                </a:lnTo>
                <a:close/>
                <a:moveTo>
                  <a:pt x="887362" y="3030848"/>
                </a:moveTo>
                <a:lnTo>
                  <a:pt x="840659" y="3065260"/>
                </a:lnTo>
                <a:lnTo>
                  <a:pt x="908255" y="3184476"/>
                </a:lnTo>
                <a:lnTo>
                  <a:pt x="954959" y="3148835"/>
                </a:lnTo>
                <a:lnTo>
                  <a:pt x="887362" y="3030848"/>
                </a:lnTo>
                <a:close/>
                <a:moveTo>
                  <a:pt x="1005350" y="3030848"/>
                </a:moveTo>
                <a:lnTo>
                  <a:pt x="959875" y="3070177"/>
                </a:lnTo>
                <a:lnTo>
                  <a:pt x="1037304" y="3183248"/>
                </a:lnTo>
                <a:lnTo>
                  <a:pt x="1082778" y="3143919"/>
                </a:lnTo>
                <a:lnTo>
                  <a:pt x="1005350" y="3030848"/>
                </a:lnTo>
                <a:close/>
                <a:moveTo>
                  <a:pt x="1240094" y="3030848"/>
                </a:moveTo>
                <a:lnTo>
                  <a:pt x="1199537" y="3080009"/>
                </a:lnTo>
                <a:lnTo>
                  <a:pt x="1296630" y="3184476"/>
                </a:lnTo>
                <a:lnTo>
                  <a:pt x="1338417" y="3135315"/>
                </a:lnTo>
                <a:lnTo>
                  <a:pt x="1240094" y="3030848"/>
                </a:lnTo>
                <a:close/>
                <a:moveTo>
                  <a:pt x="1359311" y="3032076"/>
                </a:moveTo>
                <a:lnTo>
                  <a:pt x="1319982" y="3086153"/>
                </a:lnTo>
                <a:lnTo>
                  <a:pt x="1426908" y="3185706"/>
                </a:lnTo>
                <a:lnTo>
                  <a:pt x="1466237" y="3130399"/>
                </a:lnTo>
                <a:lnTo>
                  <a:pt x="1359311" y="3032076"/>
                </a:lnTo>
                <a:close/>
                <a:moveTo>
                  <a:pt x="1123337" y="3032076"/>
                </a:moveTo>
                <a:lnTo>
                  <a:pt x="1080320" y="3076321"/>
                </a:lnTo>
                <a:lnTo>
                  <a:pt x="1167582" y="3184476"/>
                </a:lnTo>
                <a:lnTo>
                  <a:pt x="1210598" y="3140231"/>
                </a:lnTo>
                <a:lnTo>
                  <a:pt x="1123337" y="3032076"/>
                </a:lnTo>
                <a:close/>
                <a:moveTo>
                  <a:pt x="770604" y="3032076"/>
                </a:moveTo>
                <a:lnTo>
                  <a:pt x="721442" y="3061573"/>
                </a:lnTo>
                <a:lnTo>
                  <a:pt x="779207" y="3185706"/>
                </a:lnTo>
                <a:lnTo>
                  <a:pt x="828369" y="3154979"/>
                </a:lnTo>
                <a:lnTo>
                  <a:pt x="770604" y="3032076"/>
                </a:lnTo>
                <a:close/>
                <a:moveTo>
                  <a:pt x="178209" y="3225035"/>
                </a:moveTo>
                <a:lnTo>
                  <a:pt x="119216" y="3229951"/>
                </a:lnTo>
                <a:lnTo>
                  <a:pt x="129048" y="3378663"/>
                </a:lnTo>
                <a:lnTo>
                  <a:pt x="188042" y="3373747"/>
                </a:lnTo>
                <a:lnTo>
                  <a:pt x="178209" y="3225035"/>
                </a:lnTo>
                <a:close/>
                <a:moveTo>
                  <a:pt x="296197" y="3225035"/>
                </a:moveTo>
                <a:lnTo>
                  <a:pt x="239661" y="3234867"/>
                </a:lnTo>
                <a:lnTo>
                  <a:pt x="259326" y="3378663"/>
                </a:lnTo>
                <a:lnTo>
                  <a:pt x="315861" y="3368831"/>
                </a:lnTo>
                <a:lnTo>
                  <a:pt x="296197" y="3225035"/>
                </a:lnTo>
                <a:close/>
                <a:moveTo>
                  <a:pt x="415413" y="3225035"/>
                </a:moveTo>
                <a:lnTo>
                  <a:pt x="360106" y="3239783"/>
                </a:lnTo>
                <a:lnTo>
                  <a:pt x="389603" y="3378663"/>
                </a:lnTo>
                <a:lnTo>
                  <a:pt x="444910" y="3363915"/>
                </a:lnTo>
                <a:lnTo>
                  <a:pt x="415413" y="3225035"/>
                </a:lnTo>
                <a:close/>
                <a:moveTo>
                  <a:pt x="532171" y="3225035"/>
                </a:moveTo>
                <a:lnTo>
                  <a:pt x="479323" y="3244699"/>
                </a:lnTo>
                <a:lnTo>
                  <a:pt x="518652" y="3378663"/>
                </a:lnTo>
                <a:lnTo>
                  <a:pt x="571500" y="3358999"/>
                </a:lnTo>
                <a:lnTo>
                  <a:pt x="532171" y="3225035"/>
                </a:lnTo>
                <a:close/>
                <a:moveTo>
                  <a:pt x="651388" y="3225035"/>
                </a:moveTo>
                <a:lnTo>
                  <a:pt x="599769" y="3249616"/>
                </a:lnTo>
                <a:lnTo>
                  <a:pt x="648930" y="3378663"/>
                </a:lnTo>
                <a:lnTo>
                  <a:pt x="699320" y="3352854"/>
                </a:lnTo>
                <a:lnTo>
                  <a:pt x="651388" y="3225035"/>
                </a:lnTo>
                <a:close/>
                <a:moveTo>
                  <a:pt x="1123337" y="3225035"/>
                </a:moveTo>
                <a:lnTo>
                  <a:pt x="1080320" y="3269280"/>
                </a:lnTo>
                <a:lnTo>
                  <a:pt x="1167582" y="3378663"/>
                </a:lnTo>
                <a:lnTo>
                  <a:pt x="1210598" y="3334418"/>
                </a:lnTo>
                <a:lnTo>
                  <a:pt x="1123337" y="3225035"/>
                </a:lnTo>
                <a:close/>
                <a:moveTo>
                  <a:pt x="1241324" y="3225035"/>
                </a:moveTo>
                <a:lnTo>
                  <a:pt x="1200765" y="3274196"/>
                </a:lnTo>
                <a:lnTo>
                  <a:pt x="1297860" y="3378663"/>
                </a:lnTo>
                <a:lnTo>
                  <a:pt x="1338417" y="3329502"/>
                </a:lnTo>
                <a:lnTo>
                  <a:pt x="1241324" y="3225035"/>
                </a:lnTo>
                <a:close/>
                <a:moveTo>
                  <a:pt x="1359311" y="3226263"/>
                </a:moveTo>
                <a:lnTo>
                  <a:pt x="1319982" y="3280341"/>
                </a:lnTo>
                <a:lnTo>
                  <a:pt x="1426908" y="3379893"/>
                </a:lnTo>
                <a:lnTo>
                  <a:pt x="1466237" y="3324586"/>
                </a:lnTo>
                <a:lnTo>
                  <a:pt x="1359311" y="3226263"/>
                </a:lnTo>
                <a:close/>
                <a:moveTo>
                  <a:pt x="1477299" y="3226263"/>
                </a:moveTo>
                <a:lnTo>
                  <a:pt x="1440428" y="3285257"/>
                </a:lnTo>
                <a:lnTo>
                  <a:pt x="1557185" y="3378663"/>
                </a:lnTo>
                <a:lnTo>
                  <a:pt x="1594056" y="3319670"/>
                </a:lnTo>
                <a:lnTo>
                  <a:pt x="1477299" y="3226263"/>
                </a:lnTo>
                <a:close/>
                <a:moveTo>
                  <a:pt x="769375" y="3226263"/>
                </a:moveTo>
                <a:lnTo>
                  <a:pt x="720214" y="3255760"/>
                </a:lnTo>
                <a:lnTo>
                  <a:pt x="777978" y="3379893"/>
                </a:lnTo>
                <a:lnTo>
                  <a:pt x="827139" y="3350396"/>
                </a:lnTo>
                <a:lnTo>
                  <a:pt x="769375" y="3226263"/>
                </a:lnTo>
                <a:close/>
                <a:moveTo>
                  <a:pt x="887362" y="3226263"/>
                </a:moveTo>
                <a:lnTo>
                  <a:pt x="840659" y="3260676"/>
                </a:lnTo>
                <a:lnTo>
                  <a:pt x="908255" y="3378663"/>
                </a:lnTo>
                <a:lnTo>
                  <a:pt x="954959" y="3344250"/>
                </a:lnTo>
                <a:lnTo>
                  <a:pt x="887362" y="3226263"/>
                </a:lnTo>
                <a:close/>
                <a:moveTo>
                  <a:pt x="1005350" y="3226263"/>
                </a:moveTo>
                <a:lnTo>
                  <a:pt x="959875" y="3265592"/>
                </a:lnTo>
                <a:lnTo>
                  <a:pt x="1037304" y="3378663"/>
                </a:lnTo>
                <a:lnTo>
                  <a:pt x="1082778" y="3339334"/>
                </a:lnTo>
                <a:lnTo>
                  <a:pt x="1005350" y="3226263"/>
                </a:lnTo>
                <a:close/>
                <a:moveTo>
                  <a:pt x="415413" y="3419222"/>
                </a:moveTo>
                <a:lnTo>
                  <a:pt x="360106" y="3433971"/>
                </a:lnTo>
                <a:lnTo>
                  <a:pt x="389603" y="3572851"/>
                </a:lnTo>
                <a:lnTo>
                  <a:pt x="444910" y="3556874"/>
                </a:lnTo>
                <a:lnTo>
                  <a:pt x="415413" y="3419222"/>
                </a:lnTo>
                <a:close/>
                <a:moveTo>
                  <a:pt x="1359311" y="3419222"/>
                </a:moveTo>
                <a:lnTo>
                  <a:pt x="1319982" y="3474528"/>
                </a:lnTo>
                <a:lnTo>
                  <a:pt x="1426908" y="3571622"/>
                </a:lnTo>
                <a:lnTo>
                  <a:pt x="1466237" y="3517545"/>
                </a:lnTo>
                <a:lnTo>
                  <a:pt x="1359311" y="3419222"/>
                </a:lnTo>
                <a:close/>
                <a:moveTo>
                  <a:pt x="532171" y="3420451"/>
                </a:moveTo>
                <a:lnTo>
                  <a:pt x="479323" y="3440115"/>
                </a:lnTo>
                <a:lnTo>
                  <a:pt x="518652" y="3574080"/>
                </a:lnTo>
                <a:lnTo>
                  <a:pt x="571500" y="3554416"/>
                </a:lnTo>
                <a:lnTo>
                  <a:pt x="532171" y="3420451"/>
                </a:lnTo>
                <a:close/>
                <a:moveTo>
                  <a:pt x="651388" y="3420451"/>
                </a:moveTo>
                <a:lnTo>
                  <a:pt x="599769" y="3445031"/>
                </a:lnTo>
                <a:lnTo>
                  <a:pt x="648930" y="3574080"/>
                </a:lnTo>
                <a:lnTo>
                  <a:pt x="699320" y="3549500"/>
                </a:lnTo>
                <a:lnTo>
                  <a:pt x="651388" y="3420451"/>
                </a:lnTo>
                <a:close/>
                <a:moveTo>
                  <a:pt x="768145" y="3420451"/>
                </a:moveTo>
                <a:lnTo>
                  <a:pt x="720214" y="3449947"/>
                </a:lnTo>
                <a:lnTo>
                  <a:pt x="777978" y="3572851"/>
                </a:lnTo>
                <a:lnTo>
                  <a:pt x="827139" y="3543354"/>
                </a:lnTo>
                <a:lnTo>
                  <a:pt x="768145" y="3420451"/>
                </a:lnTo>
                <a:close/>
                <a:moveTo>
                  <a:pt x="887362" y="3420451"/>
                </a:moveTo>
                <a:lnTo>
                  <a:pt x="840659" y="3454863"/>
                </a:lnTo>
                <a:lnTo>
                  <a:pt x="908255" y="3574080"/>
                </a:lnTo>
                <a:lnTo>
                  <a:pt x="954959" y="3539667"/>
                </a:lnTo>
                <a:lnTo>
                  <a:pt x="887362" y="3420451"/>
                </a:lnTo>
                <a:close/>
                <a:moveTo>
                  <a:pt x="1005350" y="3420451"/>
                </a:moveTo>
                <a:lnTo>
                  <a:pt x="959875" y="3459780"/>
                </a:lnTo>
                <a:lnTo>
                  <a:pt x="1037304" y="3572851"/>
                </a:lnTo>
                <a:lnTo>
                  <a:pt x="1082778" y="3533522"/>
                </a:lnTo>
                <a:lnTo>
                  <a:pt x="1005350" y="3420451"/>
                </a:lnTo>
                <a:close/>
                <a:moveTo>
                  <a:pt x="1123337" y="3420451"/>
                </a:moveTo>
                <a:lnTo>
                  <a:pt x="1080320" y="3464696"/>
                </a:lnTo>
                <a:lnTo>
                  <a:pt x="1167582" y="3574080"/>
                </a:lnTo>
                <a:lnTo>
                  <a:pt x="1210598" y="3529835"/>
                </a:lnTo>
                <a:lnTo>
                  <a:pt x="1123337" y="3420451"/>
                </a:lnTo>
                <a:close/>
                <a:moveTo>
                  <a:pt x="1242552" y="3420451"/>
                </a:moveTo>
                <a:lnTo>
                  <a:pt x="1200765" y="3469612"/>
                </a:lnTo>
                <a:lnTo>
                  <a:pt x="1297860" y="3574080"/>
                </a:lnTo>
                <a:lnTo>
                  <a:pt x="1338417" y="3524919"/>
                </a:lnTo>
                <a:lnTo>
                  <a:pt x="1242552" y="3420451"/>
                </a:lnTo>
                <a:close/>
                <a:moveTo>
                  <a:pt x="178209" y="3420451"/>
                </a:moveTo>
                <a:lnTo>
                  <a:pt x="119216" y="3425367"/>
                </a:lnTo>
                <a:lnTo>
                  <a:pt x="129048" y="3574080"/>
                </a:lnTo>
                <a:lnTo>
                  <a:pt x="188042" y="3569164"/>
                </a:lnTo>
                <a:lnTo>
                  <a:pt x="178209" y="3420451"/>
                </a:lnTo>
                <a:close/>
                <a:moveTo>
                  <a:pt x="296197" y="3420451"/>
                </a:moveTo>
                <a:lnTo>
                  <a:pt x="239661" y="3430283"/>
                </a:lnTo>
                <a:lnTo>
                  <a:pt x="259326" y="3574080"/>
                </a:lnTo>
                <a:lnTo>
                  <a:pt x="315861" y="3564248"/>
                </a:lnTo>
                <a:lnTo>
                  <a:pt x="296197" y="3420451"/>
                </a:lnTo>
                <a:close/>
                <a:moveTo>
                  <a:pt x="415413" y="3607264"/>
                </a:moveTo>
                <a:lnTo>
                  <a:pt x="360106" y="3622012"/>
                </a:lnTo>
                <a:lnTo>
                  <a:pt x="389603" y="3760894"/>
                </a:lnTo>
                <a:lnTo>
                  <a:pt x="444910" y="3746145"/>
                </a:lnTo>
                <a:lnTo>
                  <a:pt x="415413" y="3607264"/>
                </a:lnTo>
                <a:close/>
                <a:moveTo>
                  <a:pt x="651388" y="3607264"/>
                </a:moveTo>
                <a:lnTo>
                  <a:pt x="599769" y="3631844"/>
                </a:lnTo>
                <a:lnTo>
                  <a:pt x="648930" y="3760894"/>
                </a:lnTo>
                <a:lnTo>
                  <a:pt x="699320" y="3736313"/>
                </a:lnTo>
                <a:lnTo>
                  <a:pt x="651388" y="3607264"/>
                </a:lnTo>
                <a:close/>
                <a:moveTo>
                  <a:pt x="1123337" y="3607264"/>
                </a:moveTo>
                <a:lnTo>
                  <a:pt x="1080320" y="3652739"/>
                </a:lnTo>
                <a:lnTo>
                  <a:pt x="1167582" y="3760894"/>
                </a:lnTo>
                <a:lnTo>
                  <a:pt x="1210598" y="3716648"/>
                </a:lnTo>
                <a:lnTo>
                  <a:pt x="1123337" y="3607264"/>
                </a:lnTo>
                <a:close/>
                <a:moveTo>
                  <a:pt x="1241324" y="3607264"/>
                </a:moveTo>
                <a:lnTo>
                  <a:pt x="1199537" y="3657655"/>
                </a:lnTo>
                <a:lnTo>
                  <a:pt x="1297860" y="3760894"/>
                </a:lnTo>
                <a:lnTo>
                  <a:pt x="1338417" y="3711732"/>
                </a:lnTo>
                <a:lnTo>
                  <a:pt x="1241324" y="3607264"/>
                </a:lnTo>
                <a:close/>
                <a:moveTo>
                  <a:pt x="1359311" y="3607264"/>
                </a:moveTo>
                <a:lnTo>
                  <a:pt x="1319982" y="3662571"/>
                </a:lnTo>
                <a:lnTo>
                  <a:pt x="1426908" y="3759664"/>
                </a:lnTo>
                <a:lnTo>
                  <a:pt x="1466237" y="3705586"/>
                </a:lnTo>
                <a:lnTo>
                  <a:pt x="1359311" y="3607264"/>
                </a:lnTo>
                <a:close/>
                <a:moveTo>
                  <a:pt x="769375" y="3608493"/>
                </a:moveTo>
                <a:lnTo>
                  <a:pt x="720214" y="3639219"/>
                </a:lnTo>
                <a:lnTo>
                  <a:pt x="777978" y="3762122"/>
                </a:lnTo>
                <a:lnTo>
                  <a:pt x="827139" y="3732625"/>
                </a:lnTo>
                <a:lnTo>
                  <a:pt x="769375" y="3608493"/>
                </a:lnTo>
                <a:close/>
                <a:moveTo>
                  <a:pt x="1005350" y="3608493"/>
                </a:moveTo>
                <a:lnTo>
                  <a:pt x="959875" y="3649051"/>
                </a:lnTo>
                <a:lnTo>
                  <a:pt x="1037304" y="3762122"/>
                </a:lnTo>
                <a:lnTo>
                  <a:pt x="1082778" y="3722793"/>
                </a:lnTo>
                <a:lnTo>
                  <a:pt x="1005350" y="3608493"/>
                </a:lnTo>
                <a:close/>
                <a:moveTo>
                  <a:pt x="887362" y="3609722"/>
                </a:moveTo>
                <a:lnTo>
                  <a:pt x="840659" y="3644135"/>
                </a:lnTo>
                <a:lnTo>
                  <a:pt x="908255" y="3762122"/>
                </a:lnTo>
                <a:lnTo>
                  <a:pt x="954959" y="3728939"/>
                </a:lnTo>
                <a:lnTo>
                  <a:pt x="887362" y="3609722"/>
                </a:lnTo>
                <a:close/>
                <a:moveTo>
                  <a:pt x="532171" y="3608493"/>
                </a:moveTo>
                <a:lnTo>
                  <a:pt x="479323" y="3628158"/>
                </a:lnTo>
                <a:lnTo>
                  <a:pt x="518652" y="3760894"/>
                </a:lnTo>
                <a:lnTo>
                  <a:pt x="571500" y="3742457"/>
                </a:lnTo>
                <a:lnTo>
                  <a:pt x="532171" y="3608493"/>
                </a:lnTo>
                <a:close/>
                <a:moveTo>
                  <a:pt x="178209" y="3608493"/>
                </a:moveTo>
                <a:lnTo>
                  <a:pt x="119216" y="3613409"/>
                </a:lnTo>
                <a:lnTo>
                  <a:pt x="129048" y="3762122"/>
                </a:lnTo>
                <a:lnTo>
                  <a:pt x="188042" y="3757206"/>
                </a:lnTo>
                <a:lnTo>
                  <a:pt x="178209" y="3608493"/>
                </a:lnTo>
                <a:close/>
                <a:moveTo>
                  <a:pt x="296197" y="3608493"/>
                </a:moveTo>
                <a:lnTo>
                  <a:pt x="239661" y="3618326"/>
                </a:lnTo>
                <a:lnTo>
                  <a:pt x="259326" y="3762122"/>
                </a:lnTo>
                <a:lnTo>
                  <a:pt x="315861" y="3752290"/>
                </a:lnTo>
                <a:lnTo>
                  <a:pt x="296197" y="3608493"/>
                </a:lnTo>
                <a:close/>
                <a:moveTo>
                  <a:pt x="178209" y="3798993"/>
                </a:moveTo>
                <a:lnTo>
                  <a:pt x="119216" y="3803909"/>
                </a:lnTo>
                <a:lnTo>
                  <a:pt x="129048" y="3952623"/>
                </a:lnTo>
                <a:lnTo>
                  <a:pt x="188042" y="3947707"/>
                </a:lnTo>
                <a:lnTo>
                  <a:pt x="178209" y="3798993"/>
                </a:lnTo>
                <a:close/>
                <a:moveTo>
                  <a:pt x="296197" y="3798993"/>
                </a:moveTo>
                <a:lnTo>
                  <a:pt x="239661" y="3808825"/>
                </a:lnTo>
                <a:lnTo>
                  <a:pt x="259326" y="3952623"/>
                </a:lnTo>
                <a:lnTo>
                  <a:pt x="315861" y="3942790"/>
                </a:lnTo>
                <a:lnTo>
                  <a:pt x="296197" y="3798993"/>
                </a:lnTo>
                <a:close/>
                <a:moveTo>
                  <a:pt x="651388" y="3798993"/>
                </a:moveTo>
                <a:lnTo>
                  <a:pt x="599769" y="3823574"/>
                </a:lnTo>
                <a:lnTo>
                  <a:pt x="648930" y="3952623"/>
                </a:lnTo>
                <a:lnTo>
                  <a:pt x="699320" y="3928042"/>
                </a:lnTo>
                <a:lnTo>
                  <a:pt x="651388" y="3798993"/>
                </a:lnTo>
                <a:close/>
                <a:moveTo>
                  <a:pt x="887362" y="3798993"/>
                </a:moveTo>
                <a:lnTo>
                  <a:pt x="840659" y="3833406"/>
                </a:lnTo>
                <a:lnTo>
                  <a:pt x="908255" y="3952623"/>
                </a:lnTo>
                <a:lnTo>
                  <a:pt x="954959" y="3918210"/>
                </a:lnTo>
                <a:lnTo>
                  <a:pt x="887362" y="3798993"/>
                </a:lnTo>
                <a:close/>
                <a:moveTo>
                  <a:pt x="1005350" y="3800223"/>
                </a:moveTo>
                <a:lnTo>
                  <a:pt x="959875" y="3839552"/>
                </a:lnTo>
                <a:lnTo>
                  <a:pt x="1037304" y="3952623"/>
                </a:lnTo>
                <a:lnTo>
                  <a:pt x="1082778" y="3913294"/>
                </a:lnTo>
                <a:lnTo>
                  <a:pt x="1005350" y="3800223"/>
                </a:lnTo>
                <a:close/>
                <a:moveTo>
                  <a:pt x="1123337" y="3800223"/>
                </a:moveTo>
                <a:lnTo>
                  <a:pt x="1080320" y="3844468"/>
                </a:lnTo>
                <a:lnTo>
                  <a:pt x="1167582" y="3952623"/>
                </a:lnTo>
                <a:lnTo>
                  <a:pt x="1210598" y="3908378"/>
                </a:lnTo>
                <a:lnTo>
                  <a:pt x="1123337" y="3800223"/>
                </a:lnTo>
                <a:close/>
                <a:moveTo>
                  <a:pt x="1241324" y="3800223"/>
                </a:moveTo>
                <a:lnTo>
                  <a:pt x="1199537" y="3849384"/>
                </a:lnTo>
                <a:lnTo>
                  <a:pt x="1297860" y="3953851"/>
                </a:lnTo>
                <a:lnTo>
                  <a:pt x="1338417" y="3904690"/>
                </a:lnTo>
                <a:lnTo>
                  <a:pt x="1241324" y="3800223"/>
                </a:lnTo>
                <a:close/>
                <a:moveTo>
                  <a:pt x="1359311" y="3800223"/>
                </a:moveTo>
                <a:lnTo>
                  <a:pt x="1319982" y="3854300"/>
                </a:lnTo>
                <a:lnTo>
                  <a:pt x="1426908" y="3952623"/>
                </a:lnTo>
                <a:lnTo>
                  <a:pt x="1466237" y="3898545"/>
                </a:lnTo>
                <a:lnTo>
                  <a:pt x="1359311" y="3800223"/>
                </a:lnTo>
                <a:close/>
                <a:moveTo>
                  <a:pt x="769375" y="3800223"/>
                </a:moveTo>
                <a:lnTo>
                  <a:pt x="720214" y="3829719"/>
                </a:lnTo>
                <a:lnTo>
                  <a:pt x="777978" y="3953851"/>
                </a:lnTo>
                <a:lnTo>
                  <a:pt x="827139" y="3924354"/>
                </a:lnTo>
                <a:lnTo>
                  <a:pt x="769375" y="3800223"/>
                </a:lnTo>
                <a:close/>
                <a:moveTo>
                  <a:pt x="415413" y="3800223"/>
                </a:moveTo>
                <a:lnTo>
                  <a:pt x="360106" y="3814971"/>
                </a:lnTo>
                <a:lnTo>
                  <a:pt x="389603" y="3952623"/>
                </a:lnTo>
                <a:lnTo>
                  <a:pt x="444910" y="3939103"/>
                </a:lnTo>
                <a:lnTo>
                  <a:pt x="415413" y="3800223"/>
                </a:lnTo>
                <a:close/>
                <a:moveTo>
                  <a:pt x="532171" y="3800223"/>
                </a:moveTo>
                <a:lnTo>
                  <a:pt x="479323" y="3819887"/>
                </a:lnTo>
                <a:lnTo>
                  <a:pt x="518652" y="3952623"/>
                </a:lnTo>
                <a:lnTo>
                  <a:pt x="571500" y="3934187"/>
                </a:lnTo>
                <a:lnTo>
                  <a:pt x="532171" y="3800223"/>
                </a:lnTo>
                <a:close/>
                <a:moveTo>
                  <a:pt x="1240094" y="3990722"/>
                </a:moveTo>
                <a:lnTo>
                  <a:pt x="1198307" y="4039883"/>
                </a:lnTo>
                <a:lnTo>
                  <a:pt x="1200765" y="4042342"/>
                </a:lnTo>
                <a:lnTo>
                  <a:pt x="1199537" y="4044800"/>
                </a:lnTo>
                <a:lnTo>
                  <a:pt x="1296630" y="4149268"/>
                </a:lnTo>
                <a:lnTo>
                  <a:pt x="1338417" y="4100107"/>
                </a:lnTo>
                <a:lnTo>
                  <a:pt x="1335959" y="4097649"/>
                </a:lnTo>
                <a:lnTo>
                  <a:pt x="1337189" y="4095191"/>
                </a:lnTo>
                <a:lnTo>
                  <a:pt x="1240094" y="3990722"/>
                </a:lnTo>
                <a:close/>
                <a:moveTo>
                  <a:pt x="1359311" y="3991952"/>
                </a:moveTo>
                <a:lnTo>
                  <a:pt x="1319982" y="4046029"/>
                </a:lnTo>
                <a:lnTo>
                  <a:pt x="1322440" y="4048487"/>
                </a:lnTo>
                <a:lnTo>
                  <a:pt x="1321211" y="4050945"/>
                </a:lnTo>
                <a:lnTo>
                  <a:pt x="1428137" y="4149268"/>
                </a:lnTo>
                <a:lnTo>
                  <a:pt x="1467466" y="4095191"/>
                </a:lnTo>
                <a:lnTo>
                  <a:pt x="1465008" y="4092733"/>
                </a:lnTo>
                <a:lnTo>
                  <a:pt x="1466237" y="4090275"/>
                </a:lnTo>
                <a:lnTo>
                  <a:pt x="1359311" y="3991952"/>
                </a:lnTo>
                <a:close/>
                <a:moveTo>
                  <a:pt x="178209" y="3991952"/>
                </a:moveTo>
                <a:lnTo>
                  <a:pt x="119216" y="3996868"/>
                </a:lnTo>
                <a:lnTo>
                  <a:pt x="119216" y="4000554"/>
                </a:lnTo>
                <a:lnTo>
                  <a:pt x="129048" y="4149268"/>
                </a:lnTo>
                <a:lnTo>
                  <a:pt x="188042" y="4144352"/>
                </a:lnTo>
                <a:lnTo>
                  <a:pt x="188042" y="4140664"/>
                </a:lnTo>
                <a:lnTo>
                  <a:pt x="178209" y="3991952"/>
                </a:lnTo>
                <a:close/>
                <a:moveTo>
                  <a:pt x="296197" y="3991952"/>
                </a:moveTo>
                <a:lnTo>
                  <a:pt x="239661" y="4001784"/>
                </a:lnTo>
                <a:lnTo>
                  <a:pt x="240891" y="4006700"/>
                </a:lnTo>
                <a:lnTo>
                  <a:pt x="239661" y="4006700"/>
                </a:lnTo>
                <a:lnTo>
                  <a:pt x="259326" y="4150497"/>
                </a:lnTo>
                <a:lnTo>
                  <a:pt x="315861" y="4140664"/>
                </a:lnTo>
                <a:lnTo>
                  <a:pt x="314633" y="4135748"/>
                </a:lnTo>
                <a:lnTo>
                  <a:pt x="315861" y="4135748"/>
                </a:lnTo>
                <a:lnTo>
                  <a:pt x="296197" y="3991952"/>
                </a:lnTo>
                <a:close/>
                <a:moveTo>
                  <a:pt x="415413" y="3991952"/>
                </a:moveTo>
                <a:lnTo>
                  <a:pt x="360106" y="4006700"/>
                </a:lnTo>
                <a:lnTo>
                  <a:pt x="361336" y="4011616"/>
                </a:lnTo>
                <a:lnTo>
                  <a:pt x="360106" y="4011616"/>
                </a:lnTo>
                <a:lnTo>
                  <a:pt x="388375" y="4150497"/>
                </a:lnTo>
                <a:lnTo>
                  <a:pt x="443681" y="4134520"/>
                </a:lnTo>
                <a:lnTo>
                  <a:pt x="443681" y="4129604"/>
                </a:lnTo>
                <a:lnTo>
                  <a:pt x="444910" y="4129604"/>
                </a:lnTo>
                <a:lnTo>
                  <a:pt x="415413" y="3991952"/>
                </a:lnTo>
                <a:close/>
                <a:moveTo>
                  <a:pt x="532171" y="3991952"/>
                </a:moveTo>
                <a:lnTo>
                  <a:pt x="479323" y="4011616"/>
                </a:lnTo>
                <a:lnTo>
                  <a:pt x="480552" y="4015303"/>
                </a:lnTo>
                <a:lnTo>
                  <a:pt x="479323" y="4015303"/>
                </a:lnTo>
                <a:lnTo>
                  <a:pt x="518652" y="4149268"/>
                </a:lnTo>
                <a:lnTo>
                  <a:pt x="571500" y="4129604"/>
                </a:lnTo>
                <a:lnTo>
                  <a:pt x="570272" y="4125916"/>
                </a:lnTo>
                <a:lnTo>
                  <a:pt x="571500" y="4125916"/>
                </a:lnTo>
                <a:lnTo>
                  <a:pt x="532171" y="3991952"/>
                </a:lnTo>
                <a:close/>
                <a:moveTo>
                  <a:pt x="651388" y="3991952"/>
                </a:moveTo>
                <a:lnTo>
                  <a:pt x="599769" y="4016532"/>
                </a:lnTo>
                <a:lnTo>
                  <a:pt x="600997" y="4020219"/>
                </a:lnTo>
                <a:lnTo>
                  <a:pt x="599769" y="4020219"/>
                </a:lnTo>
                <a:lnTo>
                  <a:pt x="648930" y="4149268"/>
                </a:lnTo>
                <a:lnTo>
                  <a:pt x="699320" y="4124687"/>
                </a:lnTo>
                <a:lnTo>
                  <a:pt x="698091" y="4121000"/>
                </a:lnTo>
                <a:lnTo>
                  <a:pt x="699320" y="4121000"/>
                </a:lnTo>
                <a:lnTo>
                  <a:pt x="651388" y="3991952"/>
                </a:lnTo>
                <a:close/>
                <a:moveTo>
                  <a:pt x="769375" y="3991952"/>
                </a:moveTo>
                <a:lnTo>
                  <a:pt x="720214" y="4021449"/>
                </a:lnTo>
                <a:lnTo>
                  <a:pt x="722672" y="4023907"/>
                </a:lnTo>
                <a:lnTo>
                  <a:pt x="721442" y="4025135"/>
                </a:lnTo>
                <a:lnTo>
                  <a:pt x="779207" y="4149268"/>
                </a:lnTo>
                <a:lnTo>
                  <a:pt x="828369" y="4119771"/>
                </a:lnTo>
                <a:lnTo>
                  <a:pt x="827139" y="4116084"/>
                </a:lnTo>
                <a:lnTo>
                  <a:pt x="828369" y="4114855"/>
                </a:lnTo>
                <a:lnTo>
                  <a:pt x="769375" y="3991952"/>
                </a:lnTo>
                <a:close/>
                <a:moveTo>
                  <a:pt x="1005350" y="3991952"/>
                </a:moveTo>
                <a:lnTo>
                  <a:pt x="959875" y="4031281"/>
                </a:lnTo>
                <a:lnTo>
                  <a:pt x="962333" y="4033739"/>
                </a:lnTo>
                <a:lnTo>
                  <a:pt x="959875" y="4034967"/>
                </a:lnTo>
                <a:lnTo>
                  <a:pt x="1037304" y="4148039"/>
                </a:lnTo>
                <a:lnTo>
                  <a:pt x="1082778" y="4108709"/>
                </a:lnTo>
                <a:lnTo>
                  <a:pt x="1081550" y="4106251"/>
                </a:lnTo>
                <a:lnTo>
                  <a:pt x="1082778" y="4105023"/>
                </a:lnTo>
                <a:lnTo>
                  <a:pt x="1005350" y="3991952"/>
                </a:lnTo>
                <a:close/>
                <a:moveTo>
                  <a:pt x="1123337" y="3991952"/>
                </a:moveTo>
                <a:lnTo>
                  <a:pt x="1080320" y="4036197"/>
                </a:lnTo>
                <a:lnTo>
                  <a:pt x="1081550" y="4041113"/>
                </a:lnTo>
                <a:lnTo>
                  <a:pt x="1080320" y="4042342"/>
                </a:lnTo>
                <a:lnTo>
                  <a:pt x="1167582" y="4150497"/>
                </a:lnTo>
                <a:lnTo>
                  <a:pt x="1210598" y="4106251"/>
                </a:lnTo>
                <a:lnTo>
                  <a:pt x="1209369" y="4103793"/>
                </a:lnTo>
                <a:lnTo>
                  <a:pt x="1210598" y="4101335"/>
                </a:lnTo>
                <a:lnTo>
                  <a:pt x="1123337" y="3991952"/>
                </a:lnTo>
                <a:close/>
                <a:moveTo>
                  <a:pt x="887362" y="3993180"/>
                </a:moveTo>
                <a:lnTo>
                  <a:pt x="840659" y="4027593"/>
                </a:lnTo>
                <a:lnTo>
                  <a:pt x="841887" y="4030051"/>
                </a:lnTo>
                <a:lnTo>
                  <a:pt x="840659" y="4031281"/>
                </a:lnTo>
                <a:lnTo>
                  <a:pt x="908255" y="4149268"/>
                </a:lnTo>
                <a:lnTo>
                  <a:pt x="954959" y="4114855"/>
                </a:lnTo>
                <a:lnTo>
                  <a:pt x="953730" y="4112397"/>
                </a:lnTo>
                <a:lnTo>
                  <a:pt x="954959" y="4111167"/>
                </a:lnTo>
                <a:lnTo>
                  <a:pt x="887362" y="3993180"/>
                </a:lnTo>
                <a:close/>
                <a:moveTo>
                  <a:pt x="415413" y="4189826"/>
                </a:moveTo>
                <a:lnTo>
                  <a:pt x="360106" y="4205804"/>
                </a:lnTo>
                <a:lnTo>
                  <a:pt x="389603" y="4343456"/>
                </a:lnTo>
                <a:lnTo>
                  <a:pt x="444910" y="4328707"/>
                </a:lnTo>
                <a:lnTo>
                  <a:pt x="415413" y="4189826"/>
                </a:lnTo>
                <a:close/>
                <a:moveTo>
                  <a:pt x="532171" y="4189826"/>
                </a:moveTo>
                <a:lnTo>
                  <a:pt x="479323" y="4209490"/>
                </a:lnTo>
                <a:lnTo>
                  <a:pt x="518652" y="4343456"/>
                </a:lnTo>
                <a:lnTo>
                  <a:pt x="571500" y="4323791"/>
                </a:lnTo>
                <a:lnTo>
                  <a:pt x="532171" y="4189826"/>
                </a:lnTo>
                <a:close/>
                <a:moveTo>
                  <a:pt x="651388" y="4189826"/>
                </a:moveTo>
                <a:lnTo>
                  <a:pt x="599769" y="4214406"/>
                </a:lnTo>
                <a:lnTo>
                  <a:pt x="648930" y="4343456"/>
                </a:lnTo>
                <a:lnTo>
                  <a:pt x="699320" y="4317645"/>
                </a:lnTo>
                <a:lnTo>
                  <a:pt x="651388" y="4189826"/>
                </a:lnTo>
                <a:close/>
                <a:moveTo>
                  <a:pt x="769375" y="4189826"/>
                </a:moveTo>
                <a:lnTo>
                  <a:pt x="720214" y="4220552"/>
                </a:lnTo>
                <a:lnTo>
                  <a:pt x="777978" y="4343456"/>
                </a:lnTo>
                <a:lnTo>
                  <a:pt x="827139" y="4313959"/>
                </a:lnTo>
                <a:lnTo>
                  <a:pt x="769375" y="4189826"/>
                </a:lnTo>
                <a:close/>
                <a:moveTo>
                  <a:pt x="887362" y="4189826"/>
                </a:moveTo>
                <a:lnTo>
                  <a:pt x="840659" y="4225468"/>
                </a:lnTo>
                <a:lnTo>
                  <a:pt x="908255" y="4343456"/>
                </a:lnTo>
                <a:lnTo>
                  <a:pt x="954959" y="4309043"/>
                </a:lnTo>
                <a:lnTo>
                  <a:pt x="887362" y="4189826"/>
                </a:lnTo>
                <a:close/>
                <a:moveTo>
                  <a:pt x="1005350" y="4189826"/>
                </a:moveTo>
                <a:lnTo>
                  <a:pt x="959875" y="4230384"/>
                </a:lnTo>
                <a:lnTo>
                  <a:pt x="1037304" y="4343456"/>
                </a:lnTo>
                <a:lnTo>
                  <a:pt x="1082778" y="4304126"/>
                </a:lnTo>
                <a:lnTo>
                  <a:pt x="1005350" y="4189826"/>
                </a:lnTo>
                <a:close/>
                <a:moveTo>
                  <a:pt x="1123337" y="4189826"/>
                </a:moveTo>
                <a:lnTo>
                  <a:pt x="1080320" y="4235301"/>
                </a:lnTo>
                <a:lnTo>
                  <a:pt x="1167582" y="4343456"/>
                </a:lnTo>
                <a:lnTo>
                  <a:pt x="1210598" y="4299210"/>
                </a:lnTo>
                <a:lnTo>
                  <a:pt x="1123337" y="4189826"/>
                </a:lnTo>
                <a:close/>
                <a:moveTo>
                  <a:pt x="1241324" y="4191055"/>
                </a:moveTo>
                <a:lnTo>
                  <a:pt x="1199537" y="4240217"/>
                </a:lnTo>
                <a:lnTo>
                  <a:pt x="1297860" y="4343456"/>
                </a:lnTo>
                <a:lnTo>
                  <a:pt x="1338417" y="4294294"/>
                </a:lnTo>
                <a:lnTo>
                  <a:pt x="1241324" y="4191055"/>
                </a:lnTo>
                <a:close/>
                <a:moveTo>
                  <a:pt x="1359311" y="4191055"/>
                </a:moveTo>
                <a:lnTo>
                  <a:pt x="1319982" y="4245133"/>
                </a:lnTo>
                <a:lnTo>
                  <a:pt x="1426908" y="4343456"/>
                </a:lnTo>
                <a:lnTo>
                  <a:pt x="1466237" y="4289378"/>
                </a:lnTo>
                <a:lnTo>
                  <a:pt x="1359311" y="4191055"/>
                </a:lnTo>
                <a:close/>
                <a:moveTo>
                  <a:pt x="1477299" y="4191055"/>
                </a:moveTo>
                <a:lnTo>
                  <a:pt x="1440428" y="4250049"/>
                </a:lnTo>
                <a:lnTo>
                  <a:pt x="1557185" y="4343456"/>
                </a:lnTo>
                <a:lnTo>
                  <a:pt x="1594056" y="4284462"/>
                </a:lnTo>
                <a:lnTo>
                  <a:pt x="1477299" y="4191055"/>
                </a:lnTo>
                <a:close/>
                <a:moveTo>
                  <a:pt x="178209" y="4191055"/>
                </a:moveTo>
                <a:lnTo>
                  <a:pt x="119216" y="4195972"/>
                </a:lnTo>
                <a:lnTo>
                  <a:pt x="129048" y="4343456"/>
                </a:lnTo>
                <a:lnTo>
                  <a:pt x="188042" y="4339768"/>
                </a:lnTo>
                <a:lnTo>
                  <a:pt x="178209" y="4191055"/>
                </a:lnTo>
                <a:close/>
                <a:moveTo>
                  <a:pt x="296197" y="4191055"/>
                </a:moveTo>
                <a:lnTo>
                  <a:pt x="240891" y="4200888"/>
                </a:lnTo>
                <a:lnTo>
                  <a:pt x="259326" y="4343456"/>
                </a:lnTo>
                <a:lnTo>
                  <a:pt x="315861" y="4334852"/>
                </a:lnTo>
                <a:lnTo>
                  <a:pt x="296197" y="4191055"/>
                </a:lnTo>
                <a:close/>
                <a:moveTo>
                  <a:pt x="651388" y="4384013"/>
                </a:moveTo>
                <a:lnTo>
                  <a:pt x="599769" y="4408594"/>
                </a:lnTo>
                <a:lnTo>
                  <a:pt x="648930" y="4537643"/>
                </a:lnTo>
                <a:lnTo>
                  <a:pt x="699320" y="4511832"/>
                </a:lnTo>
                <a:lnTo>
                  <a:pt x="651388" y="4384013"/>
                </a:lnTo>
                <a:close/>
                <a:moveTo>
                  <a:pt x="887362" y="4384013"/>
                </a:moveTo>
                <a:lnTo>
                  <a:pt x="840659" y="4419656"/>
                </a:lnTo>
                <a:lnTo>
                  <a:pt x="908255" y="4538871"/>
                </a:lnTo>
                <a:lnTo>
                  <a:pt x="954959" y="4503230"/>
                </a:lnTo>
                <a:lnTo>
                  <a:pt x="887362" y="4384013"/>
                </a:lnTo>
                <a:close/>
                <a:moveTo>
                  <a:pt x="1123337" y="4384013"/>
                </a:moveTo>
                <a:lnTo>
                  <a:pt x="1080320" y="4428258"/>
                </a:lnTo>
                <a:lnTo>
                  <a:pt x="1167582" y="4537643"/>
                </a:lnTo>
                <a:lnTo>
                  <a:pt x="1210598" y="4493398"/>
                </a:lnTo>
                <a:lnTo>
                  <a:pt x="1123337" y="4384013"/>
                </a:lnTo>
                <a:close/>
                <a:moveTo>
                  <a:pt x="1240094" y="4384013"/>
                </a:moveTo>
                <a:lnTo>
                  <a:pt x="1199537" y="4433174"/>
                </a:lnTo>
                <a:lnTo>
                  <a:pt x="1296630" y="4537643"/>
                </a:lnTo>
                <a:lnTo>
                  <a:pt x="1338417" y="4488482"/>
                </a:lnTo>
                <a:lnTo>
                  <a:pt x="1240094" y="4384013"/>
                </a:lnTo>
                <a:close/>
                <a:moveTo>
                  <a:pt x="1359311" y="4385243"/>
                </a:moveTo>
                <a:lnTo>
                  <a:pt x="1319982" y="4439320"/>
                </a:lnTo>
                <a:lnTo>
                  <a:pt x="1426908" y="4537643"/>
                </a:lnTo>
                <a:lnTo>
                  <a:pt x="1466237" y="4483565"/>
                </a:lnTo>
                <a:lnTo>
                  <a:pt x="1359311" y="4385243"/>
                </a:lnTo>
                <a:close/>
                <a:moveTo>
                  <a:pt x="1005350" y="4385243"/>
                </a:moveTo>
                <a:lnTo>
                  <a:pt x="959875" y="4423342"/>
                </a:lnTo>
                <a:lnTo>
                  <a:pt x="1037304" y="4537643"/>
                </a:lnTo>
                <a:lnTo>
                  <a:pt x="1082778" y="4498314"/>
                </a:lnTo>
                <a:lnTo>
                  <a:pt x="1005350" y="4385243"/>
                </a:lnTo>
                <a:close/>
                <a:moveTo>
                  <a:pt x="769375" y="4385243"/>
                </a:moveTo>
                <a:lnTo>
                  <a:pt x="720214" y="4413510"/>
                </a:lnTo>
                <a:lnTo>
                  <a:pt x="777978" y="4537643"/>
                </a:lnTo>
                <a:lnTo>
                  <a:pt x="827139" y="4508146"/>
                </a:lnTo>
                <a:lnTo>
                  <a:pt x="769375" y="4385243"/>
                </a:lnTo>
                <a:close/>
                <a:moveTo>
                  <a:pt x="178209" y="4385243"/>
                </a:moveTo>
                <a:lnTo>
                  <a:pt x="119216" y="4390159"/>
                </a:lnTo>
                <a:lnTo>
                  <a:pt x="129048" y="4538871"/>
                </a:lnTo>
                <a:lnTo>
                  <a:pt x="188042" y="4533955"/>
                </a:lnTo>
                <a:lnTo>
                  <a:pt x="178209" y="4385243"/>
                </a:lnTo>
                <a:close/>
                <a:moveTo>
                  <a:pt x="296197" y="4385243"/>
                </a:moveTo>
                <a:lnTo>
                  <a:pt x="239661" y="4395075"/>
                </a:lnTo>
                <a:lnTo>
                  <a:pt x="259326" y="4538871"/>
                </a:lnTo>
                <a:lnTo>
                  <a:pt x="315861" y="4529039"/>
                </a:lnTo>
                <a:lnTo>
                  <a:pt x="296197" y="4385243"/>
                </a:lnTo>
                <a:close/>
                <a:moveTo>
                  <a:pt x="415413" y="4385243"/>
                </a:moveTo>
                <a:lnTo>
                  <a:pt x="360106" y="4399991"/>
                </a:lnTo>
                <a:lnTo>
                  <a:pt x="389603" y="4538871"/>
                </a:lnTo>
                <a:lnTo>
                  <a:pt x="444910" y="4524123"/>
                </a:lnTo>
                <a:lnTo>
                  <a:pt x="415413" y="4385243"/>
                </a:lnTo>
                <a:close/>
                <a:moveTo>
                  <a:pt x="532171" y="4385243"/>
                </a:moveTo>
                <a:lnTo>
                  <a:pt x="479323" y="4404907"/>
                </a:lnTo>
                <a:lnTo>
                  <a:pt x="518652" y="4538871"/>
                </a:lnTo>
                <a:lnTo>
                  <a:pt x="571500" y="4519207"/>
                </a:lnTo>
                <a:lnTo>
                  <a:pt x="532171" y="4385243"/>
                </a:lnTo>
                <a:close/>
                <a:moveTo>
                  <a:pt x="651388" y="4578200"/>
                </a:moveTo>
                <a:lnTo>
                  <a:pt x="599769" y="4602781"/>
                </a:lnTo>
                <a:lnTo>
                  <a:pt x="648930" y="4731830"/>
                </a:lnTo>
                <a:lnTo>
                  <a:pt x="699320" y="4706020"/>
                </a:lnTo>
                <a:lnTo>
                  <a:pt x="651388" y="4578200"/>
                </a:lnTo>
                <a:close/>
                <a:moveTo>
                  <a:pt x="769375" y="4579430"/>
                </a:moveTo>
                <a:lnTo>
                  <a:pt x="720214" y="4607697"/>
                </a:lnTo>
                <a:lnTo>
                  <a:pt x="777978" y="4731830"/>
                </a:lnTo>
                <a:lnTo>
                  <a:pt x="827139" y="4702333"/>
                </a:lnTo>
                <a:lnTo>
                  <a:pt x="769375" y="4579430"/>
                </a:lnTo>
                <a:close/>
                <a:moveTo>
                  <a:pt x="887362" y="4579430"/>
                </a:moveTo>
                <a:lnTo>
                  <a:pt x="840659" y="4613843"/>
                </a:lnTo>
                <a:lnTo>
                  <a:pt x="908255" y="4733059"/>
                </a:lnTo>
                <a:lnTo>
                  <a:pt x="954959" y="4697417"/>
                </a:lnTo>
                <a:lnTo>
                  <a:pt x="887362" y="4579430"/>
                </a:lnTo>
                <a:close/>
                <a:moveTo>
                  <a:pt x="1005350" y="4579430"/>
                </a:moveTo>
                <a:lnTo>
                  <a:pt x="959875" y="4618759"/>
                </a:lnTo>
                <a:lnTo>
                  <a:pt x="1037304" y="4731830"/>
                </a:lnTo>
                <a:lnTo>
                  <a:pt x="1082778" y="4692501"/>
                </a:lnTo>
                <a:lnTo>
                  <a:pt x="1005350" y="4579430"/>
                </a:lnTo>
                <a:close/>
                <a:moveTo>
                  <a:pt x="1123337" y="4579430"/>
                </a:moveTo>
                <a:lnTo>
                  <a:pt x="1080320" y="4623675"/>
                </a:lnTo>
                <a:lnTo>
                  <a:pt x="1167582" y="4733059"/>
                </a:lnTo>
                <a:lnTo>
                  <a:pt x="1210598" y="4688813"/>
                </a:lnTo>
                <a:lnTo>
                  <a:pt x="1123337" y="4579430"/>
                </a:lnTo>
                <a:close/>
                <a:moveTo>
                  <a:pt x="1240094" y="4579430"/>
                </a:moveTo>
                <a:lnTo>
                  <a:pt x="1199537" y="4628591"/>
                </a:lnTo>
                <a:lnTo>
                  <a:pt x="1296630" y="4733059"/>
                </a:lnTo>
                <a:lnTo>
                  <a:pt x="1338417" y="4683897"/>
                </a:lnTo>
                <a:lnTo>
                  <a:pt x="1240094" y="4579430"/>
                </a:lnTo>
                <a:close/>
                <a:moveTo>
                  <a:pt x="1359311" y="4579430"/>
                </a:moveTo>
                <a:lnTo>
                  <a:pt x="1319982" y="4633507"/>
                </a:lnTo>
                <a:lnTo>
                  <a:pt x="1426908" y="4731830"/>
                </a:lnTo>
                <a:lnTo>
                  <a:pt x="1466237" y="4677753"/>
                </a:lnTo>
                <a:lnTo>
                  <a:pt x="1359311" y="4579430"/>
                </a:lnTo>
                <a:close/>
                <a:moveTo>
                  <a:pt x="178209" y="4579430"/>
                </a:moveTo>
                <a:lnTo>
                  <a:pt x="119216" y="4584346"/>
                </a:lnTo>
                <a:lnTo>
                  <a:pt x="129048" y="4733059"/>
                </a:lnTo>
                <a:lnTo>
                  <a:pt x="188042" y="4728142"/>
                </a:lnTo>
                <a:lnTo>
                  <a:pt x="178209" y="4579430"/>
                </a:lnTo>
                <a:close/>
                <a:moveTo>
                  <a:pt x="296197" y="4579430"/>
                </a:moveTo>
                <a:lnTo>
                  <a:pt x="239661" y="4589262"/>
                </a:lnTo>
                <a:lnTo>
                  <a:pt x="259326" y="4733059"/>
                </a:lnTo>
                <a:lnTo>
                  <a:pt x="315861" y="4723226"/>
                </a:lnTo>
                <a:lnTo>
                  <a:pt x="296197" y="4579430"/>
                </a:lnTo>
                <a:close/>
                <a:moveTo>
                  <a:pt x="415413" y="4579430"/>
                </a:moveTo>
                <a:lnTo>
                  <a:pt x="360106" y="4594178"/>
                </a:lnTo>
                <a:lnTo>
                  <a:pt x="389603" y="4733059"/>
                </a:lnTo>
                <a:lnTo>
                  <a:pt x="444910" y="4718310"/>
                </a:lnTo>
                <a:lnTo>
                  <a:pt x="415413" y="4579430"/>
                </a:lnTo>
                <a:close/>
                <a:moveTo>
                  <a:pt x="532171" y="4580658"/>
                </a:moveTo>
                <a:lnTo>
                  <a:pt x="479323" y="4600323"/>
                </a:lnTo>
                <a:lnTo>
                  <a:pt x="518652" y="4733059"/>
                </a:lnTo>
                <a:lnTo>
                  <a:pt x="571500" y="4714624"/>
                </a:lnTo>
                <a:lnTo>
                  <a:pt x="532171" y="4580658"/>
                </a:lnTo>
                <a:close/>
                <a:moveTo>
                  <a:pt x="415413" y="4772388"/>
                </a:moveTo>
                <a:lnTo>
                  <a:pt x="360106" y="4788366"/>
                </a:lnTo>
                <a:lnTo>
                  <a:pt x="389603" y="4927246"/>
                </a:lnTo>
                <a:lnTo>
                  <a:pt x="444910" y="4911269"/>
                </a:lnTo>
                <a:lnTo>
                  <a:pt x="415413" y="4772388"/>
                </a:lnTo>
                <a:close/>
                <a:moveTo>
                  <a:pt x="532171" y="4773617"/>
                </a:moveTo>
                <a:lnTo>
                  <a:pt x="479323" y="4794510"/>
                </a:lnTo>
                <a:lnTo>
                  <a:pt x="518652" y="4927246"/>
                </a:lnTo>
                <a:lnTo>
                  <a:pt x="571500" y="4907581"/>
                </a:lnTo>
                <a:lnTo>
                  <a:pt x="532171" y="4773617"/>
                </a:lnTo>
                <a:close/>
                <a:moveTo>
                  <a:pt x="651388" y="4773617"/>
                </a:moveTo>
                <a:lnTo>
                  <a:pt x="599769" y="4798198"/>
                </a:lnTo>
                <a:lnTo>
                  <a:pt x="648930" y="4927246"/>
                </a:lnTo>
                <a:lnTo>
                  <a:pt x="699320" y="4902665"/>
                </a:lnTo>
                <a:lnTo>
                  <a:pt x="651388" y="4773617"/>
                </a:lnTo>
                <a:close/>
                <a:moveTo>
                  <a:pt x="769375" y="4773617"/>
                </a:moveTo>
                <a:lnTo>
                  <a:pt x="721442" y="4803114"/>
                </a:lnTo>
                <a:lnTo>
                  <a:pt x="779207" y="4927246"/>
                </a:lnTo>
                <a:lnTo>
                  <a:pt x="828369" y="4897749"/>
                </a:lnTo>
                <a:lnTo>
                  <a:pt x="769375" y="4773617"/>
                </a:lnTo>
                <a:close/>
                <a:moveTo>
                  <a:pt x="887362" y="4773617"/>
                </a:moveTo>
                <a:lnTo>
                  <a:pt x="840659" y="4808030"/>
                </a:lnTo>
                <a:lnTo>
                  <a:pt x="908255" y="4927246"/>
                </a:lnTo>
                <a:lnTo>
                  <a:pt x="954959" y="4892833"/>
                </a:lnTo>
                <a:lnTo>
                  <a:pt x="887362" y="4773617"/>
                </a:lnTo>
                <a:close/>
                <a:moveTo>
                  <a:pt x="1005350" y="4773617"/>
                </a:moveTo>
                <a:lnTo>
                  <a:pt x="959875" y="4812946"/>
                </a:lnTo>
                <a:lnTo>
                  <a:pt x="1037304" y="4926017"/>
                </a:lnTo>
                <a:lnTo>
                  <a:pt x="1082778" y="4886688"/>
                </a:lnTo>
                <a:lnTo>
                  <a:pt x="1005350" y="4773617"/>
                </a:lnTo>
                <a:close/>
                <a:moveTo>
                  <a:pt x="1123337" y="4773617"/>
                </a:moveTo>
                <a:lnTo>
                  <a:pt x="1080320" y="4817863"/>
                </a:lnTo>
                <a:lnTo>
                  <a:pt x="1167582" y="4927246"/>
                </a:lnTo>
                <a:lnTo>
                  <a:pt x="1210598" y="4883001"/>
                </a:lnTo>
                <a:lnTo>
                  <a:pt x="1123337" y="4773617"/>
                </a:lnTo>
                <a:close/>
                <a:moveTo>
                  <a:pt x="1240094" y="4773617"/>
                </a:moveTo>
                <a:lnTo>
                  <a:pt x="1199537" y="4822779"/>
                </a:lnTo>
                <a:lnTo>
                  <a:pt x="1296630" y="4927246"/>
                </a:lnTo>
                <a:lnTo>
                  <a:pt x="1338417" y="4878085"/>
                </a:lnTo>
                <a:lnTo>
                  <a:pt x="1240094" y="4773617"/>
                </a:lnTo>
                <a:close/>
                <a:moveTo>
                  <a:pt x="1359311" y="4773617"/>
                </a:moveTo>
                <a:lnTo>
                  <a:pt x="1319982" y="4827695"/>
                </a:lnTo>
                <a:lnTo>
                  <a:pt x="1426908" y="4926017"/>
                </a:lnTo>
                <a:lnTo>
                  <a:pt x="1466237" y="4873168"/>
                </a:lnTo>
                <a:lnTo>
                  <a:pt x="1359311" y="4773617"/>
                </a:lnTo>
                <a:close/>
                <a:moveTo>
                  <a:pt x="178209" y="4773617"/>
                </a:moveTo>
                <a:lnTo>
                  <a:pt x="119216" y="4778533"/>
                </a:lnTo>
                <a:lnTo>
                  <a:pt x="129048" y="4927246"/>
                </a:lnTo>
                <a:lnTo>
                  <a:pt x="188042" y="4922330"/>
                </a:lnTo>
                <a:lnTo>
                  <a:pt x="178209" y="4773617"/>
                </a:lnTo>
                <a:close/>
                <a:moveTo>
                  <a:pt x="296197" y="4773617"/>
                </a:moveTo>
                <a:lnTo>
                  <a:pt x="239661" y="4783450"/>
                </a:lnTo>
                <a:lnTo>
                  <a:pt x="259326" y="4927246"/>
                </a:lnTo>
                <a:lnTo>
                  <a:pt x="315861" y="4917414"/>
                </a:lnTo>
                <a:lnTo>
                  <a:pt x="296197" y="4773617"/>
                </a:lnTo>
                <a:close/>
                <a:moveTo>
                  <a:pt x="178209" y="4967805"/>
                </a:moveTo>
                <a:lnTo>
                  <a:pt x="119216" y="4972721"/>
                </a:lnTo>
                <a:lnTo>
                  <a:pt x="129048" y="5121433"/>
                </a:lnTo>
                <a:lnTo>
                  <a:pt x="188042" y="5116517"/>
                </a:lnTo>
                <a:lnTo>
                  <a:pt x="178209" y="4967805"/>
                </a:lnTo>
                <a:close/>
                <a:moveTo>
                  <a:pt x="296197" y="4967805"/>
                </a:moveTo>
                <a:lnTo>
                  <a:pt x="239661" y="4977637"/>
                </a:lnTo>
                <a:lnTo>
                  <a:pt x="259326" y="5121433"/>
                </a:lnTo>
                <a:lnTo>
                  <a:pt x="315861" y="5111601"/>
                </a:lnTo>
                <a:lnTo>
                  <a:pt x="296197" y="4967805"/>
                </a:lnTo>
                <a:close/>
                <a:moveTo>
                  <a:pt x="651388" y="4967805"/>
                </a:moveTo>
                <a:lnTo>
                  <a:pt x="599769" y="4992385"/>
                </a:lnTo>
                <a:lnTo>
                  <a:pt x="648930" y="5121433"/>
                </a:lnTo>
                <a:lnTo>
                  <a:pt x="699320" y="5095624"/>
                </a:lnTo>
                <a:lnTo>
                  <a:pt x="651388" y="4967805"/>
                </a:lnTo>
                <a:close/>
                <a:moveTo>
                  <a:pt x="769375" y="4967805"/>
                </a:moveTo>
                <a:lnTo>
                  <a:pt x="720214" y="4998530"/>
                </a:lnTo>
                <a:lnTo>
                  <a:pt x="777978" y="5121433"/>
                </a:lnTo>
                <a:lnTo>
                  <a:pt x="827139" y="5091936"/>
                </a:lnTo>
                <a:lnTo>
                  <a:pt x="769375" y="4967805"/>
                </a:lnTo>
                <a:close/>
                <a:moveTo>
                  <a:pt x="887362" y="4967805"/>
                </a:moveTo>
                <a:lnTo>
                  <a:pt x="840659" y="5002218"/>
                </a:lnTo>
                <a:lnTo>
                  <a:pt x="908255" y="5121433"/>
                </a:lnTo>
                <a:lnTo>
                  <a:pt x="954959" y="5087020"/>
                </a:lnTo>
                <a:lnTo>
                  <a:pt x="887362" y="4967805"/>
                </a:lnTo>
                <a:close/>
                <a:moveTo>
                  <a:pt x="1005350" y="4967805"/>
                </a:moveTo>
                <a:lnTo>
                  <a:pt x="959875" y="5007134"/>
                </a:lnTo>
                <a:lnTo>
                  <a:pt x="1037304" y="5120205"/>
                </a:lnTo>
                <a:lnTo>
                  <a:pt x="1082778" y="5080876"/>
                </a:lnTo>
                <a:lnTo>
                  <a:pt x="1005350" y="4967805"/>
                </a:lnTo>
                <a:close/>
                <a:moveTo>
                  <a:pt x="1123337" y="4969033"/>
                </a:moveTo>
                <a:lnTo>
                  <a:pt x="1080320" y="5013278"/>
                </a:lnTo>
                <a:lnTo>
                  <a:pt x="1167582" y="5121433"/>
                </a:lnTo>
                <a:lnTo>
                  <a:pt x="1210598" y="5077188"/>
                </a:lnTo>
                <a:lnTo>
                  <a:pt x="1123337" y="4969033"/>
                </a:lnTo>
                <a:close/>
                <a:moveTo>
                  <a:pt x="1241324" y="4969033"/>
                </a:moveTo>
                <a:lnTo>
                  <a:pt x="1200765" y="5018194"/>
                </a:lnTo>
                <a:lnTo>
                  <a:pt x="1297860" y="5121433"/>
                </a:lnTo>
                <a:lnTo>
                  <a:pt x="1338417" y="5072272"/>
                </a:lnTo>
                <a:lnTo>
                  <a:pt x="1241324" y="4969033"/>
                </a:lnTo>
                <a:close/>
                <a:moveTo>
                  <a:pt x="1359311" y="4969033"/>
                </a:moveTo>
                <a:lnTo>
                  <a:pt x="1319982" y="5023110"/>
                </a:lnTo>
                <a:lnTo>
                  <a:pt x="1426908" y="5121433"/>
                </a:lnTo>
                <a:lnTo>
                  <a:pt x="1466237" y="5067356"/>
                </a:lnTo>
                <a:lnTo>
                  <a:pt x="1359311" y="4969033"/>
                </a:lnTo>
                <a:close/>
                <a:moveTo>
                  <a:pt x="415413" y="4969033"/>
                </a:moveTo>
                <a:lnTo>
                  <a:pt x="360106" y="4983781"/>
                </a:lnTo>
                <a:lnTo>
                  <a:pt x="389603" y="5122663"/>
                </a:lnTo>
                <a:lnTo>
                  <a:pt x="444910" y="5107914"/>
                </a:lnTo>
                <a:lnTo>
                  <a:pt x="415413" y="4969033"/>
                </a:lnTo>
                <a:close/>
                <a:moveTo>
                  <a:pt x="532171" y="4969033"/>
                </a:moveTo>
                <a:lnTo>
                  <a:pt x="479323" y="4988698"/>
                </a:lnTo>
                <a:lnTo>
                  <a:pt x="518652" y="5122663"/>
                </a:lnTo>
                <a:lnTo>
                  <a:pt x="571500" y="5102998"/>
                </a:lnTo>
                <a:lnTo>
                  <a:pt x="532171" y="4969033"/>
                </a:lnTo>
                <a:close/>
                <a:moveTo>
                  <a:pt x="178209" y="5161992"/>
                </a:moveTo>
                <a:lnTo>
                  <a:pt x="119216" y="5166908"/>
                </a:lnTo>
                <a:lnTo>
                  <a:pt x="129048" y="5315620"/>
                </a:lnTo>
                <a:lnTo>
                  <a:pt x="188042" y="5310704"/>
                </a:lnTo>
                <a:lnTo>
                  <a:pt x="178209" y="5161992"/>
                </a:lnTo>
                <a:close/>
                <a:moveTo>
                  <a:pt x="296197" y="5161992"/>
                </a:moveTo>
                <a:lnTo>
                  <a:pt x="239661" y="5171824"/>
                </a:lnTo>
                <a:lnTo>
                  <a:pt x="259326" y="5315620"/>
                </a:lnTo>
                <a:lnTo>
                  <a:pt x="315861" y="5305788"/>
                </a:lnTo>
                <a:lnTo>
                  <a:pt x="296197" y="5161992"/>
                </a:lnTo>
                <a:close/>
                <a:moveTo>
                  <a:pt x="651388" y="5161992"/>
                </a:moveTo>
                <a:lnTo>
                  <a:pt x="599769" y="5186573"/>
                </a:lnTo>
                <a:lnTo>
                  <a:pt x="648930" y="5315620"/>
                </a:lnTo>
                <a:lnTo>
                  <a:pt x="699320" y="5291040"/>
                </a:lnTo>
                <a:lnTo>
                  <a:pt x="651388" y="5161992"/>
                </a:lnTo>
                <a:close/>
                <a:moveTo>
                  <a:pt x="769375" y="5161992"/>
                </a:moveTo>
                <a:lnTo>
                  <a:pt x="720214" y="5192717"/>
                </a:lnTo>
                <a:lnTo>
                  <a:pt x="777978" y="5315620"/>
                </a:lnTo>
                <a:lnTo>
                  <a:pt x="827139" y="5286124"/>
                </a:lnTo>
                <a:lnTo>
                  <a:pt x="769375" y="5161992"/>
                </a:lnTo>
                <a:close/>
                <a:moveTo>
                  <a:pt x="1359311" y="5161992"/>
                </a:moveTo>
                <a:lnTo>
                  <a:pt x="1319982" y="5217298"/>
                </a:lnTo>
                <a:lnTo>
                  <a:pt x="1426908" y="5314392"/>
                </a:lnTo>
                <a:lnTo>
                  <a:pt x="1466237" y="5260315"/>
                </a:lnTo>
                <a:lnTo>
                  <a:pt x="1359311" y="5161992"/>
                </a:lnTo>
                <a:close/>
                <a:moveTo>
                  <a:pt x="1476069" y="5163220"/>
                </a:moveTo>
                <a:lnTo>
                  <a:pt x="1439198" y="5222214"/>
                </a:lnTo>
                <a:lnTo>
                  <a:pt x="1555957" y="5315620"/>
                </a:lnTo>
                <a:lnTo>
                  <a:pt x="1592828" y="5256627"/>
                </a:lnTo>
                <a:lnTo>
                  <a:pt x="1476069" y="5163220"/>
                </a:lnTo>
                <a:close/>
                <a:moveTo>
                  <a:pt x="887362" y="5163220"/>
                </a:moveTo>
                <a:lnTo>
                  <a:pt x="840659" y="5197633"/>
                </a:lnTo>
                <a:lnTo>
                  <a:pt x="908255" y="5315620"/>
                </a:lnTo>
                <a:lnTo>
                  <a:pt x="954959" y="5282437"/>
                </a:lnTo>
                <a:lnTo>
                  <a:pt x="887362" y="5163220"/>
                </a:lnTo>
                <a:close/>
                <a:moveTo>
                  <a:pt x="1005350" y="5163220"/>
                </a:moveTo>
                <a:lnTo>
                  <a:pt x="959875" y="5202549"/>
                </a:lnTo>
                <a:lnTo>
                  <a:pt x="1037304" y="5315620"/>
                </a:lnTo>
                <a:lnTo>
                  <a:pt x="1082778" y="5276291"/>
                </a:lnTo>
                <a:lnTo>
                  <a:pt x="1005350" y="5163220"/>
                </a:lnTo>
                <a:close/>
                <a:moveTo>
                  <a:pt x="1123337" y="5163220"/>
                </a:moveTo>
                <a:lnTo>
                  <a:pt x="1080320" y="5207466"/>
                </a:lnTo>
                <a:lnTo>
                  <a:pt x="1167582" y="5315620"/>
                </a:lnTo>
                <a:lnTo>
                  <a:pt x="1210598" y="5271375"/>
                </a:lnTo>
                <a:lnTo>
                  <a:pt x="1123337" y="5163220"/>
                </a:lnTo>
                <a:close/>
                <a:moveTo>
                  <a:pt x="1242552" y="5163220"/>
                </a:moveTo>
                <a:lnTo>
                  <a:pt x="1200765" y="5212382"/>
                </a:lnTo>
                <a:lnTo>
                  <a:pt x="1297860" y="5315620"/>
                </a:lnTo>
                <a:lnTo>
                  <a:pt x="1338417" y="5266459"/>
                </a:lnTo>
                <a:lnTo>
                  <a:pt x="1242552" y="5163220"/>
                </a:lnTo>
                <a:close/>
                <a:moveTo>
                  <a:pt x="415413" y="5163220"/>
                </a:moveTo>
                <a:lnTo>
                  <a:pt x="360106" y="5177969"/>
                </a:lnTo>
                <a:lnTo>
                  <a:pt x="389603" y="5316850"/>
                </a:lnTo>
                <a:lnTo>
                  <a:pt x="444910" y="5302102"/>
                </a:lnTo>
                <a:lnTo>
                  <a:pt x="415413" y="5163220"/>
                </a:lnTo>
                <a:close/>
                <a:moveTo>
                  <a:pt x="532171" y="5163220"/>
                </a:moveTo>
                <a:lnTo>
                  <a:pt x="479323" y="5182885"/>
                </a:lnTo>
                <a:lnTo>
                  <a:pt x="518652" y="5315620"/>
                </a:lnTo>
                <a:lnTo>
                  <a:pt x="571500" y="5297186"/>
                </a:lnTo>
                <a:lnTo>
                  <a:pt x="532171" y="5163220"/>
                </a:lnTo>
                <a:close/>
                <a:moveTo>
                  <a:pt x="178209" y="5350033"/>
                </a:moveTo>
                <a:lnTo>
                  <a:pt x="119216" y="5354950"/>
                </a:lnTo>
                <a:lnTo>
                  <a:pt x="129048" y="5503663"/>
                </a:lnTo>
                <a:lnTo>
                  <a:pt x="188042" y="5498747"/>
                </a:lnTo>
                <a:lnTo>
                  <a:pt x="178209" y="5350033"/>
                </a:lnTo>
                <a:close/>
                <a:moveTo>
                  <a:pt x="296197" y="5350033"/>
                </a:moveTo>
                <a:lnTo>
                  <a:pt x="239661" y="5359867"/>
                </a:lnTo>
                <a:lnTo>
                  <a:pt x="259326" y="5503663"/>
                </a:lnTo>
                <a:lnTo>
                  <a:pt x="315861" y="5493831"/>
                </a:lnTo>
                <a:lnTo>
                  <a:pt x="296197" y="5350033"/>
                </a:lnTo>
                <a:close/>
                <a:moveTo>
                  <a:pt x="415413" y="5350033"/>
                </a:moveTo>
                <a:lnTo>
                  <a:pt x="360106" y="5364783"/>
                </a:lnTo>
                <a:lnTo>
                  <a:pt x="389603" y="5503663"/>
                </a:lnTo>
                <a:lnTo>
                  <a:pt x="444910" y="5488915"/>
                </a:lnTo>
                <a:lnTo>
                  <a:pt x="415413" y="5350033"/>
                </a:lnTo>
                <a:close/>
                <a:moveTo>
                  <a:pt x="532171" y="5350033"/>
                </a:moveTo>
                <a:lnTo>
                  <a:pt x="479323" y="5369698"/>
                </a:lnTo>
                <a:lnTo>
                  <a:pt x="518652" y="5503663"/>
                </a:lnTo>
                <a:lnTo>
                  <a:pt x="571500" y="5483999"/>
                </a:lnTo>
                <a:lnTo>
                  <a:pt x="532171" y="5350033"/>
                </a:lnTo>
                <a:close/>
                <a:moveTo>
                  <a:pt x="651388" y="5350033"/>
                </a:moveTo>
                <a:lnTo>
                  <a:pt x="599769" y="5374614"/>
                </a:lnTo>
                <a:lnTo>
                  <a:pt x="648930" y="5503663"/>
                </a:lnTo>
                <a:lnTo>
                  <a:pt x="699320" y="5479083"/>
                </a:lnTo>
                <a:lnTo>
                  <a:pt x="651388" y="5350033"/>
                </a:lnTo>
                <a:close/>
                <a:moveTo>
                  <a:pt x="769375" y="5350033"/>
                </a:moveTo>
                <a:lnTo>
                  <a:pt x="720214" y="5378302"/>
                </a:lnTo>
                <a:lnTo>
                  <a:pt x="777978" y="5502434"/>
                </a:lnTo>
                <a:lnTo>
                  <a:pt x="827139" y="5472937"/>
                </a:lnTo>
                <a:lnTo>
                  <a:pt x="769375" y="5350033"/>
                </a:lnTo>
                <a:close/>
                <a:moveTo>
                  <a:pt x="887362" y="5350033"/>
                </a:moveTo>
                <a:lnTo>
                  <a:pt x="840659" y="5384448"/>
                </a:lnTo>
                <a:lnTo>
                  <a:pt x="908255" y="5503663"/>
                </a:lnTo>
                <a:lnTo>
                  <a:pt x="954959" y="5469250"/>
                </a:lnTo>
                <a:lnTo>
                  <a:pt x="887362" y="5350033"/>
                </a:lnTo>
                <a:close/>
                <a:moveTo>
                  <a:pt x="1005350" y="5350033"/>
                </a:moveTo>
                <a:lnTo>
                  <a:pt x="959875" y="5388134"/>
                </a:lnTo>
                <a:lnTo>
                  <a:pt x="1037304" y="5502434"/>
                </a:lnTo>
                <a:lnTo>
                  <a:pt x="1082778" y="5463106"/>
                </a:lnTo>
                <a:lnTo>
                  <a:pt x="1005350" y="5350033"/>
                </a:lnTo>
                <a:close/>
                <a:moveTo>
                  <a:pt x="1123337" y="5350033"/>
                </a:moveTo>
                <a:lnTo>
                  <a:pt x="1080320" y="5394279"/>
                </a:lnTo>
                <a:lnTo>
                  <a:pt x="1167582" y="5503663"/>
                </a:lnTo>
                <a:lnTo>
                  <a:pt x="1210598" y="5459418"/>
                </a:lnTo>
                <a:lnTo>
                  <a:pt x="1123337" y="5350033"/>
                </a:lnTo>
                <a:close/>
                <a:moveTo>
                  <a:pt x="1242552" y="5350033"/>
                </a:moveTo>
                <a:lnTo>
                  <a:pt x="1200765" y="5399195"/>
                </a:lnTo>
                <a:lnTo>
                  <a:pt x="1297860" y="5503663"/>
                </a:lnTo>
                <a:lnTo>
                  <a:pt x="1338417" y="5454502"/>
                </a:lnTo>
                <a:lnTo>
                  <a:pt x="1242552" y="5350033"/>
                </a:lnTo>
                <a:close/>
                <a:moveTo>
                  <a:pt x="1359311" y="5350033"/>
                </a:moveTo>
                <a:lnTo>
                  <a:pt x="1319982" y="5404111"/>
                </a:lnTo>
                <a:lnTo>
                  <a:pt x="1426908" y="5502434"/>
                </a:lnTo>
                <a:lnTo>
                  <a:pt x="1466237" y="5448356"/>
                </a:lnTo>
                <a:lnTo>
                  <a:pt x="1359311" y="5350033"/>
                </a:lnTo>
                <a:close/>
                <a:moveTo>
                  <a:pt x="1476069" y="5350033"/>
                </a:moveTo>
                <a:lnTo>
                  <a:pt x="1439198" y="5409028"/>
                </a:lnTo>
                <a:lnTo>
                  <a:pt x="1555957" y="5503663"/>
                </a:lnTo>
                <a:lnTo>
                  <a:pt x="1592828" y="5444670"/>
                </a:lnTo>
                <a:lnTo>
                  <a:pt x="1476069" y="5350033"/>
                </a:lnTo>
                <a:close/>
                <a:moveTo>
                  <a:pt x="178209" y="5541763"/>
                </a:moveTo>
                <a:lnTo>
                  <a:pt x="119216" y="5546679"/>
                </a:lnTo>
                <a:lnTo>
                  <a:pt x="129048" y="5695392"/>
                </a:lnTo>
                <a:lnTo>
                  <a:pt x="188042" y="5690476"/>
                </a:lnTo>
                <a:lnTo>
                  <a:pt x="178209" y="5541763"/>
                </a:lnTo>
                <a:close/>
                <a:moveTo>
                  <a:pt x="296197" y="5541763"/>
                </a:moveTo>
                <a:lnTo>
                  <a:pt x="239661" y="5551595"/>
                </a:lnTo>
                <a:lnTo>
                  <a:pt x="259326" y="5695392"/>
                </a:lnTo>
                <a:lnTo>
                  <a:pt x="315861" y="5685560"/>
                </a:lnTo>
                <a:lnTo>
                  <a:pt x="296197" y="5541763"/>
                </a:lnTo>
                <a:close/>
                <a:moveTo>
                  <a:pt x="651388" y="5541763"/>
                </a:moveTo>
                <a:lnTo>
                  <a:pt x="599769" y="5567573"/>
                </a:lnTo>
                <a:lnTo>
                  <a:pt x="648930" y="5695392"/>
                </a:lnTo>
                <a:lnTo>
                  <a:pt x="699320" y="5670812"/>
                </a:lnTo>
                <a:lnTo>
                  <a:pt x="651388" y="5541763"/>
                </a:lnTo>
                <a:close/>
                <a:moveTo>
                  <a:pt x="769375" y="5541763"/>
                </a:moveTo>
                <a:lnTo>
                  <a:pt x="720214" y="5572489"/>
                </a:lnTo>
                <a:lnTo>
                  <a:pt x="777978" y="5695392"/>
                </a:lnTo>
                <a:lnTo>
                  <a:pt x="827139" y="5665896"/>
                </a:lnTo>
                <a:lnTo>
                  <a:pt x="769375" y="5541763"/>
                </a:lnTo>
                <a:close/>
                <a:moveTo>
                  <a:pt x="887362" y="5541763"/>
                </a:moveTo>
                <a:lnTo>
                  <a:pt x="840659" y="5576176"/>
                </a:lnTo>
                <a:lnTo>
                  <a:pt x="908255" y="5695392"/>
                </a:lnTo>
                <a:lnTo>
                  <a:pt x="954959" y="5660980"/>
                </a:lnTo>
                <a:lnTo>
                  <a:pt x="887362" y="5541763"/>
                </a:lnTo>
                <a:close/>
                <a:moveTo>
                  <a:pt x="1005350" y="5541763"/>
                </a:moveTo>
                <a:lnTo>
                  <a:pt x="959875" y="5581093"/>
                </a:lnTo>
                <a:lnTo>
                  <a:pt x="1037304" y="5694163"/>
                </a:lnTo>
                <a:lnTo>
                  <a:pt x="1082778" y="5654835"/>
                </a:lnTo>
                <a:lnTo>
                  <a:pt x="1005350" y="5541763"/>
                </a:lnTo>
                <a:close/>
                <a:moveTo>
                  <a:pt x="1123337" y="5541763"/>
                </a:moveTo>
                <a:lnTo>
                  <a:pt x="1080320" y="5587238"/>
                </a:lnTo>
                <a:lnTo>
                  <a:pt x="1167582" y="5695392"/>
                </a:lnTo>
                <a:lnTo>
                  <a:pt x="1210598" y="5651147"/>
                </a:lnTo>
                <a:lnTo>
                  <a:pt x="1123337" y="5541763"/>
                </a:lnTo>
                <a:close/>
                <a:moveTo>
                  <a:pt x="1242552" y="5541763"/>
                </a:moveTo>
                <a:lnTo>
                  <a:pt x="1200765" y="5592154"/>
                </a:lnTo>
                <a:lnTo>
                  <a:pt x="1297860" y="5695392"/>
                </a:lnTo>
                <a:lnTo>
                  <a:pt x="1338417" y="5646231"/>
                </a:lnTo>
                <a:lnTo>
                  <a:pt x="1242552" y="5541763"/>
                </a:lnTo>
                <a:close/>
                <a:moveTo>
                  <a:pt x="1359311" y="5541763"/>
                </a:moveTo>
                <a:lnTo>
                  <a:pt x="1319982" y="5597070"/>
                </a:lnTo>
                <a:lnTo>
                  <a:pt x="1426908" y="5694163"/>
                </a:lnTo>
                <a:lnTo>
                  <a:pt x="1466237" y="5640085"/>
                </a:lnTo>
                <a:lnTo>
                  <a:pt x="1359311" y="5541763"/>
                </a:lnTo>
                <a:close/>
                <a:moveTo>
                  <a:pt x="1476069" y="5542992"/>
                </a:moveTo>
                <a:lnTo>
                  <a:pt x="1439198" y="5601986"/>
                </a:lnTo>
                <a:lnTo>
                  <a:pt x="1555957" y="5695392"/>
                </a:lnTo>
                <a:lnTo>
                  <a:pt x="1592828" y="5636399"/>
                </a:lnTo>
                <a:lnTo>
                  <a:pt x="1476069" y="5542992"/>
                </a:lnTo>
                <a:close/>
                <a:moveTo>
                  <a:pt x="415413" y="5542992"/>
                </a:moveTo>
                <a:lnTo>
                  <a:pt x="360106" y="5557741"/>
                </a:lnTo>
                <a:lnTo>
                  <a:pt x="389603" y="5695392"/>
                </a:lnTo>
                <a:lnTo>
                  <a:pt x="444910" y="5681872"/>
                </a:lnTo>
                <a:lnTo>
                  <a:pt x="415413" y="5542992"/>
                </a:lnTo>
                <a:close/>
                <a:moveTo>
                  <a:pt x="532171" y="5542992"/>
                </a:moveTo>
                <a:lnTo>
                  <a:pt x="479323" y="5562657"/>
                </a:lnTo>
                <a:lnTo>
                  <a:pt x="518652" y="5695392"/>
                </a:lnTo>
                <a:lnTo>
                  <a:pt x="571500" y="5676956"/>
                </a:lnTo>
                <a:lnTo>
                  <a:pt x="532171" y="5542992"/>
                </a:lnTo>
                <a:close/>
                <a:moveTo>
                  <a:pt x="415413" y="5733493"/>
                </a:moveTo>
                <a:lnTo>
                  <a:pt x="360106" y="5748240"/>
                </a:lnTo>
                <a:lnTo>
                  <a:pt x="389603" y="5887122"/>
                </a:lnTo>
                <a:lnTo>
                  <a:pt x="444910" y="5872373"/>
                </a:lnTo>
                <a:lnTo>
                  <a:pt x="415413" y="5733493"/>
                </a:lnTo>
                <a:close/>
                <a:moveTo>
                  <a:pt x="651388" y="5733493"/>
                </a:moveTo>
                <a:lnTo>
                  <a:pt x="599769" y="5758074"/>
                </a:lnTo>
                <a:lnTo>
                  <a:pt x="648930" y="5887122"/>
                </a:lnTo>
                <a:lnTo>
                  <a:pt x="699320" y="5862541"/>
                </a:lnTo>
                <a:lnTo>
                  <a:pt x="651388" y="5733493"/>
                </a:lnTo>
                <a:close/>
                <a:moveTo>
                  <a:pt x="1123337" y="5733493"/>
                </a:moveTo>
                <a:lnTo>
                  <a:pt x="1080320" y="5778967"/>
                </a:lnTo>
                <a:lnTo>
                  <a:pt x="1167582" y="5887122"/>
                </a:lnTo>
                <a:lnTo>
                  <a:pt x="1210598" y="5842877"/>
                </a:lnTo>
                <a:lnTo>
                  <a:pt x="1123337" y="5733493"/>
                </a:lnTo>
                <a:close/>
                <a:moveTo>
                  <a:pt x="1242552" y="5733493"/>
                </a:moveTo>
                <a:lnTo>
                  <a:pt x="1200765" y="5782655"/>
                </a:lnTo>
                <a:lnTo>
                  <a:pt x="1297860" y="5887122"/>
                </a:lnTo>
                <a:lnTo>
                  <a:pt x="1338417" y="5837960"/>
                </a:lnTo>
                <a:lnTo>
                  <a:pt x="1242552" y="5733493"/>
                </a:lnTo>
                <a:close/>
                <a:moveTo>
                  <a:pt x="1359311" y="5734722"/>
                </a:moveTo>
                <a:lnTo>
                  <a:pt x="1319982" y="5788799"/>
                </a:lnTo>
                <a:lnTo>
                  <a:pt x="1426908" y="5887122"/>
                </a:lnTo>
                <a:lnTo>
                  <a:pt x="1466237" y="5833044"/>
                </a:lnTo>
                <a:lnTo>
                  <a:pt x="1359311" y="5734722"/>
                </a:lnTo>
                <a:close/>
                <a:moveTo>
                  <a:pt x="769375" y="5734722"/>
                </a:moveTo>
                <a:lnTo>
                  <a:pt x="720214" y="5764218"/>
                </a:lnTo>
                <a:lnTo>
                  <a:pt x="777978" y="5888351"/>
                </a:lnTo>
                <a:lnTo>
                  <a:pt x="827139" y="5858853"/>
                </a:lnTo>
                <a:lnTo>
                  <a:pt x="769375" y="5734722"/>
                </a:lnTo>
                <a:close/>
                <a:moveTo>
                  <a:pt x="1005350" y="5734722"/>
                </a:moveTo>
                <a:lnTo>
                  <a:pt x="959875" y="5774051"/>
                </a:lnTo>
                <a:lnTo>
                  <a:pt x="1037304" y="5887122"/>
                </a:lnTo>
                <a:lnTo>
                  <a:pt x="1082778" y="5847793"/>
                </a:lnTo>
                <a:lnTo>
                  <a:pt x="1005350" y="5734722"/>
                </a:lnTo>
                <a:close/>
                <a:moveTo>
                  <a:pt x="887362" y="5735950"/>
                </a:moveTo>
                <a:lnTo>
                  <a:pt x="840659" y="5770364"/>
                </a:lnTo>
                <a:lnTo>
                  <a:pt x="908255" y="5888351"/>
                </a:lnTo>
                <a:lnTo>
                  <a:pt x="954959" y="5853937"/>
                </a:lnTo>
                <a:lnTo>
                  <a:pt x="887362" y="5735950"/>
                </a:lnTo>
                <a:close/>
                <a:moveTo>
                  <a:pt x="532171" y="5734722"/>
                </a:moveTo>
                <a:lnTo>
                  <a:pt x="479323" y="5754386"/>
                </a:lnTo>
                <a:lnTo>
                  <a:pt x="518652" y="5887122"/>
                </a:lnTo>
                <a:lnTo>
                  <a:pt x="571500" y="5868687"/>
                </a:lnTo>
                <a:lnTo>
                  <a:pt x="532171" y="5734722"/>
                </a:lnTo>
                <a:close/>
                <a:moveTo>
                  <a:pt x="178209" y="5734722"/>
                </a:moveTo>
                <a:lnTo>
                  <a:pt x="119216" y="5739638"/>
                </a:lnTo>
                <a:lnTo>
                  <a:pt x="129048" y="5888351"/>
                </a:lnTo>
                <a:lnTo>
                  <a:pt x="188042" y="5883434"/>
                </a:lnTo>
                <a:lnTo>
                  <a:pt x="178209" y="5734722"/>
                </a:lnTo>
                <a:close/>
                <a:moveTo>
                  <a:pt x="296197" y="5734722"/>
                </a:moveTo>
                <a:lnTo>
                  <a:pt x="239661" y="5744554"/>
                </a:lnTo>
                <a:lnTo>
                  <a:pt x="259326" y="5888351"/>
                </a:lnTo>
                <a:lnTo>
                  <a:pt x="315861" y="5878518"/>
                </a:lnTo>
                <a:lnTo>
                  <a:pt x="296197" y="5734722"/>
                </a:lnTo>
                <a:close/>
                <a:moveTo>
                  <a:pt x="887362" y="5925222"/>
                </a:moveTo>
                <a:lnTo>
                  <a:pt x="840659" y="5959634"/>
                </a:lnTo>
                <a:lnTo>
                  <a:pt x="908255" y="6078851"/>
                </a:lnTo>
                <a:lnTo>
                  <a:pt x="954959" y="6044438"/>
                </a:lnTo>
                <a:lnTo>
                  <a:pt x="887362" y="5925222"/>
                </a:lnTo>
                <a:close/>
                <a:moveTo>
                  <a:pt x="1359311" y="5925222"/>
                </a:moveTo>
                <a:lnTo>
                  <a:pt x="1319982" y="5980528"/>
                </a:lnTo>
                <a:lnTo>
                  <a:pt x="1426908" y="6077623"/>
                </a:lnTo>
                <a:lnTo>
                  <a:pt x="1466237" y="6023545"/>
                </a:lnTo>
                <a:lnTo>
                  <a:pt x="1359311" y="5925222"/>
                </a:lnTo>
                <a:close/>
                <a:moveTo>
                  <a:pt x="1005350" y="5926451"/>
                </a:moveTo>
                <a:lnTo>
                  <a:pt x="959875" y="5965780"/>
                </a:lnTo>
                <a:lnTo>
                  <a:pt x="1037304" y="6078851"/>
                </a:lnTo>
                <a:lnTo>
                  <a:pt x="1082778" y="6039522"/>
                </a:lnTo>
                <a:lnTo>
                  <a:pt x="1005350" y="5926451"/>
                </a:lnTo>
                <a:close/>
                <a:moveTo>
                  <a:pt x="1123337" y="5926451"/>
                </a:moveTo>
                <a:lnTo>
                  <a:pt x="1080320" y="5970696"/>
                </a:lnTo>
                <a:lnTo>
                  <a:pt x="1167582" y="6080079"/>
                </a:lnTo>
                <a:lnTo>
                  <a:pt x="1210598" y="6035835"/>
                </a:lnTo>
                <a:lnTo>
                  <a:pt x="1123337" y="5926451"/>
                </a:lnTo>
                <a:close/>
                <a:moveTo>
                  <a:pt x="1242552" y="5927679"/>
                </a:moveTo>
                <a:lnTo>
                  <a:pt x="1200765" y="5976841"/>
                </a:lnTo>
                <a:lnTo>
                  <a:pt x="1297860" y="6080079"/>
                </a:lnTo>
                <a:lnTo>
                  <a:pt x="1338417" y="6030918"/>
                </a:lnTo>
                <a:lnTo>
                  <a:pt x="1242552" y="5927679"/>
                </a:lnTo>
                <a:close/>
                <a:moveTo>
                  <a:pt x="178209" y="5926451"/>
                </a:moveTo>
                <a:lnTo>
                  <a:pt x="119216" y="5931367"/>
                </a:lnTo>
                <a:lnTo>
                  <a:pt x="129048" y="6080079"/>
                </a:lnTo>
                <a:lnTo>
                  <a:pt x="188042" y="6075163"/>
                </a:lnTo>
                <a:lnTo>
                  <a:pt x="178209" y="5926451"/>
                </a:lnTo>
                <a:close/>
                <a:moveTo>
                  <a:pt x="296197" y="5926451"/>
                </a:moveTo>
                <a:lnTo>
                  <a:pt x="239661" y="5936283"/>
                </a:lnTo>
                <a:lnTo>
                  <a:pt x="259326" y="6080079"/>
                </a:lnTo>
                <a:lnTo>
                  <a:pt x="315861" y="6070247"/>
                </a:lnTo>
                <a:lnTo>
                  <a:pt x="296197" y="5926451"/>
                </a:lnTo>
                <a:close/>
                <a:moveTo>
                  <a:pt x="415413" y="5926451"/>
                </a:moveTo>
                <a:lnTo>
                  <a:pt x="360106" y="5941199"/>
                </a:lnTo>
                <a:lnTo>
                  <a:pt x="389603" y="6080079"/>
                </a:lnTo>
                <a:lnTo>
                  <a:pt x="444910" y="6065332"/>
                </a:lnTo>
                <a:lnTo>
                  <a:pt x="415413" y="5926451"/>
                </a:lnTo>
                <a:close/>
                <a:moveTo>
                  <a:pt x="532171" y="5926451"/>
                </a:moveTo>
                <a:lnTo>
                  <a:pt x="479323" y="5946115"/>
                </a:lnTo>
                <a:lnTo>
                  <a:pt x="518652" y="6080079"/>
                </a:lnTo>
                <a:lnTo>
                  <a:pt x="571500" y="6060416"/>
                </a:lnTo>
                <a:lnTo>
                  <a:pt x="532171" y="5926451"/>
                </a:lnTo>
                <a:close/>
                <a:moveTo>
                  <a:pt x="651388" y="5926451"/>
                </a:moveTo>
                <a:lnTo>
                  <a:pt x="599769" y="5951031"/>
                </a:lnTo>
                <a:lnTo>
                  <a:pt x="648930" y="6080079"/>
                </a:lnTo>
                <a:lnTo>
                  <a:pt x="699320" y="6055499"/>
                </a:lnTo>
                <a:lnTo>
                  <a:pt x="651388" y="5926451"/>
                </a:lnTo>
                <a:close/>
                <a:moveTo>
                  <a:pt x="769375" y="5926451"/>
                </a:moveTo>
                <a:lnTo>
                  <a:pt x="720214" y="5957176"/>
                </a:lnTo>
                <a:lnTo>
                  <a:pt x="777978" y="6080079"/>
                </a:lnTo>
                <a:lnTo>
                  <a:pt x="827139" y="6050583"/>
                </a:lnTo>
                <a:lnTo>
                  <a:pt x="769375" y="5926451"/>
                </a:lnTo>
                <a:close/>
                <a:moveTo>
                  <a:pt x="178209" y="6115722"/>
                </a:moveTo>
                <a:lnTo>
                  <a:pt x="119216" y="6120638"/>
                </a:lnTo>
                <a:lnTo>
                  <a:pt x="129048" y="6269352"/>
                </a:lnTo>
                <a:lnTo>
                  <a:pt x="188042" y="6264434"/>
                </a:lnTo>
                <a:lnTo>
                  <a:pt x="178209" y="6115722"/>
                </a:lnTo>
                <a:close/>
                <a:moveTo>
                  <a:pt x="296197" y="6115722"/>
                </a:moveTo>
                <a:lnTo>
                  <a:pt x="239661" y="6125554"/>
                </a:lnTo>
                <a:lnTo>
                  <a:pt x="259326" y="6269352"/>
                </a:lnTo>
                <a:lnTo>
                  <a:pt x="315861" y="6259520"/>
                </a:lnTo>
                <a:lnTo>
                  <a:pt x="296197" y="6115722"/>
                </a:lnTo>
                <a:close/>
                <a:moveTo>
                  <a:pt x="415413" y="6115722"/>
                </a:moveTo>
                <a:lnTo>
                  <a:pt x="360106" y="6130470"/>
                </a:lnTo>
                <a:lnTo>
                  <a:pt x="389603" y="6269352"/>
                </a:lnTo>
                <a:lnTo>
                  <a:pt x="444910" y="6254602"/>
                </a:lnTo>
                <a:lnTo>
                  <a:pt x="415413" y="6115722"/>
                </a:lnTo>
                <a:close/>
                <a:moveTo>
                  <a:pt x="651388" y="6115722"/>
                </a:moveTo>
                <a:lnTo>
                  <a:pt x="599769" y="6140303"/>
                </a:lnTo>
                <a:lnTo>
                  <a:pt x="648930" y="6269352"/>
                </a:lnTo>
                <a:lnTo>
                  <a:pt x="699320" y="6244771"/>
                </a:lnTo>
                <a:lnTo>
                  <a:pt x="651388" y="6115722"/>
                </a:lnTo>
                <a:close/>
                <a:moveTo>
                  <a:pt x="887362" y="6115722"/>
                </a:moveTo>
                <a:lnTo>
                  <a:pt x="840659" y="6150135"/>
                </a:lnTo>
                <a:lnTo>
                  <a:pt x="908255" y="6269352"/>
                </a:lnTo>
                <a:lnTo>
                  <a:pt x="954959" y="6234938"/>
                </a:lnTo>
                <a:lnTo>
                  <a:pt x="887362" y="6115722"/>
                </a:lnTo>
                <a:close/>
                <a:moveTo>
                  <a:pt x="1123337" y="6115722"/>
                </a:moveTo>
                <a:lnTo>
                  <a:pt x="1080320" y="6159967"/>
                </a:lnTo>
                <a:lnTo>
                  <a:pt x="1167582" y="6269352"/>
                </a:lnTo>
                <a:lnTo>
                  <a:pt x="1210598" y="6225107"/>
                </a:lnTo>
                <a:lnTo>
                  <a:pt x="1123337" y="6115722"/>
                </a:lnTo>
                <a:close/>
                <a:moveTo>
                  <a:pt x="1242552" y="6115722"/>
                </a:moveTo>
                <a:lnTo>
                  <a:pt x="1200765" y="6164883"/>
                </a:lnTo>
                <a:lnTo>
                  <a:pt x="1297860" y="6269352"/>
                </a:lnTo>
                <a:lnTo>
                  <a:pt x="1338417" y="6220190"/>
                </a:lnTo>
                <a:lnTo>
                  <a:pt x="1242552" y="6115722"/>
                </a:lnTo>
                <a:close/>
                <a:moveTo>
                  <a:pt x="1476069" y="6115722"/>
                </a:moveTo>
                <a:lnTo>
                  <a:pt x="1439198" y="6174716"/>
                </a:lnTo>
                <a:lnTo>
                  <a:pt x="1555957" y="6269352"/>
                </a:lnTo>
                <a:lnTo>
                  <a:pt x="1592828" y="6210357"/>
                </a:lnTo>
                <a:lnTo>
                  <a:pt x="1476069" y="6115722"/>
                </a:lnTo>
                <a:close/>
                <a:moveTo>
                  <a:pt x="1359311" y="6116950"/>
                </a:moveTo>
                <a:lnTo>
                  <a:pt x="1319982" y="6171029"/>
                </a:lnTo>
                <a:lnTo>
                  <a:pt x="1426908" y="6269352"/>
                </a:lnTo>
                <a:lnTo>
                  <a:pt x="1466237" y="6215273"/>
                </a:lnTo>
                <a:lnTo>
                  <a:pt x="1359311" y="6116950"/>
                </a:lnTo>
                <a:close/>
                <a:moveTo>
                  <a:pt x="1005350" y="6116950"/>
                </a:moveTo>
                <a:lnTo>
                  <a:pt x="959875" y="6156279"/>
                </a:lnTo>
                <a:lnTo>
                  <a:pt x="1037304" y="6269352"/>
                </a:lnTo>
                <a:lnTo>
                  <a:pt x="1082778" y="6230021"/>
                </a:lnTo>
                <a:lnTo>
                  <a:pt x="1005350" y="6116950"/>
                </a:lnTo>
                <a:close/>
                <a:moveTo>
                  <a:pt x="769375" y="6116950"/>
                </a:moveTo>
                <a:lnTo>
                  <a:pt x="720214" y="6145219"/>
                </a:lnTo>
                <a:lnTo>
                  <a:pt x="777978" y="6269352"/>
                </a:lnTo>
                <a:lnTo>
                  <a:pt x="827139" y="6239854"/>
                </a:lnTo>
                <a:lnTo>
                  <a:pt x="769375" y="6116950"/>
                </a:lnTo>
                <a:close/>
                <a:moveTo>
                  <a:pt x="532171" y="6116950"/>
                </a:moveTo>
                <a:lnTo>
                  <a:pt x="479323" y="6136615"/>
                </a:lnTo>
                <a:lnTo>
                  <a:pt x="518652" y="6269352"/>
                </a:lnTo>
                <a:lnTo>
                  <a:pt x="571500" y="6250916"/>
                </a:lnTo>
                <a:lnTo>
                  <a:pt x="532171" y="6116950"/>
                </a:lnTo>
                <a:close/>
                <a:moveTo>
                  <a:pt x="1241324" y="6304993"/>
                </a:moveTo>
                <a:lnTo>
                  <a:pt x="1200765" y="6354154"/>
                </a:lnTo>
                <a:lnTo>
                  <a:pt x="1297860" y="6458622"/>
                </a:lnTo>
                <a:lnTo>
                  <a:pt x="1338417" y="6409460"/>
                </a:lnTo>
                <a:lnTo>
                  <a:pt x="1241324" y="6304993"/>
                </a:lnTo>
                <a:close/>
                <a:moveTo>
                  <a:pt x="1477299" y="6306223"/>
                </a:moveTo>
                <a:lnTo>
                  <a:pt x="1440428" y="6365215"/>
                </a:lnTo>
                <a:lnTo>
                  <a:pt x="1557185" y="6458622"/>
                </a:lnTo>
                <a:lnTo>
                  <a:pt x="1594056" y="6399628"/>
                </a:lnTo>
                <a:lnTo>
                  <a:pt x="1477299" y="6306223"/>
                </a:lnTo>
                <a:close/>
                <a:moveTo>
                  <a:pt x="1359311" y="6307451"/>
                </a:moveTo>
                <a:lnTo>
                  <a:pt x="1319982" y="6361529"/>
                </a:lnTo>
                <a:lnTo>
                  <a:pt x="1426908" y="6459851"/>
                </a:lnTo>
                <a:lnTo>
                  <a:pt x="1466237" y="6405774"/>
                </a:lnTo>
                <a:lnTo>
                  <a:pt x="1359311" y="6307451"/>
                </a:lnTo>
                <a:close/>
                <a:moveTo>
                  <a:pt x="178209" y="6306223"/>
                </a:moveTo>
                <a:lnTo>
                  <a:pt x="119216" y="6311138"/>
                </a:lnTo>
                <a:lnTo>
                  <a:pt x="129048" y="6459851"/>
                </a:lnTo>
                <a:lnTo>
                  <a:pt x="188042" y="6454935"/>
                </a:lnTo>
                <a:lnTo>
                  <a:pt x="178209" y="6306223"/>
                </a:lnTo>
                <a:close/>
                <a:moveTo>
                  <a:pt x="296197" y="6306223"/>
                </a:moveTo>
                <a:lnTo>
                  <a:pt x="239661" y="6316054"/>
                </a:lnTo>
                <a:lnTo>
                  <a:pt x="259326" y="6459851"/>
                </a:lnTo>
                <a:lnTo>
                  <a:pt x="315861" y="6450019"/>
                </a:lnTo>
                <a:lnTo>
                  <a:pt x="296197" y="6306223"/>
                </a:lnTo>
                <a:close/>
                <a:moveTo>
                  <a:pt x="415413" y="6306223"/>
                </a:moveTo>
                <a:lnTo>
                  <a:pt x="360106" y="6320971"/>
                </a:lnTo>
                <a:lnTo>
                  <a:pt x="389603" y="6459851"/>
                </a:lnTo>
                <a:lnTo>
                  <a:pt x="444910" y="6445103"/>
                </a:lnTo>
                <a:lnTo>
                  <a:pt x="415413" y="6306223"/>
                </a:lnTo>
                <a:close/>
                <a:moveTo>
                  <a:pt x="532171" y="6306223"/>
                </a:moveTo>
                <a:lnTo>
                  <a:pt x="479323" y="6325886"/>
                </a:lnTo>
                <a:lnTo>
                  <a:pt x="518652" y="6459851"/>
                </a:lnTo>
                <a:lnTo>
                  <a:pt x="571500" y="6440187"/>
                </a:lnTo>
                <a:lnTo>
                  <a:pt x="532171" y="6306223"/>
                </a:lnTo>
                <a:close/>
                <a:moveTo>
                  <a:pt x="651388" y="6306223"/>
                </a:moveTo>
                <a:lnTo>
                  <a:pt x="599769" y="6330803"/>
                </a:lnTo>
                <a:lnTo>
                  <a:pt x="648930" y="6459851"/>
                </a:lnTo>
                <a:lnTo>
                  <a:pt x="699320" y="6435271"/>
                </a:lnTo>
                <a:lnTo>
                  <a:pt x="651388" y="6306223"/>
                </a:lnTo>
                <a:close/>
                <a:moveTo>
                  <a:pt x="769375" y="6306223"/>
                </a:moveTo>
                <a:lnTo>
                  <a:pt x="720214" y="6335718"/>
                </a:lnTo>
                <a:lnTo>
                  <a:pt x="777978" y="6459851"/>
                </a:lnTo>
                <a:lnTo>
                  <a:pt x="827139" y="6430355"/>
                </a:lnTo>
                <a:lnTo>
                  <a:pt x="769375" y="6306223"/>
                </a:lnTo>
                <a:close/>
                <a:moveTo>
                  <a:pt x="887362" y="6306223"/>
                </a:moveTo>
                <a:lnTo>
                  <a:pt x="840659" y="6340634"/>
                </a:lnTo>
                <a:lnTo>
                  <a:pt x="908255" y="6459851"/>
                </a:lnTo>
                <a:lnTo>
                  <a:pt x="954959" y="6425438"/>
                </a:lnTo>
                <a:lnTo>
                  <a:pt x="887362" y="6306223"/>
                </a:lnTo>
                <a:close/>
                <a:moveTo>
                  <a:pt x="1005350" y="6307451"/>
                </a:moveTo>
                <a:lnTo>
                  <a:pt x="959875" y="6346780"/>
                </a:lnTo>
                <a:lnTo>
                  <a:pt x="1037304" y="6459851"/>
                </a:lnTo>
                <a:lnTo>
                  <a:pt x="1082778" y="6420522"/>
                </a:lnTo>
                <a:lnTo>
                  <a:pt x="1005350" y="6307451"/>
                </a:lnTo>
                <a:close/>
                <a:moveTo>
                  <a:pt x="1123337" y="6307451"/>
                </a:moveTo>
                <a:lnTo>
                  <a:pt x="1080320" y="6351696"/>
                </a:lnTo>
                <a:lnTo>
                  <a:pt x="1167582" y="6459851"/>
                </a:lnTo>
                <a:lnTo>
                  <a:pt x="1210598" y="6415606"/>
                </a:lnTo>
                <a:lnTo>
                  <a:pt x="1123337" y="6307451"/>
                </a:lnTo>
                <a:close/>
                <a:moveTo>
                  <a:pt x="178209" y="6500409"/>
                </a:moveTo>
                <a:lnTo>
                  <a:pt x="119216" y="6505326"/>
                </a:lnTo>
                <a:lnTo>
                  <a:pt x="129048" y="6654039"/>
                </a:lnTo>
                <a:lnTo>
                  <a:pt x="188042" y="6649123"/>
                </a:lnTo>
                <a:lnTo>
                  <a:pt x="178209" y="6500409"/>
                </a:lnTo>
                <a:close/>
                <a:moveTo>
                  <a:pt x="296197" y="6500409"/>
                </a:moveTo>
                <a:lnTo>
                  <a:pt x="240891" y="6510241"/>
                </a:lnTo>
                <a:lnTo>
                  <a:pt x="259326" y="6654039"/>
                </a:lnTo>
                <a:lnTo>
                  <a:pt x="315861" y="6644206"/>
                </a:lnTo>
                <a:lnTo>
                  <a:pt x="296197" y="6500409"/>
                </a:lnTo>
                <a:close/>
                <a:moveTo>
                  <a:pt x="415413" y="6500409"/>
                </a:moveTo>
                <a:lnTo>
                  <a:pt x="360106" y="6515159"/>
                </a:lnTo>
                <a:lnTo>
                  <a:pt x="389603" y="6654039"/>
                </a:lnTo>
                <a:lnTo>
                  <a:pt x="444910" y="6639290"/>
                </a:lnTo>
                <a:lnTo>
                  <a:pt x="415413" y="6500409"/>
                </a:lnTo>
                <a:close/>
                <a:moveTo>
                  <a:pt x="532171" y="6500409"/>
                </a:moveTo>
                <a:lnTo>
                  <a:pt x="479323" y="6520073"/>
                </a:lnTo>
                <a:lnTo>
                  <a:pt x="518652" y="6654039"/>
                </a:lnTo>
                <a:lnTo>
                  <a:pt x="571500" y="6634374"/>
                </a:lnTo>
                <a:lnTo>
                  <a:pt x="532171" y="6500409"/>
                </a:lnTo>
                <a:close/>
                <a:moveTo>
                  <a:pt x="651388" y="6500409"/>
                </a:moveTo>
                <a:lnTo>
                  <a:pt x="599769" y="6524990"/>
                </a:lnTo>
                <a:lnTo>
                  <a:pt x="648930" y="6654039"/>
                </a:lnTo>
                <a:lnTo>
                  <a:pt x="699320" y="6629458"/>
                </a:lnTo>
                <a:lnTo>
                  <a:pt x="651388" y="6500409"/>
                </a:lnTo>
                <a:close/>
                <a:moveTo>
                  <a:pt x="769375" y="6500409"/>
                </a:moveTo>
                <a:lnTo>
                  <a:pt x="720214" y="6531135"/>
                </a:lnTo>
                <a:lnTo>
                  <a:pt x="777978" y="6654039"/>
                </a:lnTo>
                <a:lnTo>
                  <a:pt x="827139" y="6624542"/>
                </a:lnTo>
                <a:lnTo>
                  <a:pt x="769375" y="6500409"/>
                </a:lnTo>
                <a:close/>
                <a:moveTo>
                  <a:pt x="1005350" y="6500409"/>
                </a:moveTo>
                <a:lnTo>
                  <a:pt x="959875" y="6539739"/>
                </a:lnTo>
                <a:lnTo>
                  <a:pt x="1037304" y="6652810"/>
                </a:lnTo>
                <a:lnTo>
                  <a:pt x="1082778" y="6613481"/>
                </a:lnTo>
                <a:lnTo>
                  <a:pt x="1005350" y="6500409"/>
                </a:lnTo>
                <a:close/>
                <a:moveTo>
                  <a:pt x="1242552" y="6500409"/>
                </a:moveTo>
                <a:lnTo>
                  <a:pt x="1200765" y="6549570"/>
                </a:lnTo>
                <a:lnTo>
                  <a:pt x="1297860" y="6654039"/>
                </a:lnTo>
                <a:lnTo>
                  <a:pt x="1338417" y="6604877"/>
                </a:lnTo>
                <a:lnTo>
                  <a:pt x="1242552" y="6500409"/>
                </a:lnTo>
                <a:close/>
                <a:moveTo>
                  <a:pt x="1359311" y="6500409"/>
                </a:moveTo>
                <a:lnTo>
                  <a:pt x="1319982" y="6555716"/>
                </a:lnTo>
                <a:lnTo>
                  <a:pt x="1426908" y="6652810"/>
                </a:lnTo>
                <a:lnTo>
                  <a:pt x="1466237" y="6598732"/>
                </a:lnTo>
                <a:lnTo>
                  <a:pt x="1359311" y="6500409"/>
                </a:lnTo>
                <a:close/>
                <a:moveTo>
                  <a:pt x="1477299" y="6500409"/>
                </a:moveTo>
                <a:lnTo>
                  <a:pt x="1440428" y="6559402"/>
                </a:lnTo>
                <a:lnTo>
                  <a:pt x="1557185" y="6652810"/>
                </a:lnTo>
                <a:lnTo>
                  <a:pt x="1594056" y="6593815"/>
                </a:lnTo>
                <a:lnTo>
                  <a:pt x="1477299" y="6500409"/>
                </a:lnTo>
                <a:close/>
                <a:moveTo>
                  <a:pt x="1123337" y="6501639"/>
                </a:moveTo>
                <a:lnTo>
                  <a:pt x="1080320" y="6545884"/>
                </a:lnTo>
                <a:lnTo>
                  <a:pt x="1167582" y="6654039"/>
                </a:lnTo>
                <a:lnTo>
                  <a:pt x="1210598" y="6609793"/>
                </a:lnTo>
                <a:lnTo>
                  <a:pt x="1123337" y="6501639"/>
                </a:lnTo>
                <a:close/>
                <a:moveTo>
                  <a:pt x="887362" y="6501639"/>
                </a:moveTo>
                <a:lnTo>
                  <a:pt x="840659" y="6536051"/>
                </a:lnTo>
                <a:lnTo>
                  <a:pt x="908255" y="6654039"/>
                </a:lnTo>
                <a:lnTo>
                  <a:pt x="954959" y="6620854"/>
                </a:lnTo>
                <a:lnTo>
                  <a:pt x="887362" y="6501639"/>
                </a:lnTo>
                <a:close/>
                <a:moveTo>
                  <a:pt x="178209" y="6694596"/>
                </a:moveTo>
                <a:lnTo>
                  <a:pt x="119216" y="6699514"/>
                </a:lnTo>
                <a:lnTo>
                  <a:pt x="129048" y="6848226"/>
                </a:lnTo>
                <a:lnTo>
                  <a:pt x="188042" y="6843310"/>
                </a:lnTo>
                <a:lnTo>
                  <a:pt x="178209" y="6694596"/>
                </a:lnTo>
                <a:close/>
                <a:moveTo>
                  <a:pt x="296197" y="6694596"/>
                </a:moveTo>
                <a:lnTo>
                  <a:pt x="239661" y="6704428"/>
                </a:lnTo>
                <a:lnTo>
                  <a:pt x="259326" y="6848226"/>
                </a:lnTo>
                <a:lnTo>
                  <a:pt x="315861" y="6838394"/>
                </a:lnTo>
                <a:lnTo>
                  <a:pt x="296197" y="6694596"/>
                </a:lnTo>
                <a:close/>
                <a:moveTo>
                  <a:pt x="415413" y="6694596"/>
                </a:moveTo>
                <a:lnTo>
                  <a:pt x="360106" y="6709345"/>
                </a:lnTo>
                <a:lnTo>
                  <a:pt x="389603" y="6848226"/>
                </a:lnTo>
                <a:lnTo>
                  <a:pt x="444910" y="6833478"/>
                </a:lnTo>
                <a:lnTo>
                  <a:pt x="415413" y="6694596"/>
                </a:lnTo>
                <a:close/>
                <a:moveTo>
                  <a:pt x="651388" y="6694596"/>
                </a:moveTo>
                <a:lnTo>
                  <a:pt x="599769" y="6719177"/>
                </a:lnTo>
                <a:lnTo>
                  <a:pt x="648930" y="6848226"/>
                </a:lnTo>
                <a:lnTo>
                  <a:pt x="699320" y="6823645"/>
                </a:lnTo>
                <a:lnTo>
                  <a:pt x="651388" y="6694596"/>
                </a:lnTo>
                <a:close/>
                <a:moveTo>
                  <a:pt x="887362" y="6694596"/>
                </a:moveTo>
                <a:lnTo>
                  <a:pt x="840659" y="6729009"/>
                </a:lnTo>
                <a:lnTo>
                  <a:pt x="908255" y="6848226"/>
                </a:lnTo>
                <a:lnTo>
                  <a:pt x="954959" y="6813813"/>
                </a:lnTo>
                <a:lnTo>
                  <a:pt x="887362" y="6694596"/>
                </a:lnTo>
                <a:close/>
                <a:moveTo>
                  <a:pt x="1005350" y="6694596"/>
                </a:moveTo>
                <a:lnTo>
                  <a:pt x="959875" y="6735155"/>
                </a:lnTo>
                <a:lnTo>
                  <a:pt x="1037304" y="6848226"/>
                </a:lnTo>
                <a:lnTo>
                  <a:pt x="1082778" y="6808897"/>
                </a:lnTo>
                <a:lnTo>
                  <a:pt x="1005350" y="6694596"/>
                </a:lnTo>
                <a:close/>
                <a:moveTo>
                  <a:pt x="1123337" y="6695826"/>
                </a:moveTo>
                <a:lnTo>
                  <a:pt x="1080320" y="6740071"/>
                </a:lnTo>
                <a:lnTo>
                  <a:pt x="1167582" y="6848226"/>
                </a:lnTo>
                <a:lnTo>
                  <a:pt x="1210598" y="6803981"/>
                </a:lnTo>
                <a:lnTo>
                  <a:pt x="1123337" y="6695826"/>
                </a:lnTo>
                <a:close/>
                <a:moveTo>
                  <a:pt x="1240094" y="6695826"/>
                </a:moveTo>
                <a:lnTo>
                  <a:pt x="1199537" y="6744987"/>
                </a:lnTo>
                <a:lnTo>
                  <a:pt x="1296630" y="6848226"/>
                </a:lnTo>
                <a:lnTo>
                  <a:pt x="1338417" y="6799065"/>
                </a:lnTo>
                <a:lnTo>
                  <a:pt x="1240094" y="6695826"/>
                </a:lnTo>
                <a:close/>
                <a:moveTo>
                  <a:pt x="1359311" y="6695826"/>
                </a:moveTo>
                <a:lnTo>
                  <a:pt x="1319982" y="6749903"/>
                </a:lnTo>
                <a:lnTo>
                  <a:pt x="1426908" y="6848226"/>
                </a:lnTo>
                <a:lnTo>
                  <a:pt x="1466237" y="6794149"/>
                </a:lnTo>
                <a:lnTo>
                  <a:pt x="1359311" y="6695826"/>
                </a:lnTo>
                <a:close/>
                <a:moveTo>
                  <a:pt x="769375" y="6695826"/>
                </a:moveTo>
                <a:lnTo>
                  <a:pt x="720214" y="6726552"/>
                </a:lnTo>
                <a:lnTo>
                  <a:pt x="777978" y="6849456"/>
                </a:lnTo>
                <a:lnTo>
                  <a:pt x="827139" y="6819958"/>
                </a:lnTo>
                <a:lnTo>
                  <a:pt x="769375" y="6695826"/>
                </a:lnTo>
                <a:close/>
                <a:moveTo>
                  <a:pt x="532171" y="6695826"/>
                </a:moveTo>
                <a:lnTo>
                  <a:pt x="479323" y="6715490"/>
                </a:lnTo>
                <a:lnTo>
                  <a:pt x="518652" y="6848226"/>
                </a:lnTo>
                <a:lnTo>
                  <a:pt x="571500" y="6829790"/>
                </a:lnTo>
                <a:lnTo>
                  <a:pt x="532171" y="669582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AA320DE1-3472-EA43-9B00-D404662D0B1D}"/>
              </a:ext>
            </a:extLst>
          </p:cNvPr>
          <p:cNvSpPr/>
          <p:nvPr/>
        </p:nvSpPr>
        <p:spPr>
          <a:xfrm>
            <a:off x="6780786" y="1635370"/>
            <a:ext cx="4572000" cy="453683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Subtitle 2">
            <a:extLst>
              <a:ext uri="{FF2B5EF4-FFF2-40B4-BE49-F238E27FC236}">
                <a16:creationId xmlns:a16="http://schemas.microsoft.com/office/drawing/2014/main" id="{44B14585-A6AA-484D-B08D-31BEAF7CBD71}"/>
              </a:ext>
            </a:extLst>
          </p:cNvPr>
          <p:cNvSpPr>
            <a:spLocks noGrp="1"/>
          </p:cNvSpPr>
          <p:nvPr>
            <p:ph type="subTitle" idx="1"/>
          </p:nvPr>
        </p:nvSpPr>
        <p:spPr>
          <a:xfrm>
            <a:off x="7063992" y="4180114"/>
            <a:ext cx="3868615" cy="502418"/>
          </a:xfrm>
          <a:prstGeom prst="rect">
            <a:avLst/>
          </a:prstGeom>
        </p:spPr>
        <p:txBody>
          <a:bodyPr/>
          <a:lstStyle>
            <a:lvl1pPr marL="0" indent="0" algn="l">
              <a:buNone/>
              <a:defRPr sz="1700" b="1" i="0">
                <a:solidFill>
                  <a:schemeClr val="accent1"/>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1" name="Title 8">
            <a:extLst>
              <a:ext uri="{FF2B5EF4-FFF2-40B4-BE49-F238E27FC236}">
                <a16:creationId xmlns:a16="http://schemas.microsoft.com/office/drawing/2014/main" id="{4A1703A0-2DFF-004C-B288-AF93509D0EA3}"/>
              </a:ext>
            </a:extLst>
          </p:cNvPr>
          <p:cNvSpPr>
            <a:spLocks noGrp="1"/>
          </p:cNvSpPr>
          <p:nvPr>
            <p:ph type="title"/>
          </p:nvPr>
        </p:nvSpPr>
        <p:spPr>
          <a:xfrm>
            <a:off x="7063992" y="2690834"/>
            <a:ext cx="3868615" cy="1489280"/>
          </a:xfrm>
          <a:prstGeom prst="rect">
            <a:avLst/>
          </a:prstGeom>
        </p:spPr>
        <p:txBody>
          <a:bodyPr/>
          <a:lstStyle>
            <a:lvl1pPr>
              <a:lnSpc>
                <a:spcPct val="84000"/>
              </a:lnSpc>
              <a:defRPr>
                <a:solidFill>
                  <a:schemeClr val="bg1"/>
                </a:solidFill>
              </a:defRPr>
            </a:lvl1pPr>
          </a:lstStyle>
          <a:p>
            <a:r>
              <a:rPr lang="en-US"/>
              <a:t>Click to edit Master title style</a:t>
            </a:r>
          </a:p>
        </p:txBody>
      </p:sp>
      <p:sp>
        <p:nvSpPr>
          <p:cNvPr id="47" name="Rectangle 46">
            <a:extLst>
              <a:ext uri="{FF2B5EF4-FFF2-40B4-BE49-F238E27FC236}">
                <a16:creationId xmlns:a16="http://schemas.microsoft.com/office/drawing/2014/main" id="{148BF82F-FC2B-A24E-BF24-E14B62C89116}"/>
              </a:ext>
            </a:extLst>
          </p:cNvPr>
          <p:cNvSpPr/>
          <p:nvPr/>
        </p:nvSpPr>
        <p:spPr>
          <a:xfrm>
            <a:off x="6780786" y="1585321"/>
            <a:ext cx="4572000" cy="919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Date Placeholder 28">
            <a:extLst>
              <a:ext uri="{FF2B5EF4-FFF2-40B4-BE49-F238E27FC236}">
                <a16:creationId xmlns:a16="http://schemas.microsoft.com/office/drawing/2014/main" id="{4173F375-8FAA-BD4B-83E1-693DFA96DFF0}"/>
              </a:ext>
            </a:extLst>
          </p:cNvPr>
          <p:cNvSpPr>
            <a:spLocks noGrp="1"/>
          </p:cNvSpPr>
          <p:nvPr>
            <p:ph type="dt" sz="half" idx="10"/>
          </p:nvPr>
        </p:nvSpPr>
        <p:spPr>
          <a:xfrm>
            <a:off x="7063992" y="2216659"/>
            <a:ext cx="2743200" cy="365125"/>
          </a:xfrm>
          <a:prstGeom prst="rect">
            <a:avLst/>
          </a:prstGeom>
        </p:spPr>
        <p:txBody>
          <a:bodyPr anchor="b"/>
          <a:lstStyle>
            <a:lvl1pPr>
              <a:defRPr sz="1100" b="0" cap="all" spc="20" baseline="0">
                <a:solidFill>
                  <a:schemeClr val="accent1"/>
                </a:solidFill>
                <a:latin typeface="+mn-lt"/>
              </a:defRPr>
            </a:lvl1pPr>
          </a:lstStyle>
          <a:p>
            <a:fld id="{F978891D-A1B2-4803-8CE5-704822140BC9}" type="datetimeFigureOut">
              <a:rPr lang="en-US" smtClean="0"/>
              <a:t>1/27/2021</a:t>
            </a:fld>
            <a:endParaRPr lang="en-US"/>
          </a:p>
        </p:txBody>
      </p:sp>
      <p:grpSp>
        <p:nvGrpSpPr>
          <p:cNvPr id="26" name="Group 25">
            <a:extLst>
              <a:ext uri="{FF2B5EF4-FFF2-40B4-BE49-F238E27FC236}">
                <a16:creationId xmlns:a16="http://schemas.microsoft.com/office/drawing/2014/main" id="{9B6E886A-2CD4-2840-BF8A-32EDA0830AC9}"/>
              </a:ext>
            </a:extLst>
          </p:cNvPr>
          <p:cNvGrpSpPr/>
          <p:nvPr/>
        </p:nvGrpSpPr>
        <p:grpSpPr>
          <a:xfrm>
            <a:off x="7150135" y="5095453"/>
            <a:ext cx="1878930" cy="691431"/>
            <a:chOff x="7150135" y="5095453"/>
            <a:chExt cx="1878930" cy="691431"/>
          </a:xfrm>
        </p:grpSpPr>
        <p:grpSp>
          <p:nvGrpSpPr>
            <p:cNvPr id="27" name="Group 26">
              <a:extLst>
                <a:ext uri="{FF2B5EF4-FFF2-40B4-BE49-F238E27FC236}">
                  <a16:creationId xmlns:a16="http://schemas.microsoft.com/office/drawing/2014/main" id="{C4223830-0F4F-ED41-83BC-1BF07E77BAD5}"/>
                </a:ext>
              </a:extLst>
            </p:cNvPr>
            <p:cNvGrpSpPr/>
            <p:nvPr/>
          </p:nvGrpSpPr>
          <p:grpSpPr>
            <a:xfrm>
              <a:off x="7150135" y="5095453"/>
              <a:ext cx="698487" cy="691431"/>
              <a:chOff x="7150135" y="5095453"/>
              <a:chExt cx="698487" cy="691431"/>
            </a:xfrm>
          </p:grpSpPr>
          <p:sp>
            <p:nvSpPr>
              <p:cNvPr id="46" name="Rectangle 45">
                <a:extLst>
                  <a:ext uri="{FF2B5EF4-FFF2-40B4-BE49-F238E27FC236}">
                    <a16:creationId xmlns:a16="http://schemas.microsoft.com/office/drawing/2014/main" id="{9C19A0E5-B084-B446-BFF0-C2A018D5F16F}"/>
                  </a:ext>
                </a:extLst>
              </p:cNvPr>
              <p:cNvSpPr/>
              <p:nvPr/>
            </p:nvSpPr>
            <p:spPr>
              <a:xfrm>
                <a:off x="7150135" y="5095453"/>
                <a:ext cx="698487" cy="691431"/>
              </a:xfrm>
              <a:prstGeom prst="rect">
                <a:avLst/>
              </a:prstGeom>
              <a:solidFill>
                <a:srgbClr val="5369E4"/>
              </a:solidFill>
              <a:ln w="9525" cap="flat">
                <a:noFill/>
                <a:prstDash val="solid"/>
                <a:miter/>
              </a:ln>
            </p:spPr>
            <p:txBody>
              <a:bodyPr rtlCol="0" anchor="ctr"/>
              <a:lstStyle/>
              <a:p>
                <a:endParaRPr lang="en-US"/>
              </a:p>
            </p:txBody>
          </p:sp>
          <p:sp>
            <p:nvSpPr>
              <p:cNvPr id="49" name="Freeform 48">
                <a:extLst>
                  <a:ext uri="{FF2B5EF4-FFF2-40B4-BE49-F238E27FC236}">
                    <a16:creationId xmlns:a16="http://schemas.microsoft.com/office/drawing/2014/main" id="{63739920-8312-5E44-B527-5FD7EB4D0E16}"/>
                  </a:ext>
                </a:extLst>
              </p:cNvPr>
              <p:cNvSpPr/>
              <p:nvPr/>
            </p:nvSpPr>
            <p:spPr>
              <a:xfrm>
                <a:off x="7373270" y="5335821"/>
                <a:ext cx="343911" cy="216985"/>
              </a:xfrm>
              <a:custGeom>
                <a:avLst/>
                <a:gdLst>
                  <a:gd name="connsiteX0" fmla="*/ 126744 w 343911"/>
                  <a:gd name="connsiteY0" fmla="*/ 73417 h 216985"/>
                  <a:gd name="connsiteX1" fmla="*/ 162938 w 343911"/>
                  <a:gd name="connsiteY1" fmla="*/ 109246 h 216985"/>
                  <a:gd name="connsiteX2" fmla="*/ 126744 w 343911"/>
                  <a:gd name="connsiteY2" fmla="*/ 145074 h 216985"/>
                  <a:gd name="connsiteX3" fmla="*/ 90549 w 343911"/>
                  <a:gd name="connsiteY3" fmla="*/ 109246 h 216985"/>
                  <a:gd name="connsiteX4" fmla="*/ 126744 w 343911"/>
                  <a:gd name="connsiteY4" fmla="*/ 73417 h 216985"/>
                  <a:gd name="connsiteX5" fmla="*/ 180972 w 343911"/>
                  <a:gd name="connsiteY5" fmla="*/ 2137 h 216985"/>
                  <a:gd name="connsiteX6" fmla="*/ 253361 w 343911"/>
                  <a:gd name="connsiteY6" fmla="*/ 2137 h 216985"/>
                  <a:gd name="connsiteX7" fmla="*/ 253361 w 343911"/>
                  <a:gd name="connsiteY7" fmla="*/ 73669 h 216985"/>
                  <a:gd name="connsiteX8" fmla="*/ 253361 w 343911"/>
                  <a:gd name="connsiteY8" fmla="*/ 145326 h 216985"/>
                  <a:gd name="connsiteX9" fmla="*/ 253361 w 343911"/>
                  <a:gd name="connsiteY9" fmla="*/ 216985 h 216985"/>
                  <a:gd name="connsiteX10" fmla="*/ 180972 w 343911"/>
                  <a:gd name="connsiteY10" fmla="*/ 216985 h 216985"/>
                  <a:gd name="connsiteX11" fmla="*/ 180972 w 343911"/>
                  <a:gd name="connsiteY11" fmla="*/ 145326 h 216985"/>
                  <a:gd name="connsiteX12" fmla="*/ 180972 w 343911"/>
                  <a:gd name="connsiteY12" fmla="*/ 73669 h 216985"/>
                  <a:gd name="connsiteX13" fmla="*/ 0 w 343911"/>
                  <a:gd name="connsiteY13" fmla="*/ 2137 h 216985"/>
                  <a:gd name="connsiteX14" fmla="*/ 72389 w 343911"/>
                  <a:gd name="connsiteY14" fmla="*/ 2137 h 216985"/>
                  <a:gd name="connsiteX15" fmla="*/ 72389 w 343911"/>
                  <a:gd name="connsiteY15" fmla="*/ 73669 h 216985"/>
                  <a:gd name="connsiteX16" fmla="*/ 72389 w 343911"/>
                  <a:gd name="connsiteY16" fmla="*/ 145326 h 216985"/>
                  <a:gd name="connsiteX17" fmla="*/ 72389 w 343911"/>
                  <a:gd name="connsiteY17" fmla="*/ 216985 h 216985"/>
                  <a:gd name="connsiteX18" fmla="*/ 0 w 343911"/>
                  <a:gd name="connsiteY18" fmla="*/ 216985 h 216985"/>
                  <a:gd name="connsiteX19" fmla="*/ 0 w 343911"/>
                  <a:gd name="connsiteY19" fmla="*/ 145326 h 216985"/>
                  <a:gd name="connsiteX20" fmla="*/ 0 w 343911"/>
                  <a:gd name="connsiteY20" fmla="*/ 73669 h 216985"/>
                  <a:gd name="connsiteX21" fmla="*/ 307716 w 343911"/>
                  <a:gd name="connsiteY21" fmla="*/ 0 h 216985"/>
                  <a:gd name="connsiteX22" fmla="*/ 343911 w 343911"/>
                  <a:gd name="connsiteY22" fmla="*/ 35829 h 216985"/>
                  <a:gd name="connsiteX23" fmla="*/ 307716 w 343911"/>
                  <a:gd name="connsiteY23" fmla="*/ 71657 h 216985"/>
                  <a:gd name="connsiteX24" fmla="*/ 271521 w 343911"/>
                  <a:gd name="connsiteY24" fmla="*/ 35829 h 216985"/>
                  <a:gd name="connsiteX25" fmla="*/ 307716 w 343911"/>
                  <a:gd name="connsiteY25" fmla="*/ 0 h 216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43911" h="216985">
                    <a:moveTo>
                      <a:pt x="126744" y="73417"/>
                    </a:moveTo>
                    <a:cubicBezTo>
                      <a:pt x="146734" y="73417"/>
                      <a:pt x="162938" y="89458"/>
                      <a:pt x="162938" y="109246"/>
                    </a:cubicBezTo>
                    <a:cubicBezTo>
                      <a:pt x="162938" y="129034"/>
                      <a:pt x="146734" y="145074"/>
                      <a:pt x="126744" y="145074"/>
                    </a:cubicBezTo>
                    <a:cubicBezTo>
                      <a:pt x="106754" y="145074"/>
                      <a:pt x="90549" y="129034"/>
                      <a:pt x="90549" y="109246"/>
                    </a:cubicBezTo>
                    <a:cubicBezTo>
                      <a:pt x="90549" y="89458"/>
                      <a:pt x="106754" y="73417"/>
                      <a:pt x="126744" y="73417"/>
                    </a:cubicBezTo>
                    <a:close/>
                    <a:moveTo>
                      <a:pt x="180972" y="2137"/>
                    </a:moveTo>
                    <a:lnTo>
                      <a:pt x="253361" y="2137"/>
                    </a:lnTo>
                    <a:lnTo>
                      <a:pt x="253361" y="73669"/>
                    </a:lnTo>
                    <a:lnTo>
                      <a:pt x="253361" y="145326"/>
                    </a:lnTo>
                    <a:lnTo>
                      <a:pt x="253361" y="216985"/>
                    </a:lnTo>
                    <a:lnTo>
                      <a:pt x="180972" y="216985"/>
                    </a:lnTo>
                    <a:lnTo>
                      <a:pt x="180972" y="145326"/>
                    </a:lnTo>
                    <a:lnTo>
                      <a:pt x="180972" y="73669"/>
                    </a:lnTo>
                    <a:close/>
                    <a:moveTo>
                      <a:pt x="0" y="2137"/>
                    </a:moveTo>
                    <a:lnTo>
                      <a:pt x="72389" y="2137"/>
                    </a:lnTo>
                    <a:lnTo>
                      <a:pt x="72389" y="73669"/>
                    </a:lnTo>
                    <a:lnTo>
                      <a:pt x="72389" y="145326"/>
                    </a:lnTo>
                    <a:lnTo>
                      <a:pt x="72389" y="216985"/>
                    </a:lnTo>
                    <a:lnTo>
                      <a:pt x="0" y="216985"/>
                    </a:lnTo>
                    <a:lnTo>
                      <a:pt x="0" y="145326"/>
                    </a:lnTo>
                    <a:lnTo>
                      <a:pt x="0" y="73669"/>
                    </a:lnTo>
                    <a:close/>
                    <a:moveTo>
                      <a:pt x="307716" y="0"/>
                    </a:moveTo>
                    <a:cubicBezTo>
                      <a:pt x="327706" y="0"/>
                      <a:pt x="343911" y="16041"/>
                      <a:pt x="343911" y="35829"/>
                    </a:cubicBezTo>
                    <a:cubicBezTo>
                      <a:pt x="343911" y="55617"/>
                      <a:pt x="327706" y="71657"/>
                      <a:pt x="307716" y="71657"/>
                    </a:cubicBezTo>
                    <a:cubicBezTo>
                      <a:pt x="287726" y="71657"/>
                      <a:pt x="271521" y="55617"/>
                      <a:pt x="271521" y="35829"/>
                    </a:cubicBezTo>
                    <a:cubicBezTo>
                      <a:pt x="271521" y="16041"/>
                      <a:pt x="287726" y="0"/>
                      <a:pt x="307716" y="0"/>
                    </a:cubicBezTo>
                    <a:close/>
                  </a:path>
                </a:pathLst>
              </a:custGeom>
              <a:solidFill>
                <a:srgbClr val="FFFFFF"/>
              </a:solidFill>
              <a:ln w="9525" cap="flat">
                <a:noFill/>
                <a:prstDash val="solid"/>
                <a:miter/>
              </a:ln>
            </p:spPr>
            <p:txBody>
              <a:bodyPr wrap="square" rtlCol="0" anchor="ctr">
                <a:noAutofit/>
              </a:bodyPr>
              <a:lstStyle/>
              <a:p>
                <a:endParaRPr lang="en-US"/>
              </a:p>
            </p:txBody>
          </p:sp>
        </p:grpSp>
        <p:sp>
          <p:nvSpPr>
            <p:cNvPr id="29" name="Freeform 28">
              <a:extLst>
                <a:ext uri="{FF2B5EF4-FFF2-40B4-BE49-F238E27FC236}">
                  <a16:creationId xmlns:a16="http://schemas.microsoft.com/office/drawing/2014/main" id="{A6DA45A9-84A9-7441-969A-896FDA1A52D5}"/>
                </a:ext>
              </a:extLst>
            </p:cNvPr>
            <p:cNvSpPr/>
            <p:nvPr/>
          </p:nvSpPr>
          <p:spPr>
            <a:xfrm>
              <a:off x="8030102" y="5323621"/>
              <a:ext cx="998963" cy="232831"/>
            </a:xfrm>
            <a:custGeom>
              <a:avLst/>
              <a:gdLst>
                <a:gd name="connsiteX0" fmla="*/ 654292 w 998963"/>
                <a:gd name="connsiteY0" fmla="*/ 111515 h 232831"/>
                <a:gd name="connsiteX1" fmla="*/ 613018 w 998963"/>
                <a:gd name="connsiteY1" fmla="*/ 152373 h 232831"/>
                <a:gd name="connsiteX2" fmla="*/ 654292 w 998963"/>
                <a:gd name="connsiteY2" fmla="*/ 193230 h 232831"/>
                <a:gd name="connsiteX3" fmla="*/ 695566 w 998963"/>
                <a:gd name="connsiteY3" fmla="*/ 152373 h 232831"/>
                <a:gd name="connsiteX4" fmla="*/ 654292 w 998963"/>
                <a:gd name="connsiteY4" fmla="*/ 111515 h 232831"/>
                <a:gd name="connsiteX5" fmla="*/ 458842 w 998963"/>
                <a:gd name="connsiteY5" fmla="*/ 74429 h 232831"/>
                <a:gd name="connsiteX6" fmla="*/ 504435 w 998963"/>
                <a:gd name="connsiteY6" fmla="*/ 74429 h 232831"/>
                <a:gd name="connsiteX7" fmla="*/ 504435 w 998963"/>
                <a:gd name="connsiteY7" fmla="*/ 229310 h 232831"/>
                <a:gd name="connsiteX8" fmla="*/ 458842 w 998963"/>
                <a:gd name="connsiteY8" fmla="*/ 229310 h 232831"/>
                <a:gd name="connsiteX9" fmla="*/ 218944 w 998963"/>
                <a:gd name="connsiteY9" fmla="*/ 74428 h 232831"/>
                <a:gd name="connsiteX10" fmla="*/ 264536 w 998963"/>
                <a:gd name="connsiteY10" fmla="*/ 74428 h 232831"/>
                <a:gd name="connsiteX11" fmla="*/ 264536 w 998963"/>
                <a:gd name="connsiteY11" fmla="*/ 229308 h 232831"/>
                <a:gd name="connsiteX12" fmla="*/ 218944 w 998963"/>
                <a:gd name="connsiteY12" fmla="*/ 229308 h 232831"/>
                <a:gd name="connsiteX13" fmla="*/ 542535 w 998963"/>
                <a:gd name="connsiteY13" fmla="*/ 73170 h 232831"/>
                <a:gd name="connsiteX14" fmla="*/ 569713 w 998963"/>
                <a:gd name="connsiteY14" fmla="*/ 100074 h 232831"/>
                <a:gd name="connsiteX15" fmla="*/ 542535 w 998963"/>
                <a:gd name="connsiteY15" fmla="*/ 126976 h 232831"/>
                <a:gd name="connsiteX16" fmla="*/ 515604 w 998963"/>
                <a:gd name="connsiteY16" fmla="*/ 100836 h 232831"/>
                <a:gd name="connsiteX17" fmla="*/ 515610 w 998963"/>
                <a:gd name="connsiteY17" fmla="*/ 99948 h 232831"/>
                <a:gd name="connsiteX18" fmla="*/ 541637 w 998963"/>
                <a:gd name="connsiteY18" fmla="*/ 73172 h 232831"/>
                <a:gd name="connsiteX19" fmla="*/ 542535 w 998963"/>
                <a:gd name="connsiteY19" fmla="*/ 73170 h 232831"/>
                <a:gd name="connsiteX20" fmla="*/ 842756 w 998963"/>
                <a:gd name="connsiteY20" fmla="*/ 72166 h 232831"/>
                <a:gd name="connsiteX21" fmla="*/ 889999 w 998963"/>
                <a:gd name="connsiteY21" fmla="*/ 99824 h 232831"/>
                <a:gd name="connsiteX22" fmla="*/ 942830 w 998963"/>
                <a:gd name="connsiteY22" fmla="*/ 72166 h 232831"/>
                <a:gd name="connsiteX23" fmla="*/ 998816 w 998963"/>
                <a:gd name="connsiteY23" fmla="*/ 119789 h 232831"/>
                <a:gd name="connsiteX24" fmla="*/ 998962 w 998963"/>
                <a:gd name="connsiteY24" fmla="*/ 124087 h 232831"/>
                <a:gd name="connsiteX25" fmla="*/ 998962 w 998963"/>
                <a:gd name="connsiteY25" fmla="*/ 229562 h 232831"/>
                <a:gd name="connsiteX26" fmla="*/ 953625 w 998963"/>
                <a:gd name="connsiteY26" fmla="*/ 229562 h 232831"/>
                <a:gd name="connsiteX27" fmla="*/ 953625 w 998963"/>
                <a:gd name="connsiteY27" fmla="*/ 137036 h 232831"/>
                <a:gd name="connsiteX28" fmla="*/ 932658 w 998963"/>
                <a:gd name="connsiteY28" fmla="*/ 109934 h 232831"/>
                <a:gd name="connsiteX29" fmla="*/ 928225 w 998963"/>
                <a:gd name="connsiteY29" fmla="*/ 109755 h 232831"/>
                <a:gd name="connsiteX30" fmla="*/ 898380 w 998963"/>
                <a:gd name="connsiteY30" fmla="*/ 149984 h 232831"/>
                <a:gd name="connsiteX31" fmla="*/ 898380 w 998963"/>
                <a:gd name="connsiteY31" fmla="*/ 229311 h 232831"/>
                <a:gd name="connsiteX32" fmla="*/ 853296 w 998963"/>
                <a:gd name="connsiteY32" fmla="*/ 229311 h 232831"/>
                <a:gd name="connsiteX33" fmla="*/ 853296 w 998963"/>
                <a:gd name="connsiteY33" fmla="*/ 137036 h 232831"/>
                <a:gd name="connsiteX34" fmla="*/ 832330 w 998963"/>
                <a:gd name="connsiteY34" fmla="*/ 109934 h 232831"/>
                <a:gd name="connsiteX35" fmla="*/ 827896 w 998963"/>
                <a:gd name="connsiteY35" fmla="*/ 109755 h 232831"/>
                <a:gd name="connsiteX36" fmla="*/ 798434 w 998963"/>
                <a:gd name="connsiteY36" fmla="*/ 149984 h 232831"/>
                <a:gd name="connsiteX37" fmla="*/ 798434 w 998963"/>
                <a:gd name="connsiteY37" fmla="*/ 229311 h 232831"/>
                <a:gd name="connsiteX38" fmla="*/ 752841 w 998963"/>
                <a:gd name="connsiteY38" fmla="*/ 229311 h 232831"/>
                <a:gd name="connsiteX39" fmla="*/ 753095 w 998963"/>
                <a:gd name="connsiteY39" fmla="*/ 74430 h 232831"/>
                <a:gd name="connsiteX40" fmla="*/ 798687 w 998963"/>
                <a:gd name="connsiteY40" fmla="*/ 74430 h 232831"/>
                <a:gd name="connsiteX41" fmla="*/ 798687 w 998963"/>
                <a:gd name="connsiteY41" fmla="*/ 95549 h 232831"/>
                <a:gd name="connsiteX42" fmla="*/ 842756 w 998963"/>
                <a:gd name="connsiteY42" fmla="*/ 72166 h 232831"/>
                <a:gd name="connsiteX43" fmla="*/ 655053 w 998963"/>
                <a:gd name="connsiteY43" fmla="*/ 71915 h 232831"/>
                <a:gd name="connsiteX44" fmla="*/ 736332 w 998963"/>
                <a:gd name="connsiteY44" fmla="*/ 152373 h 232831"/>
                <a:gd name="connsiteX45" fmla="*/ 655053 w 998963"/>
                <a:gd name="connsiteY45" fmla="*/ 232831 h 232831"/>
                <a:gd name="connsiteX46" fmla="*/ 573775 w 998963"/>
                <a:gd name="connsiteY46" fmla="*/ 152373 h 232831"/>
                <a:gd name="connsiteX47" fmla="*/ 655053 w 998963"/>
                <a:gd name="connsiteY47" fmla="*/ 71915 h 232831"/>
                <a:gd name="connsiteX48" fmla="*/ 0 w 998963"/>
                <a:gd name="connsiteY48" fmla="*/ 14211 h 232831"/>
                <a:gd name="connsiteX49" fmla="*/ 49022 w 998963"/>
                <a:gd name="connsiteY49" fmla="*/ 14211 h 232831"/>
                <a:gd name="connsiteX50" fmla="*/ 49022 w 998963"/>
                <a:gd name="connsiteY50" fmla="*/ 97812 h 232831"/>
                <a:gd name="connsiteX51" fmla="*/ 135253 w 998963"/>
                <a:gd name="connsiteY51" fmla="*/ 97812 h 232831"/>
                <a:gd name="connsiteX52" fmla="*/ 135253 w 998963"/>
                <a:gd name="connsiteY52" fmla="*/ 14211 h 232831"/>
                <a:gd name="connsiteX53" fmla="*/ 184655 w 998963"/>
                <a:gd name="connsiteY53" fmla="*/ 14211 h 232831"/>
                <a:gd name="connsiteX54" fmla="*/ 184655 w 998963"/>
                <a:gd name="connsiteY54" fmla="*/ 229310 h 232831"/>
                <a:gd name="connsiteX55" fmla="*/ 135253 w 998963"/>
                <a:gd name="connsiteY55" fmla="*/ 229310 h 232831"/>
                <a:gd name="connsiteX56" fmla="*/ 135253 w 998963"/>
                <a:gd name="connsiteY56" fmla="*/ 139298 h 232831"/>
                <a:gd name="connsiteX57" fmla="*/ 49022 w 998963"/>
                <a:gd name="connsiteY57" fmla="*/ 139298 h 232831"/>
                <a:gd name="connsiteX58" fmla="*/ 49022 w 998963"/>
                <a:gd name="connsiteY58" fmla="*/ 229310 h 232831"/>
                <a:gd name="connsiteX59" fmla="*/ 0 w 998963"/>
                <a:gd name="connsiteY59" fmla="*/ 229310 h 232831"/>
                <a:gd name="connsiteX60" fmla="*/ 378834 w 998963"/>
                <a:gd name="connsiteY60" fmla="*/ 11697 h 232831"/>
                <a:gd name="connsiteX61" fmla="*/ 424935 w 998963"/>
                <a:gd name="connsiteY61" fmla="*/ 11697 h 232831"/>
                <a:gd name="connsiteX62" fmla="*/ 424935 w 998963"/>
                <a:gd name="connsiteY62" fmla="*/ 229310 h 232831"/>
                <a:gd name="connsiteX63" fmla="*/ 378834 w 998963"/>
                <a:gd name="connsiteY63" fmla="*/ 229310 h 232831"/>
                <a:gd name="connsiteX64" fmla="*/ 299587 w 998963"/>
                <a:gd name="connsiteY64" fmla="*/ 11697 h 232831"/>
                <a:gd name="connsiteX65" fmla="*/ 345181 w 998963"/>
                <a:gd name="connsiteY65" fmla="*/ 11697 h 232831"/>
                <a:gd name="connsiteX66" fmla="*/ 345181 w 998963"/>
                <a:gd name="connsiteY66" fmla="*/ 229310 h 232831"/>
                <a:gd name="connsiteX67" fmla="*/ 299587 w 998963"/>
                <a:gd name="connsiteY67" fmla="*/ 229310 h 232831"/>
                <a:gd name="connsiteX68" fmla="*/ 240651 w 998963"/>
                <a:gd name="connsiteY68" fmla="*/ 5 h 232831"/>
                <a:gd name="connsiteX69" fmla="*/ 241677 w 998963"/>
                <a:gd name="connsiteY69" fmla="*/ 5 h 232831"/>
                <a:gd name="connsiteX70" fmla="*/ 268855 w 998963"/>
                <a:gd name="connsiteY70" fmla="*/ 26908 h 232831"/>
                <a:gd name="connsiteX71" fmla="*/ 241677 w 998963"/>
                <a:gd name="connsiteY71" fmla="*/ 53811 h 232831"/>
                <a:gd name="connsiteX72" fmla="*/ 214621 w 998963"/>
                <a:gd name="connsiteY72" fmla="*/ 27798 h 232831"/>
                <a:gd name="connsiteX73" fmla="*/ 214626 w 998963"/>
                <a:gd name="connsiteY73" fmla="*/ 26782 h 232831"/>
                <a:gd name="connsiteX74" fmla="*/ 240651 w 998963"/>
                <a:gd name="connsiteY74" fmla="*/ 5 h 232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998963" h="232831">
                  <a:moveTo>
                    <a:pt x="654292" y="111515"/>
                  </a:moveTo>
                  <a:cubicBezTo>
                    <a:pt x="631497" y="111515"/>
                    <a:pt x="613018" y="129808"/>
                    <a:pt x="613018" y="152373"/>
                  </a:cubicBezTo>
                  <a:cubicBezTo>
                    <a:pt x="613018" y="174938"/>
                    <a:pt x="631497" y="193230"/>
                    <a:pt x="654292" y="193230"/>
                  </a:cubicBezTo>
                  <a:cubicBezTo>
                    <a:pt x="677086" y="193230"/>
                    <a:pt x="695566" y="174938"/>
                    <a:pt x="695566" y="152373"/>
                  </a:cubicBezTo>
                  <a:cubicBezTo>
                    <a:pt x="695566" y="129808"/>
                    <a:pt x="677086" y="111515"/>
                    <a:pt x="654292" y="111515"/>
                  </a:cubicBezTo>
                  <a:close/>
                  <a:moveTo>
                    <a:pt x="458842" y="74429"/>
                  </a:moveTo>
                  <a:lnTo>
                    <a:pt x="504435" y="74429"/>
                  </a:lnTo>
                  <a:lnTo>
                    <a:pt x="504435" y="229310"/>
                  </a:lnTo>
                  <a:lnTo>
                    <a:pt x="458842" y="229310"/>
                  </a:lnTo>
                  <a:close/>
                  <a:moveTo>
                    <a:pt x="218944" y="74428"/>
                  </a:moveTo>
                  <a:lnTo>
                    <a:pt x="264536" y="74428"/>
                  </a:lnTo>
                  <a:lnTo>
                    <a:pt x="264536" y="229308"/>
                  </a:lnTo>
                  <a:lnTo>
                    <a:pt x="218944" y="229308"/>
                  </a:lnTo>
                  <a:close/>
                  <a:moveTo>
                    <a:pt x="542535" y="73170"/>
                  </a:moveTo>
                  <a:cubicBezTo>
                    <a:pt x="557545" y="73170"/>
                    <a:pt x="569713" y="85215"/>
                    <a:pt x="569713" y="100074"/>
                  </a:cubicBezTo>
                  <a:cubicBezTo>
                    <a:pt x="569713" y="114932"/>
                    <a:pt x="557545" y="126976"/>
                    <a:pt x="542535" y="126976"/>
                  </a:cubicBezTo>
                  <a:cubicBezTo>
                    <a:pt x="527805" y="127119"/>
                    <a:pt x="515749" y="115417"/>
                    <a:pt x="515604" y="100836"/>
                  </a:cubicBezTo>
                  <a:cubicBezTo>
                    <a:pt x="515601" y="100541"/>
                    <a:pt x="515603" y="100244"/>
                    <a:pt x="515610" y="99948"/>
                  </a:cubicBezTo>
                  <a:cubicBezTo>
                    <a:pt x="515328" y="85439"/>
                    <a:pt x="526982" y="73452"/>
                    <a:pt x="541637" y="73172"/>
                  </a:cubicBezTo>
                  <a:cubicBezTo>
                    <a:pt x="541936" y="73167"/>
                    <a:pt x="542236" y="73166"/>
                    <a:pt x="542535" y="73170"/>
                  </a:cubicBezTo>
                  <a:close/>
                  <a:moveTo>
                    <a:pt x="842756" y="72166"/>
                  </a:moveTo>
                  <a:cubicBezTo>
                    <a:pt x="862917" y="70174"/>
                    <a:pt x="882049" y="81374"/>
                    <a:pt x="889999" y="99824"/>
                  </a:cubicBezTo>
                  <a:cubicBezTo>
                    <a:pt x="901342" y="81913"/>
                    <a:pt x="921489" y="71365"/>
                    <a:pt x="942830" y="72166"/>
                  </a:cubicBezTo>
                  <a:cubicBezTo>
                    <a:pt x="971575" y="70013"/>
                    <a:pt x="996640" y="91334"/>
                    <a:pt x="998816" y="119789"/>
                  </a:cubicBezTo>
                  <a:cubicBezTo>
                    <a:pt x="998924" y="121219"/>
                    <a:pt x="998974" y="122652"/>
                    <a:pt x="998962" y="124087"/>
                  </a:cubicBezTo>
                  <a:lnTo>
                    <a:pt x="998962" y="229562"/>
                  </a:lnTo>
                  <a:lnTo>
                    <a:pt x="953625" y="229562"/>
                  </a:lnTo>
                  <a:lnTo>
                    <a:pt x="953625" y="137036"/>
                  </a:lnTo>
                  <a:cubicBezTo>
                    <a:pt x="955395" y="123820"/>
                    <a:pt x="946008" y="111687"/>
                    <a:pt x="932658" y="109934"/>
                  </a:cubicBezTo>
                  <a:cubicBezTo>
                    <a:pt x="931190" y="109741"/>
                    <a:pt x="929705" y="109682"/>
                    <a:pt x="928225" y="109755"/>
                  </a:cubicBezTo>
                  <a:cubicBezTo>
                    <a:pt x="909303" y="109755"/>
                    <a:pt x="898380" y="125093"/>
                    <a:pt x="898380" y="149984"/>
                  </a:cubicBezTo>
                  <a:lnTo>
                    <a:pt x="898380" y="229311"/>
                  </a:lnTo>
                  <a:lnTo>
                    <a:pt x="853296" y="229311"/>
                  </a:lnTo>
                  <a:lnTo>
                    <a:pt x="853296" y="137036"/>
                  </a:lnTo>
                  <a:cubicBezTo>
                    <a:pt x="855067" y="123820"/>
                    <a:pt x="845680" y="111687"/>
                    <a:pt x="832330" y="109934"/>
                  </a:cubicBezTo>
                  <a:cubicBezTo>
                    <a:pt x="830860" y="109741"/>
                    <a:pt x="829377" y="109682"/>
                    <a:pt x="827896" y="109755"/>
                  </a:cubicBezTo>
                  <a:cubicBezTo>
                    <a:pt x="809355" y="109755"/>
                    <a:pt x="798434" y="125344"/>
                    <a:pt x="798434" y="149984"/>
                  </a:cubicBezTo>
                  <a:lnTo>
                    <a:pt x="798434" y="229311"/>
                  </a:lnTo>
                  <a:lnTo>
                    <a:pt x="752841" y="229311"/>
                  </a:lnTo>
                  <a:lnTo>
                    <a:pt x="753095" y="74430"/>
                  </a:lnTo>
                  <a:lnTo>
                    <a:pt x="798687" y="74430"/>
                  </a:lnTo>
                  <a:lnTo>
                    <a:pt x="798687" y="95549"/>
                  </a:lnTo>
                  <a:cubicBezTo>
                    <a:pt x="808089" y="80509"/>
                    <a:pt x="824896" y="71590"/>
                    <a:pt x="842756" y="72166"/>
                  </a:cubicBezTo>
                  <a:close/>
                  <a:moveTo>
                    <a:pt x="655053" y="71915"/>
                  </a:moveTo>
                  <a:cubicBezTo>
                    <a:pt x="699942" y="71915"/>
                    <a:pt x="736332" y="107937"/>
                    <a:pt x="736332" y="152373"/>
                  </a:cubicBezTo>
                  <a:cubicBezTo>
                    <a:pt x="736332" y="196808"/>
                    <a:pt x="699942" y="232831"/>
                    <a:pt x="655053" y="232831"/>
                  </a:cubicBezTo>
                  <a:cubicBezTo>
                    <a:pt x="610165" y="232831"/>
                    <a:pt x="573775" y="196808"/>
                    <a:pt x="573775" y="152373"/>
                  </a:cubicBezTo>
                  <a:cubicBezTo>
                    <a:pt x="573775" y="107937"/>
                    <a:pt x="610165" y="71915"/>
                    <a:pt x="655053" y="71915"/>
                  </a:cubicBezTo>
                  <a:close/>
                  <a:moveTo>
                    <a:pt x="0" y="14211"/>
                  </a:moveTo>
                  <a:lnTo>
                    <a:pt x="49022" y="14211"/>
                  </a:lnTo>
                  <a:lnTo>
                    <a:pt x="49022" y="97812"/>
                  </a:lnTo>
                  <a:lnTo>
                    <a:pt x="135253" y="97812"/>
                  </a:lnTo>
                  <a:lnTo>
                    <a:pt x="135253" y="14211"/>
                  </a:lnTo>
                  <a:lnTo>
                    <a:pt x="184655" y="14211"/>
                  </a:lnTo>
                  <a:lnTo>
                    <a:pt x="184655" y="229310"/>
                  </a:lnTo>
                  <a:lnTo>
                    <a:pt x="135253" y="229310"/>
                  </a:lnTo>
                  <a:lnTo>
                    <a:pt x="135253" y="139298"/>
                  </a:lnTo>
                  <a:lnTo>
                    <a:pt x="49022" y="139298"/>
                  </a:lnTo>
                  <a:lnTo>
                    <a:pt x="49022" y="229310"/>
                  </a:lnTo>
                  <a:lnTo>
                    <a:pt x="0" y="229310"/>
                  </a:lnTo>
                  <a:close/>
                  <a:moveTo>
                    <a:pt x="378834" y="11697"/>
                  </a:moveTo>
                  <a:lnTo>
                    <a:pt x="424935" y="11697"/>
                  </a:lnTo>
                  <a:lnTo>
                    <a:pt x="424935" y="229310"/>
                  </a:lnTo>
                  <a:lnTo>
                    <a:pt x="378834" y="229310"/>
                  </a:lnTo>
                  <a:close/>
                  <a:moveTo>
                    <a:pt x="299587" y="11697"/>
                  </a:moveTo>
                  <a:lnTo>
                    <a:pt x="345181" y="11697"/>
                  </a:lnTo>
                  <a:lnTo>
                    <a:pt x="345181" y="229310"/>
                  </a:lnTo>
                  <a:lnTo>
                    <a:pt x="299587" y="229310"/>
                  </a:lnTo>
                  <a:close/>
                  <a:moveTo>
                    <a:pt x="240651" y="5"/>
                  </a:moveTo>
                  <a:cubicBezTo>
                    <a:pt x="240993" y="-2"/>
                    <a:pt x="241335" y="-2"/>
                    <a:pt x="241677" y="5"/>
                  </a:cubicBezTo>
                  <a:cubicBezTo>
                    <a:pt x="256687" y="5"/>
                    <a:pt x="268855" y="12049"/>
                    <a:pt x="268855" y="26908"/>
                  </a:cubicBezTo>
                  <a:cubicBezTo>
                    <a:pt x="268855" y="41766"/>
                    <a:pt x="256687" y="53811"/>
                    <a:pt x="241677" y="53811"/>
                  </a:cubicBezTo>
                  <a:cubicBezTo>
                    <a:pt x="226949" y="54023"/>
                    <a:pt x="214835" y="42377"/>
                    <a:pt x="214621" y="27798"/>
                  </a:cubicBezTo>
                  <a:cubicBezTo>
                    <a:pt x="214616" y="27460"/>
                    <a:pt x="214617" y="27121"/>
                    <a:pt x="214626" y="26782"/>
                  </a:cubicBezTo>
                  <a:cubicBezTo>
                    <a:pt x="214342" y="12273"/>
                    <a:pt x="225994" y="285"/>
                    <a:pt x="240651" y="5"/>
                  </a:cubicBezTo>
                  <a:close/>
                </a:path>
              </a:pathLst>
            </a:custGeom>
            <a:solidFill>
              <a:schemeClr val="bg1"/>
            </a:solidFill>
            <a:ln w="9525" cap="flat">
              <a:noFill/>
              <a:prstDash val="solid"/>
              <a:miter/>
            </a:ln>
          </p:spPr>
          <p:txBody>
            <a:bodyPr wrap="square" rtlCol="0" anchor="ctr">
              <a:noAutofit/>
            </a:bodyPr>
            <a:lstStyle/>
            <a:p>
              <a:endParaRPr lang="en-US"/>
            </a:p>
          </p:txBody>
        </p:sp>
      </p:grpSp>
    </p:spTree>
    <p:extLst>
      <p:ext uri="{BB962C8B-B14F-4D97-AF65-F5344CB8AC3E}">
        <p14:creationId xmlns:p14="http://schemas.microsoft.com/office/powerpoint/2010/main" val="42360631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Body - 1 Column / Subhead / Intro">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BD7DDE6B-A92F-2C4D-AE1A-BA24EAEF03A2}"/>
              </a:ext>
            </a:extLst>
          </p:cNvPr>
          <p:cNvGrpSpPr/>
          <p:nvPr/>
        </p:nvGrpSpPr>
        <p:grpSpPr>
          <a:xfrm>
            <a:off x="3047" y="6305605"/>
            <a:ext cx="1254409" cy="552395"/>
            <a:chOff x="3047" y="6305605"/>
            <a:chExt cx="1254409" cy="552395"/>
          </a:xfrm>
        </p:grpSpPr>
        <p:grpSp>
          <p:nvGrpSpPr>
            <p:cNvPr id="3" name="Group 2">
              <a:extLst>
                <a:ext uri="{FF2B5EF4-FFF2-40B4-BE49-F238E27FC236}">
                  <a16:creationId xmlns:a16="http://schemas.microsoft.com/office/drawing/2014/main" id="{C2C420B7-CD0D-B044-B4DD-3BDFA3BE9375}"/>
                </a:ext>
              </a:extLst>
            </p:cNvPr>
            <p:cNvGrpSpPr/>
            <p:nvPr/>
          </p:nvGrpSpPr>
          <p:grpSpPr>
            <a:xfrm>
              <a:off x="3047" y="6305605"/>
              <a:ext cx="551693" cy="552395"/>
              <a:chOff x="3047" y="6305605"/>
              <a:chExt cx="551693" cy="552395"/>
            </a:xfrm>
          </p:grpSpPr>
          <p:sp>
            <p:nvSpPr>
              <p:cNvPr id="36" name="Rectangle 35">
                <a:extLst>
                  <a:ext uri="{FF2B5EF4-FFF2-40B4-BE49-F238E27FC236}">
                    <a16:creationId xmlns:a16="http://schemas.microsoft.com/office/drawing/2014/main" id="{5970CBC5-595B-194B-8F19-7498A25049AC}"/>
                  </a:ext>
                </a:extLst>
              </p:cNvPr>
              <p:cNvSpPr/>
              <p:nvPr/>
            </p:nvSpPr>
            <p:spPr>
              <a:xfrm>
                <a:off x="3047" y="6305605"/>
                <a:ext cx="551693" cy="552395"/>
              </a:xfrm>
              <a:prstGeom prst="rect">
                <a:avLst/>
              </a:prstGeom>
              <a:solidFill>
                <a:srgbClr val="5369E4"/>
              </a:solidFill>
              <a:ln w="9525"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CB3E6D70-C07E-1142-9888-93D5891C7400}"/>
                  </a:ext>
                </a:extLst>
              </p:cNvPr>
              <p:cNvSpPr/>
              <p:nvPr/>
            </p:nvSpPr>
            <p:spPr>
              <a:xfrm>
                <a:off x="173577" y="6501753"/>
                <a:ext cx="279408" cy="175345"/>
              </a:xfrm>
              <a:custGeom>
                <a:avLst/>
                <a:gdLst>
                  <a:gd name="connsiteX0" fmla="*/ 102941 w 279408"/>
                  <a:gd name="connsiteY0" fmla="*/ 59439 h 175345"/>
                  <a:gd name="connsiteX1" fmla="*/ 132352 w 279408"/>
                  <a:gd name="connsiteY1" fmla="*/ 88384 h 175345"/>
                  <a:gd name="connsiteX2" fmla="*/ 102941 w 279408"/>
                  <a:gd name="connsiteY2" fmla="*/ 117329 h 175345"/>
                  <a:gd name="connsiteX3" fmla="*/ 73528 w 279408"/>
                  <a:gd name="connsiteY3" fmla="*/ 88384 h 175345"/>
                  <a:gd name="connsiteX4" fmla="*/ 102941 w 279408"/>
                  <a:gd name="connsiteY4" fmla="*/ 59439 h 175345"/>
                  <a:gd name="connsiteX5" fmla="*/ 147056 w 279408"/>
                  <a:gd name="connsiteY5" fmla="*/ 1809 h 175345"/>
                  <a:gd name="connsiteX6" fmla="*/ 205880 w 279408"/>
                  <a:gd name="connsiteY6" fmla="*/ 1809 h 175345"/>
                  <a:gd name="connsiteX7" fmla="*/ 205880 w 279408"/>
                  <a:gd name="connsiteY7" fmla="*/ 59698 h 175345"/>
                  <a:gd name="connsiteX8" fmla="*/ 205880 w 279408"/>
                  <a:gd name="connsiteY8" fmla="*/ 117457 h 175345"/>
                  <a:gd name="connsiteX9" fmla="*/ 205880 w 279408"/>
                  <a:gd name="connsiteY9" fmla="*/ 175345 h 175345"/>
                  <a:gd name="connsiteX10" fmla="*/ 147056 w 279408"/>
                  <a:gd name="connsiteY10" fmla="*/ 175345 h 175345"/>
                  <a:gd name="connsiteX11" fmla="*/ 147056 w 279408"/>
                  <a:gd name="connsiteY11" fmla="*/ 117457 h 175345"/>
                  <a:gd name="connsiteX12" fmla="*/ 147056 w 279408"/>
                  <a:gd name="connsiteY12" fmla="*/ 59698 h 175345"/>
                  <a:gd name="connsiteX13" fmla="*/ 0 w 279408"/>
                  <a:gd name="connsiteY13" fmla="*/ 1809 h 175345"/>
                  <a:gd name="connsiteX14" fmla="*/ 58824 w 279408"/>
                  <a:gd name="connsiteY14" fmla="*/ 1809 h 175345"/>
                  <a:gd name="connsiteX15" fmla="*/ 58824 w 279408"/>
                  <a:gd name="connsiteY15" fmla="*/ 59698 h 175345"/>
                  <a:gd name="connsiteX16" fmla="*/ 58824 w 279408"/>
                  <a:gd name="connsiteY16" fmla="*/ 117457 h 175345"/>
                  <a:gd name="connsiteX17" fmla="*/ 58824 w 279408"/>
                  <a:gd name="connsiteY17" fmla="*/ 175345 h 175345"/>
                  <a:gd name="connsiteX18" fmla="*/ 0 w 279408"/>
                  <a:gd name="connsiteY18" fmla="*/ 175345 h 175345"/>
                  <a:gd name="connsiteX19" fmla="*/ 0 w 279408"/>
                  <a:gd name="connsiteY19" fmla="*/ 117457 h 175345"/>
                  <a:gd name="connsiteX20" fmla="*/ 0 w 279408"/>
                  <a:gd name="connsiteY20" fmla="*/ 59698 h 175345"/>
                  <a:gd name="connsiteX21" fmla="*/ 249997 w 279408"/>
                  <a:gd name="connsiteY21" fmla="*/ 0 h 175345"/>
                  <a:gd name="connsiteX22" fmla="*/ 279408 w 279408"/>
                  <a:gd name="connsiteY22" fmla="*/ 28945 h 175345"/>
                  <a:gd name="connsiteX23" fmla="*/ 249997 w 279408"/>
                  <a:gd name="connsiteY23" fmla="*/ 57890 h 175345"/>
                  <a:gd name="connsiteX24" fmla="*/ 220584 w 279408"/>
                  <a:gd name="connsiteY24" fmla="*/ 28945 h 175345"/>
                  <a:gd name="connsiteX25" fmla="*/ 249997 w 279408"/>
                  <a:gd name="connsiteY25" fmla="*/ 0 h 175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79408" h="175345">
                    <a:moveTo>
                      <a:pt x="102941" y="59439"/>
                    </a:moveTo>
                    <a:cubicBezTo>
                      <a:pt x="119184" y="59439"/>
                      <a:pt x="132352" y="72399"/>
                      <a:pt x="132352" y="88384"/>
                    </a:cubicBezTo>
                    <a:cubicBezTo>
                      <a:pt x="132352" y="104370"/>
                      <a:pt x="119184" y="117329"/>
                      <a:pt x="102941" y="117329"/>
                    </a:cubicBezTo>
                    <a:cubicBezTo>
                      <a:pt x="86696" y="117329"/>
                      <a:pt x="73528" y="104370"/>
                      <a:pt x="73528" y="88384"/>
                    </a:cubicBezTo>
                    <a:cubicBezTo>
                      <a:pt x="73528" y="72399"/>
                      <a:pt x="86696" y="59439"/>
                      <a:pt x="102941" y="59439"/>
                    </a:cubicBezTo>
                    <a:close/>
                    <a:moveTo>
                      <a:pt x="147056" y="1809"/>
                    </a:moveTo>
                    <a:lnTo>
                      <a:pt x="205880" y="1809"/>
                    </a:lnTo>
                    <a:lnTo>
                      <a:pt x="205880" y="59698"/>
                    </a:lnTo>
                    <a:lnTo>
                      <a:pt x="205880" y="117457"/>
                    </a:lnTo>
                    <a:lnTo>
                      <a:pt x="205880" y="175345"/>
                    </a:lnTo>
                    <a:lnTo>
                      <a:pt x="147056" y="175345"/>
                    </a:lnTo>
                    <a:lnTo>
                      <a:pt x="147056" y="117457"/>
                    </a:lnTo>
                    <a:lnTo>
                      <a:pt x="147056" y="59698"/>
                    </a:lnTo>
                    <a:close/>
                    <a:moveTo>
                      <a:pt x="0" y="1809"/>
                    </a:moveTo>
                    <a:lnTo>
                      <a:pt x="58824" y="1809"/>
                    </a:lnTo>
                    <a:lnTo>
                      <a:pt x="58824" y="59698"/>
                    </a:lnTo>
                    <a:lnTo>
                      <a:pt x="58824" y="117457"/>
                    </a:lnTo>
                    <a:lnTo>
                      <a:pt x="58824" y="175345"/>
                    </a:lnTo>
                    <a:lnTo>
                      <a:pt x="0" y="175345"/>
                    </a:lnTo>
                    <a:lnTo>
                      <a:pt x="0" y="117457"/>
                    </a:lnTo>
                    <a:lnTo>
                      <a:pt x="0" y="59698"/>
                    </a:lnTo>
                    <a:close/>
                    <a:moveTo>
                      <a:pt x="249997" y="0"/>
                    </a:moveTo>
                    <a:cubicBezTo>
                      <a:pt x="266240" y="0"/>
                      <a:pt x="279408" y="12960"/>
                      <a:pt x="279408" y="28945"/>
                    </a:cubicBezTo>
                    <a:cubicBezTo>
                      <a:pt x="279408" y="44931"/>
                      <a:pt x="266240" y="57890"/>
                      <a:pt x="249997" y="57890"/>
                    </a:cubicBezTo>
                    <a:cubicBezTo>
                      <a:pt x="233752" y="57890"/>
                      <a:pt x="220584" y="44931"/>
                      <a:pt x="220584" y="28945"/>
                    </a:cubicBezTo>
                    <a:cubicBezTo>
                      <a:pt x="220584" y="12960"/>
                      <a:pt x="233752" y="0"/>
                      <a:pt x="249997" y="0"/>
                    </a:cubicBezTo>
                    <a:close/>
                  </a:path>
                </a:pathLst>
              </a:custGeom>
              <a:solidFill>
                <a:srgbClr val="FFFFFF"/>
              </a:solidFill>
              <a:ln w="9525" cap="flat">
                <a:noFill/>
                <a:prstDash val="solid"/>
                <a:miter/>
              </a:ln>
            </p:spPr>
            <p:txBody>
              <a:bodyPr wrap="square" rtlCol="0" anchor="ctr">
                <a:noAutofit/>
              </a:bodyPr>
              <a:lstStyle/>
              <a:p>
                <a:endParaRPr lang="en-US"/>
              </a:p>
            </p:txBody>
          </p:sp>
        </p:grpSp>
        <p:sp>
          <p:nvSpPr>
            <p:cNvPr id="32" name="Freeform 31">
              <a:extLst>
                <a:ext uri="{FF2B5EF4-FFF2-40B4-BE49-F238E27FC236}">
                  <a16:creationId xmlns:a16="http://schemas.microsoft.com/office/drawing/2014/main" id="{319ADA1A-86D5-8541-BCC7-6D86FFA4F7F1}"/>
                </a:ext>
              </a:extLst>
            </p:cNvPr>
            <p:cNvSpPr/>
            <p:nvPr/>
          </p:nvSpPr>
          <p:spPr>
            <a:xfrm>
              <a:off x="701664" y="6524947"/>
              <a:ext cx="555792" cy="129021"/>
            </a:xfrm>
            <a:custGeom>
              <a:avLst/>
              <a:gdLst>
                <a:gd name="connsiteX0" fmla="*/ 364489 w 555792"/>
                <a:gd name="connsiteY0" fmla="*/ 61830 h 129021"/>
                <a:gd name="connsiteX1" fmla="*/ 343312 w 555792"/>
                <a:gd name="connsiteY1" fmla="*/ 82670 h 129021"/>
                <a:gd name="connsiteX2" fmla="*/ 364489 w 555792"/>
                <a:gd name="connsiteY2" fmla="*/ 106926 h 129021"/>
                <a:gd name="connsiteX3" fmla="*/ 367960 w 555792"/>
                <a:gd name="connsiteY3" fmla="*/ 106926 h 129021"/>
                <a:gd name="connsiteX4" fmla="*/ 389136 w 555792"/>
                <a:gd name="connsiteY4" fmla="*/ 82670 h 129021"/>
                <a:gd name="connsiteX5" fmla="*/ 364489 w 555792"/>
                <a:gd name="connsiteY5" fmla="*/ 61830 h 129021"/>
                <a:gd name="connsiteX6" fmla="*/ 255246 w 555792"/>
                <a:gd name="connsiteY6" fmla="*/ 41285 h 129021"/>
                <a:gd name="connsiteX7" fmla="*/ 280588 w 555792"/>
                <a:gd name="connsiteY7" fmla="*/ 41285 h 129021"/>
                <a:gd name="connsiteX8" fmla="*/ 280588 w 555792"/>
                <a:gd name="connsiteY8" fmla="*/ 126955 h 129021"/>
                <a:gd name="connsiteX9" fmla="*/ 255246 w 555792"/>
                <a:gd name="connsiteY9" fmla="*/ 126955 h 129021"/>
                <a:gd name="connsiteX10" fmla="*/ 121846 w 555792"/>
                <a:gd name="connsiteY10" fmla="*/ 40770 h 129021"/>
                <a:gd name="connsiteX11" fmla="*/ 147188 w 555792"/>
                <a:gd name="connsiteY11" fmla="*/ 40770 h 129021"/>
                <a:gd name="connsiteX12" fmla="*/ 147188 w 555792"/>
                <a:gd name="connsiteY12" fmla="*/ 126439 h 129021"/>
                <a:gd name="connsiteX13" fmla="*/ 121846 w 555792"/>
                <a:gd name="connsiteY13" fmla="*/ 126439 h 129021"/>
                <a:gd name="connsiteX14" fmla="*/ 301329 w 555792"/>
                <a:gd name="connsiteY14" fmla="*/ 40638 h 129021"/>
                <a:gd name="connsiteX15" fmla="*/ 301859 w 555792"/>
                <a:gd name="connsiteY15" fmla="*/ 40638 h 129021"/>
                <a:gd name="connsiteX16" fmla="*/ 316958 w 555792"/>
                <a:gd name="connsiteY16" fmla="*/ 55499 h 129021"/>
                <a:gd name="connsiteX17" fmla="*/ 301859 w 555792"/>
                <a:gd name="connsiteY17" fmla="*/ 70359 h 129021"/>
                <a:gd name="connsiteX18" fmla="*/ 286885 w 555792"/>
                <a:gd name="connsiteY18" fmla="*/ 55893 h 129021"/>
                <a:gd name="connsiteX19" fmla="*/ 286890 w 555792"/>
                <a:gd name="connsiteY19" fmla="*/ 55370 h 129021"/>
                <a:gd name="connsiteX20" fmla="*/ 301329 w 555792"/>
                <a:gd name="connsiteY20" fmla="*/ 40638 h 129021"/>
                <a:gd name="connsiteX21" fmla="*/ 468871 w 555792"/>
                <a:gd name="connsiteY21" fmla="*/ 39863 h 129021"/>
                <a:gd name="connsiteX22" fmla="*/ 495131 w 555792"/>
                <a:gd name="connsiteY22" fmla="*/ 55240 h 129021"/>
                <a:gd name="connsiteX23" fmla="*/ 524542 w 555792"/>
                <a:gd name="connsiteY23" fmla="*/ 39863 h 129021"/>
                <a:gd name="connsiteX24" fmla="*/ 555716 w 555792"/>
                <a:gd name="connsiteY24" fmla="*/ 66406 h 129021"/>
                <a:gd name="connsiteX25" fmla="*/ 555792 w 555792"/>
                <a:gd name="connsiteY25" fmla="*/ 68678 h 129021"/>
                <a:gd name="connsiteX26" fmla="*/ 555792 w 555792"/>
                <a:gd name="connsiteY26" fmla="*/ 126954 h 129021"/>
                <a:gd name="connsiteX27" fmla="*/ 530582 w 555792"/>
                <a:gd name="connsiteY27" fmla="*/ 126954 h 129021"/>
                <a:gd name="connsiteX28" fmla="*/ 530582 w 555792"/>
                <a:gd name="connsiteY28" fmla="*/ 75914 h 129021"/>
                <a:gd name="connsiteX29" fmla="*/ 519946 w 555792"/>
                <a:gd name="connsiteY29" fmla="*/ 60936 h 129021"/>
                <a:gd name="connsiteX30" fmla="*/ 516402 w 555792"/>
                <a:gd name="connsiteY30" fmla="*/ 60796 h 129021"/>
                <a:gd name="connsiteX31" fmla="*/ 499858 w 555792"/>
                <a:gd name="connsiteY31" fmla="*/ 83150 h 129021"/>
                <a:gd name="connsiteX32" fmla="*/ 499858 w 555792"/>
                <a:gd name="connsiteY32" fmla="*/ 126954 h 129021"/>
                <a:gd name="connsiteX33" fmla="*/ 474780 w 555792"/>
                <a:gd name="connsiteY33" fmla="*/ 126954 h 129021"/>
                <a:gd name="connsiteX34" fmla="*/ 474780 w 555792"/>
                <a:gd name="connsiteY34" fmla="*/ 75914 h 129021"/>
                <a:gd name="connsiteX35" fmla="*/ 464116 w 555792"/>
                <a:gd name="connsiteY35" fmla="*/ 60954 h 129021"/>
                <a:gd name="connsiteX36" fmla="*/ 460862 w 555792"/>
                <a:gd name="connsiteY36" fmla="*/ 60796 h 129021"/>
                <a:gd name="connsiteX37" fmla="*/ 444318 w 555792"/>
                <a:gd name="connsiteY37" fmla="*/ 83150 h 129021"/>
                <a:gd name="connsiteX38" fmla="*/ 444318 w 555792"/>
                <a:gd name="connsiteY38" fmla="*/ 126954 h 129021"/>
                <a:gd name="connsiteX39" fmla="*/ 418977 w 555792"/>
                <a:gd name="connsiteY39" fmla="*/ 126954 h 129021"/>
                <a:gd name="connsiteX40" fmla="*/ 418977 w 555792"/>
                <a:gd name="connsiteY40" fmla="*/ 41285 h 129021"/>
                <a:gd name="connsiteX41" fmla="*/ 444318 w 555792"/>
                <a:gd name="connsiteY41" fmla="*/ 41285 h 129021"/>
                <a:gd name="connsiteX42" fmla="*/ 444318 w 555792"/>
                <a:gd name="connsiteY42" fmla="*/ 52785 h 129021"/>
                <a:gd name="connsiteX43" fmla="*/ 468871 w 555792"/>
                <a:gd name="connsiteY43" fmla="*/ 39863 h 129021"/>
                <a:gd name="connsiteX44" fmla="*/ 364489 w 555792"/>
                <a:gd name="connsiteY44" fmla="*/ 39863 h 129021"/>
                <a:gd name="connsiteX45" fmla="*/ 409656 w 555792"/>
                <a:gd name="connsiteY45" fmla="*/ 84443 h 129021"/>
                <a:gd name="connsiteX46" fmla="*/ 409656 w 555792"/>
                <a:gd name="connsiteY46" fmla="*/ 84572 h 129021"/>
                <a:gd name="connsiteX47" fmla="*/ 364227 w 555792"/>
                <a:gd name="connsiteY47" fmla="*/ 129021 h 129021"/>
                <a:gd name="connsiteX48" fmla="*/ 319059 w 555792"/>
                <a:gd name="connsiteY48" fmla="*/ 84313 h 129021"/>
                <a:gd name="connsiteX49" fmla="*/ 364489 w 555792"/>
                <a:gd name="connsiteY49" fmla="*/ 39863 h 129021"/>
                <a:gd name="connsiteX50" fmla="*/ 0 w 555792"/>
                <a:gd name="connsiteY50" fmla="*/ 7947 h 129021"/>
                <a:gd name="connsiteX51" fmla="*/ 27179 w 555792"/>
                <a:gd name="connsiteY51" fmla="*/ 7947 h 129021"/>
                <a:gd name="connsiteX52" fmla="*/ 27179 w 555792"/>
                <a:gd name="connsiteY52" fmla="*/ 54206 h 129021"/>
                <a:gd name="connsiteX53" fmla="*/ 75236 w 555792"/>
                <a:gd name="connsiteY53" fmla="*/ 54206 h 129021"/>
                <a:gd name="connsiteX54" fmla="*/ 75236 w 555792"/>
                <a:gd name="connsiteY54" fmla="*/ 7947 h 129021"/>
                <a:gd name="connsiteX55" fmla="*/ 102678 w 555792"/>
                <a:gd name="connsiteY55" fmla="*/ 7947 h 129021"/>
                <a:gd name="connsiteX56" fmla="*/ 102678 w 555792"/>
                <a:gd name="connsiteY56" fmla="*/ 126954 h 129021"/>
                <a:gd name="connsiteX57" fmla="*/ 75236 w 555792"/>
                <a:gd name="connsiteY57" fmla="*/ 126954 h 129021"/>
                <a:gd name="connsiteX58" fmla="*/ 75236 w 555792"/>
                <a:gd name="connsiteY58" fmla="*/ 77207 h 129021"/>
                <a:gd name="connsiteX59" fmla="*/ 27179 w 555792"/>
                <a:gd name="connsiteY59" fmla="*/ 77207 h 129021"/>
                <a:gd name="connsiteX60" fmla="*/ 27179 w 555792"/>
                <a:gd name="connsiteY60" fmla="*/ 126954 h 129021"/>
                <a:gd name="connsiteX61" fmla="*/ 0 w 555792"/>
                <a:gd name="connsiteY61" fmla="*/ 126954 h 129021"/>
                <a:gd name="connsiteX62" fmla="*/ 210736 w 555792"/>
                <a:gd name="connsiteY62" fmla="*/ 6526 h 129021"/>
                <a:gd name="connsiteX63" fmla="*/ 236078 w 555792"/>
                <a:gd name="connsiteY63" fmla="*/ 6526 h 129021"/>
                <a:gd name="connsiteX64" fmla="*/ 236078 w 555792"/>
                <a:gd name="connsiteY64" fmla="*/ 126955 h 129021"/>
                <a:gd name="connsiteX65" fmla="*/ 210736 w 555792"/>
                <a:gd name="connsiteY65" fmla="*/ 126955 h 129021"/>
                <a:gd name="connsiteX66" fmla="*/ 166619 w 555792"/>
                <a:gd name="connsiteY66" fmla="*/ 6526 h 129021"/>
                <a:gd name="connsiteX67" fmla="*/ 192093 w 555792"/>
                <a:gd name="connsiteY67" fmla="*/ 6526 h 129021"/>
                <a:gd name="connsiteX68" fmla="*/ 192093 w 555792"/>
                <a:gd name="connsiteY68" fmla="*/ 126955 h 129021"/>
                <a:gd name="connsiteX69" fmla="*/ 166619 w 555792"/>
                <a:gd name="connsiteY69" fmla="*/ 126955 h 129021"/>
                <a:gd name="connsiteX70" fmla="*/ 134188 w 555792"/>
                <a:gd name="connsiteY70" fmla="*/ 66 h 129021"/>
                <a:gd name="connsiteX71" fmla="*/ 134452 w 555792"/>
                <a:gd name="connsiteY71" fmla="*/ 66 h 129021"/>
                <a:gd name="connsiteX72" fmla="*/ 151030 w 555792"/>
                <a:gd name="connsiteY72" fmla="*/ 13600 h 129021"/>
                <a:gd name="connsiteX73" fmla="*/ 137277 w 555792"/>
                <a:gd name="connsiteY73" fmla="*/ 29915 h 129021"/>
                <a:gd name="connsiteX74" fmla="*/ 134452 w 555792"/>
                <a:gd name="connsiteY74" fmla="*/ 29915 h 129021"/>
                <a:gd name="connsiteX75" fmla="*/ 119350 w 555792"/>
                <a:gd name="connsiteY75" fmla="*/ 15316 h 129021"/>
                <a:gd name="connsiteX76" fmla="*/ 119352 w 555792"/>
                <a:gd name="connsiteY76" fmla="*/ 14926 h 129021"/>
                <a:gd name="connsiteX77" fmla="*/ 134188 w 555792"/>
                <a:gd name="connsiteY77" fmla="*/ 66 h 129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555792" h="129021">
                  <a:moveTo>
                    <a:pt x="364489" y="61830"/>
                  </a:moveTo>
                  <a:cubicBezTo>
                    <a:pt x="353167" y="62674"/>
                    <a:pt x="344170" y="71529"/>
                    <a:pt x="343312" y="82670"/>
                  </a:cubicBezTo>
                  <a:cubicBezTo>
                    <a:pt x="342353" y="95123"/>
                    <a:pt x="351834" y="105983"/>
                    <a:pt x="364489" y="106926"/>
                  </a:cubicBezTo>
                  <a:cubicBezTo>
                    <a:pt x="365644" y="107012"/>
                    <a:pt x="366805" y="107012"/>
                    <a:pt x="367960" y="106926"/>
                  </a:cubicBezTo>
                  <a:cubicBezTo>
                    <a:pt x="380614" y="105983"/>
                    <a:pt x="390095" y="95123"/>
                    <a:pt x="389136" y="82670"/>
                  </a:cubicBezTo>
                  <a:cubicBezTo>
                    <a:pt x="388178" y="70217"/>
                    <a:pt x="377143" y="60887"/>
                    <a:pt x="364489" y="61830"/>
                  </a:cubicBezTo>
                  <a:close/>
                  <a:moveTo>
                    <a:pt x="255246" y="41285"/>
                  </a:moveTo>
                  <a:lnTo>
                    <a:pt x="280588" y="41285"/>
                  </a:lnTo>
                  <a:lnTo>
                    <a:pt x="280588" y="126955"/>
                  </a:lnTo>
                  <a:lnTo>
                    <a:pt x="255246" y="126955"/>
                  </a:lnTo>
                  <a:close/>
                  <a:moveTo>
                    <a:pt x="121846" y="40770"/>
                  </a:moveTo>
                  <a:lnTo>
                    <a:pt x="147188" y="40770"/>
                  </a:lnTo>
                  <a:lnTo>
                    <a:pt x="147188" y="126439"/>
                  </a:lnTo>
                  <a:lnTo>
                    <a:pt x="121846" y="126439"/>
                  </a:lnTo>
                  <a:close/>
                  <a:moveTo>
                    <a:pt x="301329" y="40638"/>
                  </a:moveTo>
                  <a:cubicBezTo>
                    <a:pt x="301505" y="40635"/>
                    <a:pt x="301682" y="40635"/>
                    <a:pt x="301859" y="40638"/>
                  </a:cubicBezTo>
                  <a:cubicBezTo>
                    <a:pt x="310198" y="40638"/>
                    <a:pt x="316958" y="47292"/>
                    <a:pt x="316958" y="55499"/>
                  </a:cubicBezTo>
                  <a:cubicBezTo>
                    <a:pt x="316958" y="63706"/>
                    <a:pt x="310198" y="70359"/>
                    <a:pt x="301859" y="70359"/>
                  </a:cubicBezTo>
                  <a:cubicBezTo>
                    <a:pt x="293664" y="70433"/>
                    <a:pt x="286961" y="63956"/>
                    <a:pt x="286885" y="55893"/>
                  </a:cubicBezTo>
                  <a:cubicBezTo>
                    <a:pt x="286883" y="55718"/>
                    <a:pt x="286885" y="55544"/>
                    <a:pt x="286890" y="55370"/>
                  </a:cubicBezTo>
                  <a:cubicBezTo>
                    <a:pt x="286743" y="47379"/>
                    <a:pt x="293207" y="40783"/>
                    <a:pt x="301329" y="40638"/>
                  </a:cubicBezTo>
                  <a:close/>
                  <a:moveTo>
                    <a:pt x="468871" y="39863"/>
                  </a:moveTo>
                  <a:cubicBezTo>
                    <a:pt x="480066" y="38933"/>
                    <a:pt x="490621" y="45114"/>
                    <a:pt x="495131" y="55240"/>
                  </a:cubicBezTo>
                  <a:cubicBezTo>
                    <a:pt x="501466" y="45339"/>
                    <a:pt x="512660" y="39487"/>
                    <a:pt x="524542" y="39863"/>
                  </a:cubicBezTo>
                  <a:cubicBezTo>
                    <a:pt x="540599" y="38721"/>
                    <a:pt x="554556" y="50605"/>
                    <a:pt x="555716" y="66406"/>
                  </a:cubicBezTo>
                  <a:cubicBezTo>
                    <a:pt x="555772" y="67162"/>
                    <a:pt x="555797" y="67920"/>
                    <a:pt x="555792" y="68678"/>
                  </a:cubicBezTo>
                  <a:lnTo>
                    <a:pt x="555792" y="126954"/>
                  </a:lnTo>
                  <a:lnTo>
                    <a:pt x="530582" y="126954"/>
                  </a:lnTo>
                  <a:lnTo>
                    <a:pt x="530582" y="75914"/>
                  </a:lnTo>
                  <a:cubicBezTo>
                    <a:pt x="531848" y="68888"/>
                    <a:pt x="527086" y="62181"/>
                    <a:pt x="519946" y="60936"/>
                  </a:cubicBezTo>
                  <a:cubicBezTo>
                    <a:pt x="518776" y="60732"/>
                    <a:pt x="517584" y="60685"/>
                    <a:pt x="516402" y="60796"/>
                  </a:cubicBezTo>
                  <a:cubicBezTo>
                    <a:pt x="505898" y="60796"/>
                    <a:pt x="499858" y="69324"/>
                    <a:pt x="499858" y="83150"/>
                  </a:cubicBezTo>
                  <a:lnTo>
                    <a:pt x="499858" y="126954"/>
                  </a:lnTo>
                  <a:lnTo>
                    <a:pt x="474780" y="126954"/>
                  </a:lnTo>
                  <a:lnTo>
                    <a:pt x="474780" y="75914"/>
                  </a:lnTo>
                  <a:cubicBezTo>
                    <a:pt x="476033" y="68885"/>
                    <a:pt x="471259" y="62187"/>
                    <a:pt x="464116" y="60954"/>
                  </a:cubicBezTo>
                  <a:cubicBezTo>
                    <a:pt x="463043" y="60769"/>
                    <a:pt x="461949" y="60716"/>
                    <a:pt x="460862" y="60796"/>
                  </a:cubicBezTo>
                  <a:cubicBezTo>
                    <a:pt x="450489" y="60796"/>
                    <a:pt x="444318" y="69454"/>
                    <a:pt x="444318" y="83150"/>
                  </a:cubicBezTo>
                  <a:lnTo>
                    <a:pt x="444318" y="126954"/>
                  </a:lnTo>
                  <a:lnTo>
                    <a:pt x="418977" y="126954"/>
                  </a:lnTo>
                  <a:lnTo>
                    <a:pt x="418977" y="41285"/>
                  </a:lnTo>
                  <a:lnTo>
                    <a:pt x="444318" y="41285"/>
                  </a:lnTo>
                  <a:lnTo>
                    <a:pt x="444318" y="52785"/>
                  </a:lnTo>
                  <a:cubicBezTo>
                    <a:pt x="449587" y="44489"/>
                    <a:pt x="458935" y="39570"/>
                    <a:pt x="468871" y="39863"/>
                  </a:cubicBezTo>
                  <a:close/>
                  <a:moveTo>
                    <a:pt x="364489" y="39863"/>
                  </a:moveTo>
                  <a:cubicBezTo>
                    <a:pt x="389455" y="39935"/>
                    <a:pt x="409656" y="59873"/>
                    <a:pt x="409656" y="84443"/>
                  </a:cubicBezTo>
                  <a:cubicBezTo>
                    <a:pt x="409656" y="84486"/>
                    <a:pt x="409656" y="84529"/>
                    <a:pt x="409656" y="84572"/>
                  </a:cubicBezTo>
                  <a:cubicBezTo>
                    <a:pt x="409583" y="109192"/>
                    <a:pt x="389244" y="129093"/>
                    <a:pt x="364227" y="129021"/>
                  </a:cubicBezTo>
                  <a:cubicBezTo>
                    <a:pt x="339208" y="128950"/>
                    <a:pt x="318986" y="108934"/>
                    <a:pt x="319059" y="84313"/>
                  </a:cubicBezTo>
                  <a:cubicBezTo>
                    <a:pt x="319131" y="59693"/>
                    <a:pt x="339471" y="39792"/>
                    <a:pt x="364489" y="39863"/>
                  </a:cubicBezTo>
                  <a:close/>
                  <a:moveTo>
                    <a:pt x="0" y="7947"/>
                  </a:moveTo>
                  <a:lnTo>
                    <a:pt x="27179" y="7947"/>
                  </a:lnTo>
                  <a:lnTo>
                    <a:pt x="27179" y="54206"/>
                  </a:lnTo>
                  <a:lnTo>
                    <a:pt x="75236" y="54206"/>
                  </a:lnTo>
                  <a:lnTo>
                    <a:pt x="75236" y="7947"/>
                  </a:lnTo>
                  <a:lnTo>
                    <a:pt x="102678" y="7947"/>
                  </a:lnTo>
                  <a:lnTo>
                    <a:pt x="102678" y="126954"/>
                  </a:lnTo>
                  <a:lnTo>
                    <a:pt x="75236" y="126954"/>
                  </a:lnTo>
                  <a:lnTo>
                    <a:pt x="75236" y="77207"/>
                  </a:lnTo>
                  <a:lnTo>
                    <a:pt x="27179" y="77207"/>
                  </a:lnTo>
                  <a:lnTo>
                    <a:pt x="27179" y="126954"/>
                  </a:lnTo>
                  <a:lnTo>
                    <a:pt x="0" y="126954"/>
                  </a:lnTo>
                  <a:close/>
                  <a:moveTo>
                    <a:pt x="210736" y="6526"/>
                  </a:moveTo>
                  <a:lnTo>
                    <a:pt x="236078" y="6526"/>
                  </a:lnTo>
                  <a:lnTo>
                    <a:pt x="236078" y="126955"/>
                  </a:lnTo>
                  <a:lnTo>
                    <a:pt x="210736" y="126955"/>
                  </a:lnTo>
                  <a:close/>
                  <a:moveTo>
                    <a:pt x="166619" y="6526"/>
                  </a:moveTo>
                  <a:lnTo>
                    <a:pt x="192093" y="6526"/>
                  </a:lnTo>
                  <a:lnTo>
                    <a:pt x="192093" y="126955"/>
                  </a:lnTo>
                  <a:lnTo>
                    <a:pt x="166619" y="126955"/>
                  </a:lnTo>
                  <a:close/>
                  <a:moveTo>
                    <a:pt x="134188" y="66"/>
                  </a:moveTo>
                  <a:cubicBezTo>
                    <a:pt x="134276" y="65"/>
                    <a:pt x="134364" y="65"/>
                    <a:pt x="134452" y="66"/>
                  </a:cubicBezTo>
                  <a:cubicBezTo>
                    <a:pt x="142828" y="-702"/>
                    <a:pt x="150250" y="5357"/>
                    <a:pt x="151030" y="13600"/>
                  </a:cubicBezTo>
                  <a:cubicBezTo>
                    <a:pt x="151810" y="21842"/>
                    <a:pt x="145653" y="29148"/>
                    <a:pt x="137277" y="29915"/>
                  </a:cubicBezTo>
                  <a:cubicBezTo>
                    <a:pt x="136338" y="30002"/>
                    <a:pt x="135392" y="30002"/>
                    <a:pt x="134452" y="29915"/>
                  </a:cubicBezTo>
                  <a:cubicBezTo>
                    <a:pt x="126185" y="29988"/>
                    <a:pt x="119424" y="23451"/>
                    <a:pt x="119350" y="15316"/>
                  </a:cubicBezTo>
                  <a:cubicBezTo>
                    <a:pt x="119349" y="15186"/>
                    <a:pt x="119349" y="15056"/>
                    <a:pt x="119352" y="14926"/>
                  </a:cubicBezTo>
                  <a:cubicBezTo>
                    <a:pt x="119279" y="6790"/>
                    <a:pt x="125921" y="137"/>
                    <a:pt x="134188" y="66"/>
                  </a:cubicBezTo>
                  <a:close/>
                </a:path>
              </a:pathLst>
            </a:custGeom>
            <a:solidFill>
              <a:srgbClr val="000839"/>
            </a:solidFill>
            <a:ln w="9525" cap="flat">
              <a:noFill/>
              <a:prstDash val="solid"/>
              <a:miter/>
            </a:ln>
          </p:spPr>
          <p:txBody>
            <a:bodyPr wrap="square" rtlCol="0" anchor="ctr">
              <a:noAutofit/>
            </a:bodyPr>
            <a:lstStyle/>
            <a:p>
              <a:endParaRPr lang="en-US"/>
            </a:p>
          </p:txBody>
        </p:sp>
      </p:grpSp>
      <p:sp>
        <p:nvSpPr>
          <p:cNvPr id="24" name="Subtitle 2">
            <a:extLst>
              <a:ext uri="{FF2B5EF4-FFF2-40B4-BE49-F238E27FC236}">
                <a16:creationId xmlns:a16="http://schemas.microsoft.com/office/drawing/2014/main" id="{81B25779-19DE-7D4E-A656-0639C7369897}"/>
              </a:ext>
            </a:extLst>
          </p:cNvPr>
          <p:cNvSpPr>
            <a:spLocks noGrp="1"/>
          </p:cNvSpPr>
          <p:nvPr>
            <p:ph type="subTitle" idx="1"/>
          </p:nvPr>
        </p:nvSpPr>
        <p:spPr>
          <a:xfrm>
            <a:off x="594812" y="2075959"/>
            <a:ext cx="6854203" cy="380487"/>
          </a:xfrm>
          <a:prstGeom prst="rect">
            <a:avLst/>
          </a:prstGeom>
        </p:spPr>
        <p:txBody>
          <a:bodyPr/>
          <a:lstStyle>
            <a:lvl1pPr marL="0" indent="0" algn="l">
              <a:buNone/>
              <a:defRPr sz="1600" b="1" i="0" cap="all" spc="50" baseline="0">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5" name="Title 8">
            <a:extLst>
              <a:ext uri="{FF2B5EF4-FFF2-40B4-BE49-F238E27FC236}">
                <a16:creationId xmlns:a16="http://schemas.microsoft.com/office/drawing/2014/main" id="{BA15B838-6368-4E40-9C24-1FC5BBDB7E13}"/>
              </a:ext>
            </a:extLst>
          </p:cNvPr>
          <p:cNvSpPr>
            <a:spLocks noGrp="1"/>
          </p:cNvSpPr>
          <p:nvPr>
            <p:ph type="title"/>
          </p:nvPr>
        </p:nvSpPr>
        <p:spPr>
          <a:xfrm>
            <a:off x="594812" y="914504"/>
            <a:ext cx="6854203" cy="1099898"/>
          </a:xfrm>
          <a:prstGeom prst="rect">
            <a:avLst/>
          </a:prstGeom>
        </p:spPr>
        <p:txBody>
          <a:bodyPr/>
          <a:lstStyle>
            <a:lvl1pPr>
              <a:lnSpc>
                <a:spcPct val="90000"/>
              </a:lnSpc>
              <a:defRPr b="1" i="0" cap="none" spc="0" baseline="0">
                <a:latin typeface="+mj-lt"/>
              </a:defRPr>
            </a:lvl1pPr>
          </a:lstStyle>
          <a:p>
            <a:r>
              <a:rPr lang="en-US"/>
              <a:t>Click to edit Master title style</a:t>
            </a:r>
          </a:p>
        </p:txBody>
      </p:sp>
      <p:sp>
        <p:nvSpPr>
          <p:cNvPr id="26" name="Slide Number Placeholder 5">
            <a:extLst>
              <a:ext uri="{FF2B5EF4-FFF2-40B4-BE49-F238E27FC236}">
                <a16:creationId xmlns:a16="http://schemas.microsoft.com/office/drawing/2014/main" id="{6AA0B4D3-F1D5-E840-816A-8B71734B0CEE}"/>
              </a:ext>
            </a:extLst>
          </p:cNvPr>
          <p:cNvSpPr>
            <a:spLocks noGrp="1"/>
          </p:cNvSpPr>
          <p:nvPr>
            <p:ph type="sldNum" sz="quarter" idx="4"/>
          </p:nvPr>
        </p:nvSpPr>
        <p:spPr>
          <a:xfrm>
            <a:off x="11537879" y="6325527"/>
            <a:ext cx="370726" cy="365125"/>
          </a:xfrm>
          <a:prstGeom prst="rect">
            <a:avLst/>
          </a:prstGeom>
        </p:spPr>
        <p:txBody>
          <a:bodyPr vert="horz" lIns="91440" tIns="45720" rIns="91440" bIns="45720" rtlCol="0" anchor="b"/>
          <a:lstStyle>
            <a:lvl1pPr algn="r">
              <a:defRPr sz="800" b="1" i="0">
                <a:solidFill>
                  <a:schemeClr val="tx1">
                    <a:tint val="75000"/>
                  </a:schemeClr>
                </a:solidFill>
                <a:latin typeface="+mj-lt"/>
              </a:defRPr>
            </a:lvl1pPr>
          </a:lstStyle>
          <a:p>
            <a:fld id="{EB3C441C-A16D-4531-8F9E-BFE4D57FBC82}" type="slidenum">
              <a:rPr lang="en-US" smtClean="0"/>
              <a:t>‹N°›</a:t>
            </a:fld>
            <a:endParaRPr lang="en-US"/>
          </a:p>
        </p:txBody>
      </p:sp>
      <p:sp>
        <p:nvSpPr>
          <p:cNvPr id="28" name="Content Placeholder 49">
            <a:extLst>
              <a:ext uri="{FF2B5EF4-FFF2-40B4-BE49-F238E27FC236}">
                <a16:creationId xmlns:a16="http://schemas.microsoft.com/office/drawing/2014/main" id="{05837D7A-AD1A-C94C-B320-C98614E0C816}"/>
              </a:ext>
            </a:extLst>
          </p:cNvPr>
          <p:cNvSpPr>
            <a:spLocks noGrp="1"/>
          </p:cNvSpPr>
          <p:nvPr>
            <p:ph sz="quarter" idx="11"/>
          </p:nvPr>
        </p:nvSpPr>
        <p:spPr>
          <a:xfrm>
            <a:off x="594812" y="3820135"/>
            <a:ext cx="11282114" cy="2123361"/>
          </a:xfrm>
          <a:prstGeom prst="rect">
            <a:avLst/>
          </a:prstGeom>
        </p:spPr>
        <p:txBody>
          <a:bodyPr/>
          <a:lstStyle>
            <a:lvl1pPr marL="0" indent="0">
              <a:lnSpc>
                <a:spcPct val="125000"/>
              </a:lnSpc>
              <a:spcBef>
                <a:spcPts val="0"/>
              </a:spcBef>
              <a:buNone/>
              <a:defRPr sz="1400"/>
            </a:lvl1pPr>
            <a:lvl2pPr marL="11113" indent="0">
              <a:lnSpc>
                <a:spcPct val="110000"/>
              </a:lnSpc>
              <a:spcBef>
                <a:spcPts val="0"/>
              </a:spcBef>
              <a:buNone/>
              <a:tabLst/>
              <a:defRPr sz="1400"/>
            </a:lvl2pPr>
            <a:lvl3pPr marL="230188" indent="-219075">
              <a:lnSpc>
                <a:spcPct val="110000"/>
              </a:lnSpc>
              <a:spcBef>
                <a:spcPts val="0"/>
              </a:spcBef>
              <a:spcAft>
                <a:spcPts val="0"/>
              </a:spcAft>
              <a:buFont typeface="System Font Regular"/>
              <a:buChar char="–"/>
              <a:tabLst/>
              <a:defRPr sz="1400"/>
            </a:lvl3pPr>
            <a:lvl4pPr marL="342900" indent="-176213">
              <a:lnSpc>
                <a:spcPct val="110000"/>
              </a:lnSpc>
              <a:spcBef>
                <a:spcPts val="0"/>
              </a:spcBef>
              <a:buFont typeface="System Font Regular"/>
              <a:buChar char="+"/>
              <a:tabLst/>
              <a:defRPr sz="1400"/>
            </a:lvl4pPr>
            <a:lvl5pPr marL="574675" indent="-176213">
              <a:lnSpc>
                <a:spcPct val="110000"/>
              </a:lnSpc>
              <a:spcBef>
                <a:spcPts val="0"/>
              </a:spcBef>
              <a:buFont typeface="System Font Regular"/>
              <a:buChar char="–"/>
              <a:tabLst/>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51">
            <a:extLst>
              <a:ext uri="{FF2B5EF4-FFF2-40B4-BE49-F238E27FC236}">
                <a16:creationId xmlns:a16="http://schemas.microsoft.com/office/drawing/2014/main" id="{0207D31D-BC9A-4240-AD71-3BE1FF850079}"/>
              </a:ext>
            </a:extLst>
          </p:cNvPr>
          <p:cNvSpPr>
            <a:spLocks noGrp="1"/>
          </p:cNvSpPr>
          <p:nvPr>
            <p:ph type="body" sz="quarter" idx="12"/>
          </p:nvPr>
        </p:nvSpPr>
        <p:spPr>
          <a:xfrm>
            <a:off x="594812" y="2724750"/>
            <a:ext cx="11282114" cy="762000"/>
          </a:xfrm>
          <a:prstGeom prst="rect">
            <a:avLst/>
          </a:prstGeom>
        </p:spPr>
        <p:txBody>
          <a:bodyPr>
            <a:noAutofit/>
          </a:bodyPr>
          <a:lstStyle>
            <a:lvl1pPr marL="0" indent="0">
              <a:lnSpc>
                <a:spcPct val="125000"/>
              </a:lnSpc>
              <a:spcBef>
                <a:spcPts val="0"/>
              </a:spcBef>
              <a:buNone/>
              <a:defRPr sz="2400"/>
            </a:lvl1pPr>
            <a:lvl2pPr marL="0" indent="0">
              <a:buNone/>
              <a:defRPr/>
            </a:lvl2pPr>
          </a:lstStyle>
          <a:p>
            <a:pPr lvl="0"/>
            <a:r>
              <a:rPr lang="en-US"/>
              <a:t>Edit Master text styles</a:t>
            </a:r>
          </a:p>
        </p:txBody>
      </p:sp>
      <p:sp>
        <p:nvSpPr>
          <p:cNvPr id="30" name="Footer Placeholder 54">
            <a:extLst>
              <a:ext uri="{FF2B5EF4-FFF2-40B4-BE49-F238E27FC236}">
                <a16:creationId xmlns:a16="http://schemas.microsoft.com/office/drawing/2014/main" id="{FBF5E17B-C670-4E4D-BB7F-743CB1137D68}"/>
              </a:ext>
            </a:extLst>
          </p:cNvPr>
          <p:cNvSpPr>
            <a:spLocks noGrp="1"/>
          </p:cNvSpPr>
          <p:nvPr>
            <p:ph type="ftr" sz="quarter" idx="15"/>
          </p:nvPr>
        </p:nvSpPr>
        <p:spPr>
          <a:xfrm>
            <a:off x="1819551" y="6340392"/>
            <a:ext cx="4114800" cy="365125"/>
          </a:xfrm>
          <a:prstGeom prst="rect">
            <a:avLst/>
          </a:prstGeom>
        </p:spPr>
        <p:txBody>
          <a:bodyPr anchor="b" anchorCtr="0"/>
          <a:lstStyle>
            <a:lvl1pPr>
              <a:defRPr sz="700">
                <a:solidFill>
                  <a:schemeClr val="accent2"/>
                </a:solidFill>
              </a:defRPr>
            </a:lvl1pPr>
          </a:lstStyle>
          <a:p>
            <a:endParaRPr lang="en-US"/>
          </a:p>
        </p:txBody>
      </p:sp>
      <p:sp>
        <p:nvSpPr>
          <p:cNvPr id="31" name="Text Placeholder 3">
            <a:extLst>
              <a:ext uri="{FF2B5EF4-FFF2-40B4-BE49-F238E27FC236}">
                <a16:creationId xmlns:a16="http://schemas.microsoft.com/office/drawing/2014/main" id="{B34AECDF-FC3D-2E4E-910C-170B151F2064}"/>
              </a:ext>
            </a:extLst>
          </p:cNvPr>
          <p:cNvSpPr>
            <a:spLocks noGrp="1"/>
          </p:cNvSpPr>
          <p:nvPr>
            <p:ph type="body" sz="quarter" idx="13"/>
          </p:nvPr>
        </p:nvSpPr>
        <p:spPr>
          <a:xfrm>
            <a:off x="688350" y="498222"/>
            <a:ext cx="1997663" cy="244682"/>
          </a:xfrm>
          <a:prstGeom prst="rect">
            <a:avLst/>
          </a:prstGeom>
          <a:solidFill>
            <a:schemeClr val="accent1"/>
          </a:solidFill>
          <a:ln>
            <a:noFill/>
          </a:ln>
        </p:spPr>
        <p:txBody>
          <a:bodyPr wrap="none" anchor="ctr">
            <a:spAutoFit/>
          </a:bodyPr>
          <a:lstStyle>
            <a:lvl1pPr marL="0" indent="0">
              <a:buNone/>
              <a:defRPr sz="1100" b="1" cap="all" spc="50" baseline="0">
                <a:solidFill>
                  <a:schemeClr val="bg1"/>
                </a:solidFill>
                <a:latin typeface="+mj-lt"/>
              </a:defRPr>
            </a:lvl1pPr>
          </a:lstStyle>
          <a:p>
            <a:pPr lvl="0"/>
            <a:r>
              <a:rPr lang="en-US"/>
              <a:t>Edit Master text styles</a:t>
            </a:r>
          </a:p>
        </p:txBody>
      </p:sp>
    </p:spTree>
    <p:extLst>
      <p:ext uri="{BB962C8B-B14F-4D97-AF65-F5344CB8AC3E}">
        <p14:creationId xmlns:p14="http://schemas.microsoft.com/office/powerpoint/2010/main" val="432793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Body - 1 Column / Subhead">
    <p:spTree>
      <p:nvGrpSpPr>
        <p:cNvPr id="1" name=""/>
        <p:cNvGrpSpPr/>
        <p:nvPr/>
      </p:nvGrpSpPr>
      <p:grpSpPr>
        <a:xfrm>
          <a:off x="0" y="0"/>
          <a:ext cx="0" cy="0"/>
          <a:chOff x="0" y="0"/>
          <a:chExt cx="0" cy="0"/>
        </a:xfrm>
      </p:grpSpPr>
      <p:sp>
        <p:nvSpPr>
          <p:cNvPr id="25" name="Slide Number Placeholder 5">
            <a:extLst>
              <a:ext uri="{FF2B5EF4-FFF2-40B4-BE49-F238E27FC236}">
                <a16:creationId xmlns:a16="http://schemas.microsoft.com/office/drawing/2014/main" id="{67D1DBF5-3FAD-C943-A2B4-E0629269A9BF}"/>
              </a:ext>
            </a:extLst>
          </p:cNvPr>
          <p:cNvSpPr>
            <a:spLocks noGrp="1"/>
          </p:cNvSpPr>
          <p:nvPr>
            <p:ph type="sldNum" sz="quarter" idx="4"/>
          </p:nvPr>
        </p:nvSpPr>
        <p:spPr>
          <a:xfrm>
            <a:off x="11537879" y="6325527"/>
            <a:ext cx="370726" cy="365125"/>
          </a:xfrm>
          <a:prstGeom prst="rect">
            <a:avLst/>
          </a:prstGeom>
        </p:spPr>
        <p:txBody>
          <a:bodyPr vert="horz" lIns="91440" tIns="45720" rIns="91440" bIns="45720" rtlCol="0" anchor="b"/>
          <a:lstStyle>
            <a:lvl1pPr algn="r">
              <a:defRPr sz="800" b="1" i="0">
                <a:solidFill>
                  <a:schemeClr val="tx1">
                    <a:tint val="75000"/>
                  </a:schemeClr>
                </a:solidFill>
                <a:latin typeface="+mj-lt"/>
              </a:defRPr>
            </a:lvl1pPr>
          </a:lstStyle>
          <a:p>
            <a:fld id="{EB3C441C-A16D-4531-8F9E-BFE4D57FBC82}" type="slidenum">
              <a:rPr lang="en-US" smtClean="0"/>
              <a:t>‹N°›</a:t>
            </a:fld>
            <a:endParaRPr lang="en-US"/>
          </a:p>
        </p:txBody>
      </p:sp>
      <p:sp>
        <p:nvSpPr>
          <p:cNvPr id="24" name="Footer Placeholder 54">
            <a:extLst>
              <a:ext uri="{FF2B5EF4-FFF2-40B4-BE49-F238E27FC236}">
                <a16:creationId xmlns:a16="http://schemas.microsoft.com/office/drawing/2014/main" id="{3A1AEB9E-3036-D04B-8521-3BB95E60D6DD}"/>
              </a:ext>
            </a:extLst>
          </p:cNvPr>
          <p:cNvSpPr>
            <a:spLocks noGrp="1"/>
          </p:cNvSpPr>
          <p:nvPr>
            <p:ph type="ftr" sz="quarter" idx="15"/>
          </p:nvPr>
        </p:nvSpPr>
        <p:spPr>
          <a:xfrm>
            <a:off x="1819551" y="6340392"/>
            <a:ext cx="4114800" cy="365125"/>
          </a:xfrm>
          <a:prstGeom prst="rect">
            <a:avLst/>
          </a:prstGeom>
        </p:spPr>
        <p:txBody>
          <a:bodyPr anchor="b" anchorCtr="0"/>
          <a:lstStyle>
            <a:lvl1pPr>
              <a:defRPr sz="700">
                <a:solidFill>
                  <a:schemeClr val="accent2"/>
                </a:solidFill>
              </a:defRPr>
            </a:lvl1pPr>
          </a:lstStyle>
          <a:p>
            <a:endParaRPr lang="en-US"/>
          </a:p>
        </p:txBody>
      </p:sp>
      <p:sp>
        <p:nvSpPr>
          <p:cNvPr id="21" name="Text Placeholder 3">
            <a:extLst>
              <a:ext uri="{FF2B5EF4-FFF2-40B4-BE49-F238E27FC236}">
                <a16:creationId xmlns:a16="http://schemas.microsoft.com/office/drawing/2014/main" id="{1CC6DFC9-A174-B847-95C1-DFC8F39BFCB4}"/>
              </a:ext>
            </a:extLst>
          </p:cNvPr>
          <p:cNvSpPr>
            <a:spLocks noGrp="1"/>
          </p:cNvSpPr>
          <p:nvPr>
            <p:ph type="body" sz="quarter" idx="13"/>
          </p:nvPr>
        </p:nvSpPr>
        <p:spPr>
          <a:xfrm>
            <a:off x="688350" y="498222"/>
            <a:ext cx="1997663" cy="244682"/>
          </a:xfrm>
          <a:prstGeom prst="rect">
            <a:avLst/>
          </a:prstGeom>
          <a:solidFill>
            <a:schemeClr val="accent1"/>
          </a:solidFill>
          <a:ln>
            <a:noFill/>
          </a:ln>
        </p:spPr>
        <p:txBody>
          <a:bodyPr wrap="none" anchor="ctr">
            <a:spAutoFit/>
          </a:bodyPr>
          <a:lstStyle>
            <a:lvl1pPr marL="0" indent="0">
              <a:buNone/>
              <a:defRPr sz="1100" b="1" cap="all" spc="50" baseline="0">
                <a:solidFill>
                  <a:schemeClr val="bg1"/>
                </a:solidFill>
                <a:latin typeface="+mj-lt"/>
              </a:defRPr>
            </a:lvl1pPr>
          </a:lstStyle>
          <a:p>
            <a:pPr lvl="0"/>
            <a:r>
              <a:rPr lang="en-US"/>
              <a:t>Edit Master text styles</a:t>
            </a:r>
          </a:p>
        </p:txBody>
      </p:sp>
      <p:sp>
        <p:nvSpPr>
          <p:cNvPr id="22" name="Subtitle 2">
            <a:extLst>
              <a:ext uri="{FF2B5EF4-FFF2-40B4-BE49-F238E27FC236}">
                <a16:creationId xmlns:a16="http://schemas.microsoft.com/office/drawing/2014/main" id="{9F84C77A-3DC9-2F4C-A519-EFB70BE649A9}"/>
              </a:ext>
            </a:extLst>
          </p:cNvPr>
          <p:cNvSpPr>
            <a:spLocks noGrp="1"/>
          </p:cNvSpPr>
          <p:nvPr>
            <p:ph type="subTitle" idx="1"/>
          </p:nvPr>
        </p:nvSpPr>
        <p:spPr>
          <a:xfrm>
            <a:off x="594812" y="2075959"/>
            <a:ext cx="6854203" cy="380487"/>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lang="en-US" sz="1600" b="1" i="0" kern="1200" cap="all" spc="50" baseline="0" dirty="0">
                <a:solidFill>
                  <a:schemeClr val="accent1"/>
                </a:solidFill>
                <a:latin typeface="+mj-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6" name="Title 8">
            <a:extLst>
              <a:ext uri="{FF2B5EF4-FFF2-40B4-BE49-F238E27FC236}">
                <a16:creationId xmlns:a16="http://schemas.microsoft.com/office/drawing/2014/main" id="{35297A80-E26A-584B-9467-3D3911952CA9}"/>
              </a:ext>
            </a:extLst>
          </p:cNvPr>
          <p:cNvSpPr>
            <a:spLocks noGrp="1"/>
          </p:cNvSpPr>
          <p:nvPr>
            <p:ph type="title"/>
          </p:nvPr>
        </p:nvSpPr>
        <p:spPr>
          <a:xfrm>
            <a:off x="594812" y="914504"/>
            <a:ext cx="6854203" cy="1099898"/>
          </a:xfrm>
          <a:prstGeom prst="rect">
            <a:avLst/>
          </a:prstGeom>
        </p:spPr>
        <p:txBody>
          <a:bodyPr/>
          <a:lstStyle>
            <a:lvl1pPr marL="0" algn="l" defTabSz="914400" rtl="0" eaLnBrk="1" latinLnBrk="0" hangingPunct="1">
              <a:lnSpc>
                <a:spcPct val="90000"/>
              </a:lnSpc>
              <a:spcBef>
                <a:spcPct val="0"/>
              </a:spcBef>
              <a:buNone/>
              <a:defRPr lang="en-US" sz="3200" b="1" i="0" kern="1200" cap="none" spc="0" baseline="0" dirty="0">
                <a:solidFill>
                  <a:schemeClr val="tx1"/>
                </a:solidFill>
                <a:latin typeface="+mj-lt"/>
                <a:ea typeface="+mj-ea"/>
                <a:cs typeface="+mj-cs"/>
              </a:defRPr>
            </a:lvl1pPr>
          </a:lstStyle>
          <a:p>
            <a:r>
              <a:rPr lang="en-US"/>
              <a:t>Click to edit Master title style</a:t>
            </a:r>
          </a:p>
        </p:txBody>
      </p:sp>
      <p:sp>
        <p:nvSpPr>
          <p:cNvPr id="29" name="Content Placeholder 49">
            <a:extLst>
              <a:ext uri="{FF2B5EF4-FFF2-40B4-BE49-F238E27FC236}">
                <a16:creationId xmlns:a16="http://schemas.microsoft.com/office/drawing/2014/main" id="{0AAD12ED-B130-3E49-B70C-C9C2A193CA75}"/>
              </a:ext>
            </a:extLst>
          </p:cNvPr>
          <p:cNvSpPr>
            <a:spLocks noGrp="1"/>
          </p:cNvSpPr>
          <p:nvPr>
            <p:ph sz="quarter" idx="16"/>
          </p:nvPr>
        </p:nvSpPr>
        <p:spPr>
          <a:xfrm>
            <a:off x="594812" y="2715743"/>
            <a:ext cx="11282114" cy="3227662"/>
          </a:xfrm>
          <a:prstGeom prst="rect">
            <a:avLst/>
          </a:prstGeom>
        </p:spPr>
        <p:txBody>
          <a:bodyPr/>
          <a:lstStyle>
            <a:lvl1pPr marL="0" indent="0">
              <a:lnSpc>
                <a:spcPct val="125000"/>
              </a:lnSpc>
              <a:spcBef>
                <a:spcPts val="0"/>
              </a:spcBef>
              <a:buNone/>
              <a:defRPr sz="1400"/>
            </a:lvl1pPr>
            <a:lvl2pPr marL="11113" indent="0">
              <a:lnSpc>
                <a:spcPct val="110000"/>
              </a:lnSpc>
              <a:spcBef>
                <a:spcPts val="0"/>
              </a:spcBef>
              <a:buNone/>
              <a:tabLst/>
              <a:defRPr sz="1400"/>
            </a:lvl2pPr>
            <a:lvl3pPr marL="230188" indent="-219075">
              <a:lnSpc>
                <a:spcPct val="110000"/>
              </a:lnSpc>
              <a:spcBef>
                <a:spcPts val="0"/>
              </a:spcBef>
              <a:spcAft>
                <a:spcPts val="0"/>
              </a:spcAft>
              <a:buFont typeface="System Font Regular"/>
              <a:buChar char="–"/>
              <a:tabLst/>
              <a:defRPr sz="1400"/>
            </a:lvl3pPr>
            <a:lvl4pPr marL="342900" indent="-176213">
              <a:lnSpc>
                <a:spcPct val="110000"/>
              </a:lnSpc>
              <a:spcBef>
                <a:spcPts val="0"/>
              </a:spcBef>
              <a:buFont typeface="System Font Regular"/>
              <a:buChar char="+"/>
              <a:tabLst/>
              <a:defRPr sz="1400"/>
            </a:lvl4pPr>
            <a:lvl5pPr marL="574675" indent="-176213">
              <a:lnSpc>
                <a:spcPct val="110000"/>
              </a:lnSpc>
              <a:spcBef>
                <a:spcPts val="0"/>
              </a:spcBef>
              <a:buFont typeface="System Font Regular"/>
              <a:buChar char="–"/>
              <a:tabLst/>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0" name="Group 29">
            <a:extLst>
              <a:ext uri="{FF2B5EF4-FFF2-40B4-BE49-F238E27FC236}">
                <a16:creationId xmlns:a16="http://schemas.microsoft.com/office/drawing/2014/main" id="{FF49B4FC-3084-AC4D-A225-5FB867F18EA3}"/>
              </a:ext>
            </a:extLst>
          </p:cNvPr>
          <p:cNvGrpSpPr/>
          <p:nvPr/>
        </p:nvGrpSpPr>
        <p:grpSpPr>
          <a:xfrm>
            <a:off x="3047" y="6305605"/>
            <a:ext cx="1254409" cy="552395"/>
            <a:chOff x="3047" y="6305605"/>
            <a:chExt cx="1254409" cy="552395"/>
          </a:xfrm>
        </p:grpSpPr>
        <p:grpSp>
          <p:nvGrpSpPr>
            <p:cNvPr id="31" name="Group 30">
              <a:extLst>
                <a:ext uri="{FF2B5EF4-FFF2-40B4-BE49-F238E27FC236}">
                  <a16:creationId xmlns:a16="http://schemas.microsoft.com/office/drawing/2014/main" id="{E7FD286F-2416-A141-AA5B-A3B03EBEC274}"/>
                </a:ext>
              </a:extLst>
            </p:cNvPr>
            <p:cNvGrpSpPr/>
            <p:nvPr/>
          </p:nvGrpSpPr>
          <p:grpSpPr>
            <a:xfrm>
              <a:off x="3047" y="6305605"/>
              <a:ext cx="551693" cy="552395"/>
              <a:chOff x="3047" y="6305605"/>
              <a:chExt cx="551693" cy="552395"/>
            </a:xfrm>
          </p:grpSpPr>
          <p:sp>
            <p:nvSpPr>
              <p:cNvPr id="33" name="Rectangle 32">
                <a:extLst>
                  <a:ext uri="{FF2B5EF4-FFF2-40B4-BE49-F238E27FC236}">
                    <a16:creationId xmlns:a16="http://schemas.microsoft.com/office/drawing/2014/main" id="{1FFA53BD-D023-A447-812C-8C6EA4287BD7}"/>
                  </a:ext>
                </a:extLst>
              </p:cNvPr>
              <p:cNvSpPr/>
              <p:nvPr/>
            </p:nvSpPr>
            <p:spPr>
              <a:xfrm>
                <a:off x="3047" y="6305605"/>
                <a:ext cx="551693" cy="552395"/>
              </a:xfrm>
              <a:prstGeom prst="rect">
                <a:avLst/>
              </a:prstGeom>
              <a:solidFill>
                <a:srgbClr val="5369E4"/>
              </a:solidFill>
              <a:ln w="9525"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1E5FBDEF-FBC2-4C49-8917-59CA33504637}"/>
                  </a:ext>
                </a:extLst>
              </p:cNvPr>
              <p:cNvSpPr/>
              <p:nvPr/>
            </p:nvSpPr>
            <p:spPr>
              <a:xfrm>
                <a:off x="173577" y="6501753"/>
                <a:ext cx="279408" cy="175345"/>
              </a:xfrm>
              <a:custGeom>
                <a:avLst/>
                <a:gdLst>
                  <a:gd name="connsiteX0" fmla="*/ 102941 w 279408"/>
                  <a:gd name="connsiteY0" fmla="*/ 59439 h 175345"/>
                  <a:gd name="connsiteX1" fmla="*/ 132352 w 279408"/>
                  <a:gd name="connsiteY1" fmla="*/ 88384 h 175345"/>
                  <a:gd name="connsiteX2" fmla="*/ 102941 w 279408"/>
                  <a:gd name="connsiteY2" fmla="*/ 117329 h 175345"/>
                  <a:gd name="connsiteX3" fmla="*/ 73528 w 279408"/>
                  <a:gd name="connsiteY3" fmla="*/ 88384 h 175345"/>
                  <a:gd name="connsiteX4" fmla="*/ 102941 w 279408"/>
                  <a:gd name="connsiteY4" fmla="*/ 59439 h 175345"/>
                  <a:gd name="connsiteX5" fmla="*/ 147056 w 279408"/>
                  <a:gd name="connsiteY5" fmla="*/ 1809 h 175345"/>
                  <a:gd name="connsiteX6" fmla="*/ 205880 w 279408"/>
                  <a:gd name="connsiteY6" fmla="*/ 1809 h 175345"/>
                  <a:gd name="connsiteX7" fmla="*/ 205880 w 279408"/>
                  <a:gd name="connsiteY7" fmla="*/ 59698 h 175345"/>
                  <a:gd name="connsiteX8" fmla="*/ 205880 w 279408"/>
                  <a:gd name="connsiteY8" fmla="*/ 117457 h 175345"/>
                  <a:gd name="connsiteX9" fmla="*/ 205880 w 279408"/>
                  <a:gd name="connsiteY9" fmla="*/ 175345 h 175345"/>
                  <a:gd name="connsiteX10" fmla="*/ 147056 w 279408"/>
                  <a:gd name="connsiteY10" fmla="*/ 175345 h 175345"/>
                  <a:gd name="connsiteX11" fmla="*/ 147056 w 279408"/>
                  <a:gd name="connsiteY11" fmla="*/ 117457 h 175345"/>
                  <a:gd name="connsiteX12" fmla="*/ 147056 w 279408"/>
                  <a:gd name="connsiteY12" fmla="*/ 59698 h 175345"/>
                  <a:gd name="connsiteX13" fmla="*/ 0 w 279408"/>
                  <a:gd name="connsiteY13" fmla="*/ 1809 h 175345"/>
                  <a:gd name="connsiteX14" fmla="*/ 58824 w 279408"/>
                  <a:gd name="connsiteY14" fmla="*/ 1809 h 175345"/>
                  <a:gd name="connsiteX15" fmla="*/ 58824 w 279408"/>
                  <a:gd name="connsiteY15" fmla="*/ 59698 h 175345"/>
                  <a:gd name="connsiteX16" fmla="*/ 58824 w 279408"/>
                  <a:gd name="connsiteY16" fmla="*/ 117457 h 175345"/>
                  <a:gd name="connsiteX17" fmla="*/ 58824 w 279408"/>
                  <a:gd name="connsiteY17" fmla="*/ 175345 h 175345"/>
                  <a:gd name="connsiteX18" fmla="*/ 0 w 279408"/>
                  <a:gd name="connsiteY18" fmla="*/ 175345 h 175345"/>
                  <a:gd name="connsiteX19" fmla="*/ 0 w 279408"/>
                  <a:gd name="connsiteY19" fmla="*/ 117457 h 175345"/>
                  <a:gd name="connsiteX20" fmla="*/ 0 w 279408"/>
                  <a:gd name="connsiteY20" fmla="*/ 59698 h 175345"/>
                  <a:gd name="connsiteX21" fmla="*/ 249997 w 279408"/>
                  <a:gd name="connsiteY21" fmla="*/ 0 h 175345"/>
                  <a:gd name="connsiteX22" fmla="*/ 279408 w 279408"/>
                  <a:gd name="connsiteY22" fmla="*/ 28945 h 175345"/>
                  <a:gd name="connsiteX23" fmla="*/ 249997 w 279408"/>
                  <a:gd name="connsiteY23" fmla="*/ 57890 h 175345"/>
                  <a:gd name="connsiteX24" fmla="*/ 220584 w 279408"/>
                  <a:gd name="connsiteY24" fmla="*/ 28945 h 175345"/>
                  <a:gd name="connsiteX25" fmla="*/ 249997 w 279408"/>
                  <a:gd name="connsiteY25" fmla="*/ 0 h 175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79408" h="175345">
                    <a:moveTo>
                      <a:pt x="102941" y="59439"/>
                    </a:moveTo>
                    <a:cubicBezTo>
                      <a:pt x="119184" y="59439"/>
                      <a:pt x="132352" y="72399"/>
                      <a:pt x="132352" y="88384"/>
                    </a:cubicBezTo>
                    <a:cubicBezTo>
                      <a:pt x="132352" y="104370"/>
                      <a:pt x="119184" y="117329"/>
                      <a:pt x="102941" y="117329"/>
                    </a:cubicBezTo>
                    <a:cubicBezTo>
                      <a:pt x="86696" y="117329"/>
                      <a:pt x="73528" y="104370"/>
                      <a:pt x="73528" y="88384"/>
                    </a:cubicBezTo>
                    <a:cubicBezTo>
                      <a:pt x="73528" y="72399"/>
                      <a:pt x="86696" y="59439"/>
                      <a:pt x="102941" y="59439"/>
                    </a:cubicBezTo>
                    <a:close/>
                    <a:moveTo>
                      <a:pt x="147056" y="1809"/>
                    </a:moveTo>
                    <a:lnTo>
                      <a:pt x="205880" y="1809"/>
                    </a:lnTo>
                    <a:lnTo>
                      <a:pt x="205880" y="59698"/>
                    </a:lnTo>
                    <a:lnTo>
                      <a:pt x="205880" y="117457"/>
                    </a:lnTo>
                    <a:lnTo>
                      <a:pt x="205880" y="175345"/>
                    </a:lnTo>
                    <a:lnTo>
                      <a:pt x="147056" y="175345"/>
                    </a:lnTo>
                    <a:lnTo>
                      <a:pt x="147056" y="117457"/>
                    </a:lnTo>
                    <a:lnTo>
                      <a:pt x="147056" y="59698"/>
                    </a:lnTo>
                    <a:close/>
                    <a:moveTo>
                      <a:pt x="0" y="1809"/>
                    </a:moveTo>
                    <a:lnTo>
                      <a:pt x="58824" y="1809"/>
                    </a:lnTo>
                    <a:lnTo>
                      <a:pt x="58824" y="59698"/>
                    </a:lnTo>
                    <a:lnTo>
                      <a:pt x="58824" y="117457"/>
                    </a:lnTo>
                    <a:lnTo>
                      <a:pt x="58824" y="175345"/>
                    </a:lnTo>
                    <a:lnTo>
                      <a:pt x="0" y="175345"/>
                    </a:lnTo>
                    <a:lnTo>
                      <a:pt x="0" y="117457"/>
                    </a:lnTo>
                    <a:lnTo>
                      <a:pt x="0" y="59698"/>
                    </a:lnTo>
                    <a:close/>
                    <a:moveTo>
                      <a:pt x="249997" y="0"/>
                    </a:moveTo>
                    <a:cubicBezTo>
                      <a:pt x="266240" y="0"/>
                      <a:pt x="279408" y="12960"/>
                      <a:pt x="279408" y="28945"/>
                    </a:cubicBezTo>
                    <a:cubicBezTo>
                      <a:pt x="279408" y="44931"/>
                      <a:pt x="266240" y="57890"/>
                      <a:pt x="249997" y="57890"/>
                    </a:cubicBezTo>
                    <a:cubicBezTo>
                      <a:pt x="233752" y="57890"/>
                      <a:pt x="220584" y="44931"/>
                      <a:pt x="220584" y="28945"/>
                    </a:cubicBezTo>
                    <a:cubicBezTo>
                      <a:pt x="220584" y="12960"/>
                      <a:pt x="233752" y="0"/>
                      <a:pt x="249997" y="0"/>
                    </a:cubicBezTo>
                    <a:close/>
                  </a:path>
                </a:pathLst>
              </a:custGeom>
              <a:solidFill>
                <a:srgbClr val="FFFFFF"/>
              </a:solidFill>
              <a:ln w="9525" cap="flat">
                <a:noFill/>
                <a:prstDash val="solid"/>
                <a:miter/>
              </a:ln>
            </p:spPr>
            <p:txBody>
              <a:bodyPr wrap="square" rtlCol="0" anchor="ctr">
                <a:noAutofit/>
              </a:bodyPr>
              <a:lstStyle/>
              <a:p>
                <a:endParaRPr lang="en-US"/>
              </a:p>
            </p:txBody>
          </p:sp>
        </p:grpSp>
        <p:sp>
          <p:nvSpPr>
            <p:cNvPr id="32" name="Freeform 31">
              <a:extLst>
                <a:ext uri="{FF2B5EF4-FFF2-40B4-BE49-F238E27FC236}">
                  <a16:creationId xmlns:a16="http://schemas.microsoft.com/office/drawing/2014/main" id="{6755006F-C1EF-A542-AC60-0BB27D37B426}"/>
                </a:ext>
              </a:extLst>
            </p:cNvPr>
            <p:cNvSpPr/>
            <p:nvPr/>
          </p:nvSpPr>
          <p:spPr>
            <a:xfrm>
              <a:off x="701664" y="6524947"/>
              <a:ext cx="555792" cy="129021"/>
            </a:xfrm>
            <a:custGeom>
              <a:avLst/>
              <a:gdLst>
                <a:gd name="connsiteX0" fmla="*/ 364489 w 555792"/>
                <a:gd name="connsiteY0" fmla="*/ 61830 h 129021"/>
                <a:gd name="connsiteX1" fmla="*/ 343312 w 555792"/>
                <a:gd name="connsiteY1" fmla="*/ 82670 h 129021"/>
                <a:gd name="connsiteX2" fmla="*/ 364489 w 555792"/>
                <a:gd name="connsiteY2" fmla="*/ 106926 h 129021"/>
                <a:gd name="connsiteX3" fmla="*/ 367960 w 555792"/>
                <a:gd name="connsiteY3" fmla="*/ 106926 h 129021"/>
                <a:gd name="connsiteX4" fmla="*/ 389136 w 555792"/>
                <a:gd name="connsiteY4" fmla="*/ 82670 h 129021"/>
                <a:gd name="connsiteX5" fmla="*/ 364489 w 555792"/>
                <a:gd name="connsiteY5" fmla="*/ 61830 h 129021"/>
                <a:gd name="connsiteX6" fmla="*/ 255246 w 555792"/>
                <a:gd name="connsiteY6" fmla="*/ 41285 h 129021"/>
                <a:gd name="connsiteX7" fmla="*/ 280588 w 555792"/>
                <a:gd name="connsiteY7" fmla="*/ 41285 h 129021"/>
                <a:gd name="connsiteX8" fmla="*/ 280588 w 555792"/>
                <a:gd name="connsiteY8" fmla="*/ 126955 h 129021"/>
                <a:gd name="connsiteX9" fmla="*/ 255246 w 555792"/>
                <a:gd name="connsiteY9" fmla="*/ 126955 h 129021"/>
                <a:gd name="connsiteX10" fmla="*/ 121846 w 555792"/>
                <a:gd name="connsiteY10" fmla="*/ 40770 h 129021"/>
                <a:gd name="connsiteX11" fmla="*/ 147188 w 555792"/>
                <a:gd name="connsiteY11" fmla="*/ 40770 h 129021"/>
                <a:gd name="connsiteX12" fmla="*/ 147188 w 555792"/>
                <a:gd name="connsiteY12" fmla="*/ 126439 h 129021"/>
                <a:gd name="connsiteX13" fmla="*/ 121846 w 555792"/>
                <a:gd name="connsiteY13" fmla="*/ 126439 h 129021"/>
                <a:gd name="connsiteX14" fmla="*/ 301329 w 555792"/>
                <a:gd name="connsiteY14" fmla="*/ 40638 h 129021"/>
                <a:gd name="connsiteX15" fmla="*/ 301859 w 555792"/>
                <a:gd name="connsiteY15" fmla="*/ 40638 h 129021"/>
                <a:gd name="connsiteX16" fmla="*/ 316958 w 555792"/>
                <a:gd name="connsiteY16" fmla="*/ 55499 h 129021"/>
                <a:gd name="connsiteX17" fmla="*/ 301859 w 555792"/>
                <a:gd name="connsiteY17" fmla="*/ 70359 h 129021"/>
                <a:gd name="connsiteX18" fmla="*/ 286885 w 555792"/>
                <a:gd name="connsiteY18" fmla="*/ 55893 h 129021"/>
                <a:gd name="connsiteX19" fmla="*/ 286890 w 555792"/>
                <a:gd name="connsiteY19" fmla="*/ 55370 h 129021"/>
                <a:gd name="connsiteX20" fmla="*/ 301329 w 555792"/>
                <a:gd name="connsiteY20" fmla="*/ 40638 h 129021"/>
                <a:gd name="connsiteX21" fmla="*/ 468871 w 555792"/>
                <a:gd name="connsiteY21" fmla="*/ 39863 h 129021"/>
                <a:gd name="connsiteX22" fmla="*/ 495131 w 555792"/>
                <a:gd name="connsiteY22" fmla="*/ 55240 h 129021"/>
                <a:gd name="connsiteX23" fmla="*/ 524542 w 555792"/>
                <a:gd name="connsiteY23" fmla="*/ 39863 h 129021"/>
                <a:gd name="connsiteX24" fmla="*/ 555716 w 555792"/>
                <a:gd name="connsiteY24" fmla="*/ 66406 h 129021"/>
                <a:gd name="connsiteX25" fmla="*/ 555792 w 555792"/>
                <a:gd name="connsiteY25" fmla="*/ 68678 h 129021"/>
                <a:gd name="connsiteX26" fmla="*/ 555792 w 555792"/>
                <a:gd name="connsiteY26" fmla="*/ 126954 h 129021"/>
                <a:gd name="connsiteX27" fmla="*/ 530582 w 555792"/>
                <a:gd name="connsiteY27" fmla="*/ 126954 h 129021"/>
                <a:gd name="connsiteX28" fmla="*/ 530582 w 555792"/>
                <a:gd name="connsiteY28" fmla="*/ 75914 h 129021"/>
                <a:gd name="connsiteX29" fmla="*/ 519946 w 555792"/>
                <a:gd name="connsiteY29" fmla="*/ 60936 h 129021"/>
                <a:gd name="connsiteX30" fmla="*/ 516402 w 555792"/>
                <a:gd name="connsiteY30" fmla="*/ 60796 h 129021"/>
                <a:gd name="connsiteX31" fmla="*/ 499858 w 555792"/>
                <a:gd name="connsiteY31" fmla="*/ 83150 h 129021"/>
                <a:gd name="connsiteX32" fmla="*/ 499858 w 555792"/>
                <a:gd name="connsiteY32" fmla="*/ 126954 h 129021"/>
                <a:gd name="connsiteX33" fmla="*/ 474780 w 555792"/>
                <a:gd name="connsiteY33" fmla="*/ 126954 h 129021"/>
                <a:gd name="connsiteX34" fmla="*/ 474780 w 555792"/>
                <a:gd name="connsiteY34" fmla="*/ 75914 h 129021"/>
                <a:gd name="connsiteX35" fmla="*/ 464116 w 555792"/>
                <a:gd name="connsiteY35" fmla="*/ 60954 h 129021"/>
                <a:gd name="connsiteX36" fmla="*/ 460862 w 555792"/>
                <a:gd name="connsiteY36" fmla="*/ 60796 h 129021"/>
                <a:gd name="connsiteX37" fmla="*/ 444318 w 555792"/>
                <a:gd name="connsiteY37" fmla="*/ 83150 h 129021"/>
                <a:gd name="connsiteX38" fmla="*/ 444318 w 555792"/>
                <a:gd name="connsiteY38" fmla="*/ 126954 h 129021"/>
                <a:gd name="connsiteX39" fmla="*/ 418977 w 555792"/>
                <a:gd name="connsiteY39" fmla="*/ 126954 h 129021"/>
                <a:gd name="connsiteX40" fmla="*/ 418977 w 555792"/>
                <a:gd name="connsiteY40" fmla="*/ 41285 h 129021"/>
                <a:gd name="connsiteX41" fmla="*/ 444318 w 555792"/>
                <a:gd name="connsiteY41" fmla="*/ 41285 h 129021"/>
                <a:gd name="connsiteX42" fmla="*/ 444318 w 555792"/>
                <a:gd name="connsiteY42" fmla="*/ 52785 h 129021"/>
                <a:gd name="connsiteX43" fmla="*/ 468871 w 555792"/>
                <a:gd name="connsiteY43" fmla="*/ 39863 h 129021"/>
                <a:gd name="connsiteX44" fmla="*/ 364489 w 555792"/>
                <a:gd name="connsiteY44" fmla="*/ 39863 h 129021"/>
                <a:gd name="connsiteX45" fmla="*/ 409656 w 555792"/>
                <a:gd name="connsiteY45" fmla="*/ 84443 h 129021"/>
                <a:gd name="connsiteX46" fmla="*/ 409656 w 555792"/>
                <a:gd name="connsiteY46" fmla="*/ 84572 h 129021"/>
                <a:gd name="connsiteX47" fmla="*/ 364227 w 555792"/>
                <a:gd name="connsiteY47" fmla="*/ 129021 h 129021"/>
                <a:gd name="connsiteX48" fmla="*/ 319059 w 555792"/>
                <a:gd name="connsiteY48" fmla="*/ 84313 h 129021"/>
                <a:gd name="connsiteX49" fmla="*/ 364489 w 555792"/>
                <a:gd name="connsiteY49" fmla="*/ 39863 h 129021"/>
                <a:gd name="connsiteX50" fmla="*/ 0 w 555792"/>
                <a:gd name="connsiteY50" fmla="*/ 7947 h 129021"/>
                <a:gd name="connsiteX51" fmla="*/ 27179 w 555792"/>
                <a:gd name="connsiteY51" fmla="*/ 7947 h 129021"/>
                <a:gd name="connsiteX52" fmla="*/ 27179 w 555792"/>
                <a:gd name="connsiteY52" fmla="*/ 54206 h 129021"/>
                <a:gd name="connsiteX53" fmla="*/ 75236 w 555792"/>
                <a:gd name="connsiteY53" fmla="*/ 54206 h 129021"/>
                <a:gd name="connsiteX54" fmla="*/ 75236 w 555792"/>
                <a:gd name="connsiteY54" fmla="*/ 7947 h 129021"/>
                <a:gd name="connsiteX55" fmla="*/ 102678 w 555792"/>
                <a:gd name="connsiteY55" fmla="*/ 7947 h 129021"/>
                <a:gd name="connsiteX56" fmla="*/ 102678 w 555792"/>
                <a:gd name="connsiteY56" fmla="*/ 126954 h 129021"/>
                <a:gd name="connsiteX57" fmla="*/ 75236 w 555792"/>
                <a:gd name="connsiteY57" fmla="*/ 126954 h 129021"/>
                <a:gd name="connsiteX58" fmla="*/ 75236 w 555792"/>
                <a:gd name="connsiteY58" fmla="*/ 77207 h 129021"/>
                <a:gd name="connsiteX59" fmla="*/ 27179 w 555792"/>
                <a:gd name="connsiteY59" fmla="*/ 77207 h 129021"/>
                <a:gd name="connsiteX60" fmla="*/ 27179 w 555792"/>
                <a:gd name="connsiteY60" fmla="*/ 126954 h 129021"/>
                <a:gd name="connsiteX61" fmla="*/ 0 w 555792"/>
                <a:gd name="connsiteY61" fmla="*/ 126954 h 129021"/>
                <a:gd name="connsiteX62" fmla="*/ 210736 w 555792"/>
                <a:gd name="connsiteY62" fmla="*/ 6526 h 129021"/>
                <a:gd name="connsiteX63" fmla="*/ 236078 w 555792"/>
                <a:gd name="connsiteY63" fmla="*/ 6526 h 129021"/>
                <a:gd name="connsiteX64" fmla="*/ 236078 w 555792"/>
                <a:gd name="connsiteY64" fmla="*/ 126955 h 129021"/>
                <a:gd name="connsiteX65" fmla="*/ 210736 w 555792"/>
                <a:gd name="connsiteY65" fmla="*/ 126955 h 129021"/>
                <a:gd name="connsiteX66" fmla="*/ 166619 w 555792"/>
                <a:gd name="connsiteY66" fmla="*/ 6526 h 129021"/>
                <a:gd name="connsiteX67" fmla="*/ 192093 w 555792"/>
                <a:gd name="connsiteY67" fmla="*/ 6526 h 129021"/>
                <a:gd name="connsiteX68" fmla="*/ 192093 w 555792"/>
                <a:gd name="connsiteY68" fmla="*/ 126955 h 129021"/>
                <a:gd name="connsiteX69" fmla="*/ 166619 w 555792"/>
                <a:gd name="connsiteY69" fmla="*/ 126955 h 129021"/>
                <a:gd name="connsiteX70" fmla="*/ 134188 w 555792"/>
                <a:gd name="connsiteY70" fmla="*/ 66 h 129021"/>
                <a:gd name="connsiteX71" fmla="*/ 134452 w 555792"/>
                <a:gd name="connsiteY71" fmla="*/ 66 h 129021"/>
                <a:gd name="connsiteX72" fmla="*/ 151030 w 555792"/>
                <a:gd name="connsiteY72" fmla="*/ 13600 h 129021"/>
                <a:gd name="connsiteX73" fmla="*/ 137277 w 555792"/>
                <a:gd name="connsiteY73" fmla="*/ 29915 h 129021"/>
                <a:gd name="connsiteX74" fmla="*/ 134452 w 555792"/>
                <a:gd name="connsiteY74" fmla="*/ 29915 h 129021"/>
                <a:gd name="connsiteX75" fmla="*/ 119350 w 555792"/>
                <a:gd name="connsiteY75" fmla="*/ 15316 h 129021"/>
                <a:gd name="connsiteX76" fmla="*/ 119352 w 555792"/>
                <a:gd name="connsiteY76" fmla="*/ 14926 h 129021"/>
                <a:gd name="connsiteX77" fmla="*/ 134188 w 555792"/>
                <a:gd name="connsiteY77" fmla="*/ 66 h 129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555792" h="129021">
                  <a:moveTo>
                    <a:pt x="364489" y="61830"/>
                  </a:moveTo>
                  <a:cubicBezTo>
                    <a:pt x="353167" y="62674"/>
                    <a:pt x="344170" y="71529"/>
                    <a:pt x="343312" y="82670"/>
                  </a:cubicBezTo>
                  <a:cubicBezTo>
                    <a:pt x="342353" y="95123"/>
                    <a:pt x="351834" y="105983"/>
                    <a:pt x="364489" y="106926"/>
                  </a:cubicBezTo>
                  <a:cubicBezTo>
                    <a:pt x="365644" y="107012"/>
                    <a:pt x="366805" y="107012"/>
                    <a:pt x="367960" y="106926"/>
                  </a:cubicBezTo>
                  <a:cubicBezTo>
                    <a:pt x="380614" y="105983"/>
                    <a:pt x="390095" y="95123"/>
                    <a:pt x="389136" y="82670"/>
                  </a:cubicBezTo>
                  <a:cubicBezTo>
                    <a:pt x="388178" y="70217"/>
                    <a:pt x="377143" y="60887"/>
                    <a:pt x="364489" y="61830"/>
                  </a:cubicBezTo>
                  <a:close/>
                  <a:moveTo>
                    <a:pt x="255246" y="41285"/>
                  </a:moveTo>
                  <a:lnTo>
                    <a:pt x="280588" y="41285"/>
                  </a:lnTo>
                  <a:lnTo>
                    <a:pt x="280588" y="126955"/>
                  </a:lnTo>
                  <a:lnTo>
                    <a:pt x="255246" y="126955"/>
                  </a:lnTo>
                  <a:close/>
                  <a:moveTo>
                    <a:pt x="121846" y="40770"/>
                  </a:moveTo>
                  <a:lnTo>
                    <a:pt x="147188" y="40770"/>
                  </a:lnTo>
                  <a:lnTo>
                    <a:pt x="147188" y="126439"/>
                  </a:lnTo>
                  <a:lnTo>
                    <a:pt x="121846" y="126439"/>
                  </a:lnTo>
                  <a:close/>
                  <a:moveTo>
                    <a:pt x="301329" y="40638"/>
                  </a:moveTo>
                  <a:cubicBezTo>
                    <a:pt x="301505" y="40635"/>
                    <a:pt x="301682" y="40635"/>
                    <a:pt x="301859" y="40638"/>
                  </a:cubicBezTo>
                  <a:cubicBezTo>
                    <a:pt x="310198" y="40638"/>
                    <a:pt x="316958" y="47292"/>
                    <a:pt x="316958" y="55499"/>
                  </a:cubicBezTo>
                  <a:cubicBezTo>
                    <a:pt x="316958" y="63706"/>
                    <a:pt x="310198" y="70359"/>
                    <a:pt x="301859" y="70359"/>
                  </a:cubicBezTo>
                  <a:cubicBezTo>
                    <a:pt x="293664" y="70433"/>
                    <a:pt x="286961" y="63956"/>
                    <a:pt x="286885" y="55893"/>
                  </a:cubicBezTo>
                  <a:cubicBezTo>
                    <a:pt x="286883" y="55718"/>
                    <a:pt x="286885" y="55544"/>
                    <a:pt x="286890" y="55370"/>
                  </a:cubicBezTo>
                  <a:cubicBezTo>
                    <a:pt x="286743" y="47379"/>
                    <a:pt x="293207" y="40783"/>
                    <a:pt x="301329" y="40638"/>
                  </a:cubicBezTo>
                  <a:close/>
                  <a:moveTo>
                    <a:pt x="468871" y="39863"/>
                  </a:moveTo>
                  <a:cubicBezTo>
                    <a:pt x="480066" y="38933"/>
                    <a:pt x="490621" y="45114"/>
                    <a:pt x="495131" y="55240"/>
                  </a:cubicBezTo>
                  <a:cubicBezTo>
                    <a:pt x="501466" y="45339"/>
                    <a:pt x="512660" y="39487"/>
                    <a:pt x="524542" y="39863"/>
                  </a:cubicBezTo>
                  <a:cubicBezTo>
                    <a:pt x="540599" y="38721"/>
                    <a:pt x="554556" y="50605"/>
                    <a:pt x="555716" y="66406"/>
                  </a:cubicBezTo>
                  <a:cubicBezTo>
                    <a:pt x="555772" y="67162"/>
                    <a:pt x="555797" y="67920"/>
                    <a:pt x="555792" y="68678"/>
                  </a:cubicBezTo>
                  <a:lnTo>
                    <a:pt x="555792" y="126954"/>
                  </a:lnTo>
                  <a:lnTo>
                    <a:pt x="530582" y="126954"/>
                  </a:lnTo>
                  <a:lnTo>
                    <a:pt x="530582" y="75914"/>
                  </a:lnTo>
                  <a:cubicBezTo>
                    <a:pt x="531848" y="68888"/>
                    <a:pt x="527086" y="62181"/>
                    <a:pt x="519946" y="60936"/>
                  </a:cubicBezTo>
                  <a:cubicBezTo>
                    <a:pt x="518776" y="60732"/>
                    <a:pt x="517584" y="60685"/>
                    <a:pt x="516402" y="60796"/>
                  </a:cubicBezTo>
                  <a:cubicBezTo>
                    <a:pt x="505898" y="60796"/>
                    <a:pt x="499858" y="69324"/>
                    <a:pt x="499858" y="83150"/>
                  </a:cubicBezTo>
                  <a:lnTo>
                    <a:pt x="499858" y="126954"/>
                  </a:lnTo>
                  <a:lnTo>
                    <a:pt x="474780" y="126954"/>
                  </a:lnTo>
                  <a:lnTo>
                    <a:pt x="474780" y="75914"/>
                  </a:lnTo>
                  <a:cubicBezTo>
                    <a:pt x="476033" y="68885"/>
                    <a:pt x="471259" y="62187"/>
                    <a:pt x="464116" y="60954"/>
                  </a:cubicBezTo>
                  <a:cubicBezTo>
                    <a:pt x="463043" y="60769"/>
                    <a:pt x="461949" y="60716"/>
                    <a:pt x="460862" y="60796"/>
                  </a:cubicBezTo>
                  <a:cubicBezTo>
                    <a:pt x="450489" y="60796"/>
                    <a:pt x="444318" y="69454"/>
                    <a:pt x="444318" y="83150"/>
                  </a:cubicBezTo>
                  <a:lnTo>
                    <a:pt x="444318" y="126954"/>
                  </a:lnTo>
                  <a:lnTo>
                    <a:pt x="418977" y="126954"/>
                  </a:lnTo>
                  <a:lnTo>
                    <a:pt x="418977" y="41285"/>
                  </a:lnTo>
                  <a:lnTo>
                    <a:pt x="444318" y="41285"/>
                  </a:lnTo>
                  <a:lnTo>
                    <a:pt x="444318" y="52785"/>
                  </a:lnTo>
                  <a:cubicBezTo>
                    <a:pt x="449587" y="44489"/>
                    <a:pt x="458935" y="39570"/>
                    <a:pt x="468871" y="39863"/>
                  </a:cubicBezTo>
                  <a:close/>
                  <a:moveTo>
                    <a:pt x="364489" y="39863"/>
                  </a:moveTo>
                  <a:cubicBezTo>
                    <a:pt x="389455" y="39935"/>
                    <a:pt x="409656" y="59873"/>
                    <a:pt x="409656" y="84443"/>
                  </a:cubicBezTo>
                  <a:cubicBezTo>
                    <a:pt x="409656" y="84486"/>
                    <a:pt x="409656" y="84529"/>
                    <a:pt x="409656" y="84572"/>
                  </a:cubicBezTo>
                  <a:cubicBezTo>
                    <a:pt x="409583" y="109192"/>
                    <a:pt x="389244" y="129093"/>
                    <a:pt x="364227" y="129021"/>
                  </a:cubicBezTo>
                  <a:cubicBezTo>
                    <a:pt x="339208" y="128950"/>
                    <a:pt x="318986" y="108934"/>
                    <a:pt x="319059" y="84313"/>
                  </a:cubicBezTo>
                  <a:cubicBezTo>
                    <a:pt x="319131" y="59693"/>
                    <a:pt x="339471" y="39792"/>
                    <a:pt x="364489" y="39863"/>
                  </a:cubicBezTo>
                  <a:close/>
                  <a:moveTo>
                    <a:pt x="0" y="7947"/>
                  </a:moveTo>
                  <a:lnTo>
                    <a:pt x="27179" y="7947"/>
                  </a:lnTo>
                  <a:lnTo>
                    <a:pt x="27179" y="54206"/>
                  </a:lnTo>
                  <a:lnTo>
                    <a:pt x="75236" y="54206"/>
                  </a:lnTo>
                  <a:lnTo>
                    <a:pt x="75236" y="7947"/>
                  </a:lnTo>
                  <a:lnTo>
                    <a:pt x="102678" y="7947"/>
                  </a:lnTo>
                  <a:lnTo>
                    <a:pt x="102678" y="126954"/>
                  </a:lnTo>
                  <a:lnTo>
                    <a:pt x="75236" y="126954"/>
                  </a:lnTo>
                  <a:lnTo>
                    <a:pt x="75236" y="77207"/>
                  </a:lnTo>
                  <a:lnTo>
                    <a:pt x="27179" y="77207"/>
                  </a:lnTo>
                  <a:lnTo>
                    <a:pt x="27179" y="126954"/>
                  </a:lnTo>
                  <a:lnTo>
                    <a:pt x="0" y="126954"/>
                  </a:lnTo>
                  <a:close/>
                  <a:moveTo>
                    <a:pt x="210736" y="6526"/>
                  </a:moveTo>
                  <a:lnTo>
                    <a:pt x="236078" y="6526"/>
                  </a:lnTo>
                  <a:lnTo>
                    <a:pt x="236078" y="126955"/>
                  </a:lnTo>
                  <a:lnTo>
                    <a:pt x="210736" y="126955"/>
                  </a:lnTo>
                  <a:close/>
                  <a:moveTo>
                    <a:pt x="166619" y="6526"/>
                  </a:moveTo>
                  <a:lnTo>
                    <a:pt x="192093" y="6526"/>
                  </a:lnTo>
                  <a:lnTo>
                    <a:pt x="192093" y="126955"/>
                  </a:lnTo>
                  <a:lnTo>
                    <a:pt x="166619" y="126955"/>
                  </a:lnTo>
                  <a:close/>
                  <a:moveTo>
                    <a:pt x="134188" y="66"/>
                  </a:moveTo>
                  <a:cubicBezTo>
                    <a:pt x="134276" y="65"/>
                    <a:pt x="134364" y="65"/>
                    <a:pt x="134452" y="66"/>
                  </a:cubicBezTo>
                  <a:cubicBezTo>
                    <a:pt x="142828" y="-702"/>
                    <a:pt x="150250" y="5357"/>
                    <a:pt x="151030" y="13600"/>
                  </a:cubicBezTo>
                  <a:cubicBezTo>
                    <a:pt x="151810" y="21842"/>
                    <a:pt x="145653" y="29148"/>
                    <a:pt x="137277" y="29915"/>
                  </a:cubicBezTo>
                  <a:cubicBezTo>
                    <a:pt x="136338" y="30002"/>
                    <a:pt x="135392" y="30002"/>
                    <a:pt x="134452" y="29915"/>
                  </a:cubicBezTo>
                  <a:cubicBezTo>
                    <a:pt x="126185" y="29988"/>
                    <a:pt x="119424" y="23451"/>
                    <a:pt x="119350" y="15316"/>
                  </a:cubicBezTo>
                  <a:cubicBezTo>
                    <a:pt x="119349" y="15186"/>
                    <a:pt x="119349" y="15056"/>
                    <a:pt x="119352" y="14926"/>
                  </a:cubicBezTo>
                  <a:cubicBezTo>
                    <a:pt x="119279" y="6790"/>
                    <a:pt x="125921" y="137"/>
                    <a:pt x="134188" y="66"/>
                  </a:cubicBezTo>
                  <a:close/>
                </a:path>
              </a:pathLst>
            </a:custGeom>
            <a:solidFill>
              <a:srgbClr val="000839"/>
            </a:solidFill>
            <a:ln w="9525" cap="flat">
              <a:noFill/>
              <a:prstDash val="solid"/>
              <a:miter/>
            </a:ln>
          </p:spPr>
          <p:txBody>
            <a:bodyPr wrap="square" rtlCol="0" anchor="ctr">
              <a:noAutofit/>
            </a:bodyPr>
            <a:lstStyle/>
            <a:p>
              <a:endParaRPr lang="en-US"/>
            </a:p>
          </p:txBody>
        </p:sp>
      </p:grpSp>
    </p:spTree>
    <p:extLst>
      <p:ext uri="{BB962C8B-B14F-4D97-AF65-F5344CB8AC3E}">
        <p14:creationId xmlns:p14="http://schemas.microsoft.com/office/powerpoint/2010/main" val="30093364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Body - 1 Column">
    <p:spTree>
      <p:nvGrpSpPr>
        <p:cNvPr id="1" name=""/>
        <p:cNvGrpSpPr/>
        <p:nvPr/>
      </p:nvGrpSpPr>
      <p:grpSpPr>
        <a:xfrm>
          <a:off x="0" y="0"/>
          <a:ext cx="0" cy="0"/>
          <a:chOff x="0" y="0"/>
          <a:chExt cx="0" cy="0"/>
        </a:xfrm>
      </p:grpSpPr>
      <p:sp>
        <p:nvSpPr>
          <p:cNvPr id="25" name="Title 8">
            <a:extLst>
              <a:ext uri="{FF2B5EF4-FFF2-40B4-BE49-F238E27FC236}">
                <a16:creationId xmlns:a16="http://schemas.microsoft.com/office/drawing/2014/main" id="{BA15B838-6368-4E40-9C24-1FC5BBDB7E13}"/>
              </a:ext>
            </a:extLst>
          </p:cNvPr>
          <p:cNvSpPr>
            <a:spLocks noGrp="1"/>
          </p:cNvSpPr>
          <p:nvPr>
            <p:ph type="title"/>
          </p:nvPr>
        </p:nvSpPr>
        <p:spPr>
          <a:xfrm>
            <a:off x="594812" y="914504"/>
            <a:ext cx="6870859" cy="1099898"/>
          </a:xfrm>
          <a:prstGeom prst="rect">
            <a:avLst/>
          </a:prstGeom>
        </p:spPr>
        <p:txBody>
          <a:bodyPr/>
          <a:lstStyle>
            <a:lvl1pPr>
              <a:lnSpc>
                <a:spcPct val="90000"/>
              </a:lnSpc>
              <a:defRPr b="1" i="0" cap="none" spc="0" baseline="0">
                <a:latin typeface="+mj-lt"/>
              </a:defRPr>
            </a:lvl1pPr>
          </a:lstStyle>
          <a:p>
            <a:r>
              <a:rPr lang="en-US"/>
              <a:t>Click to edit Master title style</a:t>
            </a:r>
          </a:p>
        </p:txBody>
      </p:sp>
      <p:sp>
        <p:nvSpPr>
          <p:cNvPr id="26" name="Slide Number Placeholder 5">
            <a:extLst>
              <a:ext uri="{FF2B5EF4-FFF2-40B4-BE49-F238E27FC236}">
                <a16:creationId xmlns:a16="http://schemas.microsoft.com/office/drawing/2014/main" id="{6AA0B4D3-F1D5-E840-816A-8B71734B0CEE}"/>
              </a:ext>
            </a:extLst>
          </p:cNvPr>
          <p:cNvSpPr>
            <a:spLocks noGrp="1"/>
          </p:cNvSpPr>
          <p:nvPr>
            <p:ph type="sldNum" sz="quarter" idx="4"/>
          </p:nvPr>
        </p:nvSpPr>
        <p:spPr>
          <a:xfrm>
            <a:off x="11537879" y="6325527"/>
            <a:ext cx="370726" cy="365125"/>
          </a:xfrm>
          <a:prstGeom prst="rect">
            <a:avLst/>
          </a:prstGeom>
        </p:spPr>
        <p:txBody>
          <a:bodyPr vert="horz" lIns="91440" tIns="45720" rIns="91440" bIns="45720" rtlCol="0" anchor="b"/>
          <a:lstStyle>
            <a:lvl1pPr algn="r">
              <a:defRPr sz="800" b="1" i="0">
                <a:solidFill>
                  <a:schemeClr val="tx1">
                    <a:tint val="75000"/>
                  </a:schemeClr>
                </a:solidFill>
                <a:latin typeface="+mj-lt"/>
              </a:defRPr>
            </a:lvl1pPr>
          </a:lstStyle>
          <a:p>
            <a:fld id="{EB3C441C-A16D-4531-8F9E-BFE4D57FBC82}" type="slidenum">
              <a:rPr lang="en-US" smtClean="0"/>
              <a:t>‹N°›</a:t>
            </a:fld>
            <a:endParaRPr lang="en-US"/>
          </a:p>
        </p:txBody>
      </p:sp>
      <p:sp>
        <p:nvSpPr>
          <p:cNvPr id="30" name="Footer Placeholder 54">
            <a:extLst>
              <a:ext uri="{FF2B5EF4-FFF2-40B4-BE49-F238E27FC236}">
                <a16:creationId xmlns:a16="http://schemas.microsoft.com/office/drawing/2014/main" id="{FBF5E17B-C670-4E4D-BB7F-743CB1137D68}"/>
              </a:ext>
            </a:extLst>
          </p:cNvPr>
          <p:cNvSpPr>
            <a:spLocks noGrp="1"/>
          </p:cNvSpPr>
          <p:nvPr>
            <p:ph type="ftr" sz="quarter" idx="15"/>
          </p:nvPr>
        </p:nvSpPr>
        <p:spPr>
          <a:xfrm>
            <a:off x="1819551" y="6340392"/>
            <a:ext cx="4114800" cy="365125"/>
          </a:xfrm>
          <a:prstGeom prst="rect">
            <a:avLst/>
          </a:prstGeom>
        </p:spPr>
        <p:txBody>
          <a:bodyPr anchor="b" anchorCtr="0"/>
          <a:lstStyle>
            <a:lvl1pPr>
              <a:defRPr sz="700">
                <a:solidFill>
                  <a:schemeClr val="accent2"/>
                </a:solidFill>
              </a:defRPr>
            </a:lvl1pPr>
          </a:lstStyle>
          <a:p>
            <a:endParaRPr lang="en-US"/>
          </a:p>
        </p:txBody>
      </p:sp>
      <p:sp>
        <p:nvSpPr>
          <p:cNvPr id="53" name="Text Placeholder 3">
            <a:extLst>
              <a:ext uri="{FF2B5EF4-FFF2-40B4-BE49-F238E27FC236}">
                <a16:creationId xmlns:a16="http://schemas.microsoft.com/office/drawing/2014/main" id="{C8AF2B20-026D-084A-9DF3-8A70AF4C95AB}"/>
              </a:ext>
            </a:extLst>
          </p:cNvPr>
          <p:cNvSpPr>
            <a:spLocks noGrp="1"/>
          </p:cNvSpPr>
          <p:nvPr>
            <p:ph type="body" sz="quarter" idx="13"/>
          </p:nvPr>
        </p:nvSpPr>
        <p:spPr>
          <a:xfrm>
            <a:off x="688350" y="498222"/>
            <a:ext cx="1997663" cy="244682"/>
          </a:xfrm>
          <a:prstGeom prst="rect">
            <a:avLst/>
          </a:prstGeom>
          <a:solidFill>
            <a:schemeClr val="accent1"/>
          </a:solidFill>
          <a:ln>
            <a:noFill/>
          </a:ln>
        </p:spPr>
        <p:txBody>
          <a:bodyPr wrap="none" anchor="ctr">
            <a:spAutoFit/>
          </a:bodyPr>
          <a:lstStyle>
            <a:lvl1pPr marL="0" indent="0">
              <a:buNone/>
              <a:defRPr sz="1100" b="1" cap="all" spc="50" baseline="0">
                <a:solidFill>
                  <a:schemeClr val="bg1"/>
                </a:solidFill>
                <a:latin typeface="+mj-lt"/>
              </a:defRPr>
            </a:lvl1pPr>
          </a:lstStyle>
          <a:p>
            <a:pPr lvl="0"/>
            <a:r>
              <a:rPr lang="en-US"/>
              <a:t>Edit Master text styles</a:t>
            </a:r>
          </a:p>
        </p:txBody>
      </p:sp>
      <p:sp>
        <p:nvSpPr>
          <p:cNvPr id="23" name="Content Placeholder 49">
            <a:extLst>
              <a:ext uri="{FF2B5EF4-FFF2-40B4-BE49-F238E27FC236}">
                <a16:creationId xmlns:a16="http://schemas.microsoft.com/office/drawing/2014/main" id="{8D3D7191-2A98-0342-8540-2C2B1EDCBA26}"/>
              </a:ext>
            </a:extLst>
          </p:cNvPr>
          <p:cNvSpPr>
            <a:spLocks noGrp="1"/>
          </p:cNvSpPr>
          <p:nvPr>
            <p:ph sz="quarter" idx="16"/>
          </p:nvPr>
        </p:nvSpPr>
        <p:spPr>
          <a:xfrm>
            <a:off x="594812" y="2185910"/>
            <a:ext cx="11282114" cy="3757495"/>
          </a:xfrm>
          <a:prstGeom prst="rect">
            <a:avLst/>
          </a:prstGeom>
        </p:spPr>
        <p:txBody>
          <a:bodyPr/>
          <a:lstStyle>
            <a:lvl1pPr marL="0" indent="0">
              <a:lnSpc>
                <a:spcPct val="125000"/>
              </a:lnSpc>
              <a:spcBef>
                <a:spcPts val="0"/>
              </a:spcBef>
              <a:buNone/>
              <a:defRPr sz="1400"/>
            </a:lvl1pPr>
            <a:lvl2pPr marL="11113" indent="0">
              <a:lnSpc>
                <a:spcPct val="110000"/>
              </a:lnSpc>
              <a:spcBef>
                <a:spcPts val="0"/>
              </a:spcBef>
              <a:buNone/>
              <a:tabLst/>
              <a:defRPr sz="1400"/>
            </a:lvl2pPr>
            <a:lvl3pPr marL="230188" indent="-219075">
              <a:lnSpc>
                <a:spcPct val="110000"/>
              </a:lnSpc>
              <a:spcBef>
                <a:spcPts val="0"/>
              </a:spcBef>
              <a:spcAft>
                <a:spcPts val="0"/>
              </a:spcAft>
              <a:buFont typeface="System Font Regular"/>
              <a:buChar char="–"/>
              <a:tabLst/>
              <a:defRPr sz="1400"/>
            </a:lvl3pPr>
            <a:lvl4pPr marL="342900" indent="-176213">
              <a:lnSpc>
                <a:spcPct val="110000"/>
              </a:lnSpc>
              <a:spcBef>
                <a:spcPts val="0"/>
              </a:spcBef>
              <a:buFont typeface="System Font Regular"/>
              <a:buChar char="+"/>
              <a:tabLst/>
              <a:defRPr sz="1400"/>
            </a:lvl4pPr>
            <a:lvl5pPr marL="574675" indent="-176213">
              <a:lnSpc>
                <a:spcPct val="110000"/>
              </a:lnSpc>
              <a:spcBef>
                <a:spcPts val="0"/>
              </a:spcBef>
              <a:buFont typeface="System Font Regular"/>
              <a:buChar char="–"/>
              <a:tabLst/>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4" name="Group 23">
            <a:extLst>
              <a:ext uri="{FF2B5EF4-FFF2-40B4-BE49-F238E27FC236}">
                <a16:creationId xmlns:a16="http://schemas.microsoft.com/office/drawing/2014/main" id="{40B9D8B1-A940-4643-8459-52B3376E5BF0}"/>
              </a:ext>
            </a:extLst>
          </p:cNvPr>
          <p:cNvGrpSpPr/>
          <p:nvPr/>
        </p:nvGrpSpPr>
        <p:grpSpPr>
          <a:xfrm>
            <a:off x="3047" y="6305605"/>
            <a:ext cx="1254409" cy="552395"/>
            <a:chOff x="3047" y="6305605"/>
            <a:chExt cx="1254409" cy="552395"/>
          </a:xfrm>
        </p:grpSpPr>
        <p:grpSp>
          <p:nvGrpSpPr>
            <p:cNvPr id="27" name="Group 26">
              <a:extLst>
                <a:ext uri="{FF2B5EF4-FFF2-40B4-BE49-F238E27FC236}">
                  <a16:creationId xmlns:a16="http://schemas.microsoft.com/office/drawing/2014/main" id="{5768BC42-7D07-7843-8E5F-B2BB431F0763}"/>
                </a:ext>
              </a:extLst>
            </p:cNvPr>
            <p:cNvGrpSpPr/>
            <p:nvPr/>
          </p:nvGrpSpPr>
          <p:grpSpPr>
            <a:xfrm>
              <a:off x="3047" y="6305605"/>
              <a:ext cx="551693" cy="552395"/>
              <a:chOff x="3047" y="6305605"/>
              <a:chExt cx="551693" cy="552395"/>
            </a:xfrm>
          </p:grpSpPr>
          <p:sp>
            <p:nvSpPr>
              <p:cNvPr id="29" name="Rectangle 28">
                <a:extLst>
                  <a:ext uri="{FF2B5EF4-FFF2-40B4-BE49-F238E27FC236}">
                    <a16:creationId xmlns:a16="http://schemas.microsoft.com/office/drawing/2014/main" id="{0130C280-43AC-D145-AE9E-98AB0E4A57C0}"/>
                  </a:ext>
                </a:extLst>
              </p:cNvPr>
              <p:cNvSpPr/>
              <p:nvPr/>
            </p:nvSpPr>
            <p:spPr>
              <a:xfrm>
                <a:off x="3047" y="6305605"/>
                <a:ext cx="551693" cy="552395"/>
              </a:xfrm>
              <a:prstGeom prst="rect">
                <a:avLst/>
              </a:prstGeom>
              <a:solidFill>
                <a:srgbClr val="5369E4"/>
              </a:solidFill>
              <a:ln w="9525"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F92A1BB0-E06C-6044-9D7B-42D3561174BD}"/>
                  </a:ext>
                </a:extLst>
              </p:cNvPr>
              <p:cNvSpPr/>
              <p:nvPr/>
            </p:nvSpPr>
            <p:spPr>
              <a:xfrm>
                <a:off x="173577" y="6501753"/>
                <a:ext cx="279408" cy="175345"/>
              </a:xfrm>
              <a:custGeom>
                <a:avLst/>
                <a:gdLst>
                  <a:gd name="connsiteX0" fmla="*/ 102941 w 279408"/>
                  <a:gd name="connsiteY0" fmla="*/ 59439 h 175345"/>
                  <a:gd name="connsiteX1" fmla="*/ 132352 w 279408"/>
                  <a:gd name="connsiteY1" fmla="*/ 88384 h 175345"/>
                  <a:gd name="connsiteX2" fmla="*/ 102941 w 279408"/>
                  <a:gd name="connsiteY2" fmla="*/ 117329 h 175345"/>
                  <a:gd name="connsiteX3" fmla="*/ 73528 w 279408"/>
                  <a:gd name="connsiteY3" fmla="*/ 88384 h 175345"/>
                  <a:gd name="connsiteX4" fmla="*/ 102941 w 279408"/>
                  <a:gd name="connsiteY4" fmla="*/ 59439 h 175345"/>
                  <a:gd name="connsiteX5" fmla="*/ 147056 w 279408"/>
                  <a:gd name="connsiteY5" fmla="*/ 1809 h 175345"/>
                  <a:gd name="connsiteX6" fmla="*/ 205880 w 279408"/>
                  <a:gd name="connsiteY6" fmla="*/ 1809 h 175345"/>
                  <a:gd name="connsiteX7" fmla="*/ 205880 w 279408"/>
                  <a:gd name="connsiteY7" fmla="*/ 59698 h 175345"/>
                  <a:gd name="connsiteX8" fmla="*/ 205880 w 279408"/>
                  <a:gd name="connsiteY8" fmla="*/ 117457 h 175345"/>
                  <a:gd name="connsiteX9" fmla="*/ 205880 w 279408"/>
                  <a:gd name="connsiteY9" fmla="*/ 175345 h 175345"/>
                  <a:gd name="connsiteX10" fmla="*/ 147056 w 279408"/>
                  <a:gd name="connsiteY10" fmla="*/ 175345 h 175345"/>
                  <a:gd name="connsiteX11" fmla="*/ 147056 w 279408"/>
                  <a:gd name="connsiteY11" fmla="*/ 117457 h 175345"/>
                  <a:gd name="connsiteX12" fmla="*/ 147056 w 279408"/>
                  <a:gd name="connsiteY12" fmla="*/ 59698 h 175345"/>
                  <a:gd name="connsiteX13" fmla="*/ 0 w 279408"/>
                  <a:gd name="connsiteY13" fmla="*/ 1809 h 175345"/>
                  <a:gd name="connsiteX14" fmla="*/ 58824 w 279408"/>
                  <a:gd name="connsiteY14" fmla="*/ 1809 h 175345"/>
                  <a:gd name="connsiteX15" fmla="*/ 58824 w 279408"/>
                  <a:gd name="connsiteY15" fmla="*/ 59698 h 175345"/>
                  <a:gd name="connsiteX16" fmla="*/ 58824 w 279408"/>
                  <a:gd name="connsiteY16" fmla="*/ 117457 h 175345"/>
                  <a:gd name="connsiteX17" fmla="*/ 58824 w 279408"/>
                  <a:gd name="connsiteY17" fmla="*/ 175345 h 175345"/>
                  <a:gd name="connsiteX18" fmla="*/ 0 w 279408"/>
                  <a:gd name="connsiteY18" fmla="*/ 175345 h 175345"/>
                  <a:gd name="connsiteX19" fmla="*/ 0 w 279408"/>
                  <a:gd name="connsiteY19" fmla="*/ 117457 h 175345"/>
                  <a:gd name="connsiteX20" fmla="*/ 0 w 279408"/>
                  <a:gd name="connsiteY20" fmla="*/ 59698 h 175345"/>
                  <a:gd name="connsiteX21" fmla="*/ 249997 w 279408"/>
                  <a:gd name="connsiteY21" fmla="*/ 0 h 175345"/>
                  <a:gd name="connsiteX22" fmla="*/ 279408 w 279408"/>
                  <a:gd name="connsiteY22" fmla="*/ 28945 h 175345"/>
                  <a:gd name="connsiteX23" fmla="*/ 249997 w 279408"/>
                  <a:gd name="connsiteY23" fmla="*/ 57890 h 175345"/>
                  <a:gd name="connsiteX24" fmla="*/ 220584 w 279408"/>
                  <a:gd name="connsiteY24" fmla="*/ 28945 h 175345"/>
                  <a:gd name="connsiteX25" fmla="*/ 249997 w 279408"/>
                  <a:gd name="connsiteY25" fmla="*/ 0 h 175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79408" h="175345">
                    <a:moveTo>
                      <a:pt x="102941" y="59439"/>
                    </a:moveTo>
                    <a:cubicBezTo>
                      <a:pt x="119184" y="59439"/>
                      <a:pt x="132352" y="72399"/>
                      <a:pt x="132352" y="88384"/>
                    </a:cubicBezTo>
                    <a:cubicBezTo>
                      <a:pt x="132352" y="104370"/>
                      <a:pt x="119184" y="117329"/>
                      <a:pt x="102941" y="117329"/>
                    </a:cubicBezTo>
                    <a:cubicBezTo>
                      <a:pt x="86696" y="117329"/>
                      <a:pt x="73528" y="104370"/>
                      <a:pt x="73528" y="88384"/>
                    </a:cubicBezTo>
                    <a:cubicBezTo>
                      <a:pt x="73528" y="72399"/>
                      <a:pt x="86696" y="59439"/>
                      <a:pt x="102941" y="59439"/>
                    </a:cubicBezTo>
                    <a:close/>
                    <a:moveTo>
                      <a:pt x="147056" y="1809"/>
                    </a:moveTo>
                    <a:lnTo>
                      <a:pt x="205880" y="1809"/>
                    </a:lnTo>
                    <a:lnTo>
                      <a:pt x="205880" y="59698"/>
                    </a:lnTo>
                    <a:lnTo>
                      <a:pt x="205880" y="117457"/>
                    </a:lnTo>
                    <a:lnTo>
                      <a:pt x="205880" y="175345"/>
                    </a:lnTo>
                    <a:lnTo>
                      <a:pt x="147056" y="175345"/>
                    </a:lnTo>
                    <a:lnTo>
                      <a:pt x="147056" y="117457"/>
                    </a:lnTo>
                    <a:lnTo>
                      <a:pt x="147056" y="59698"/>
                    </a:lnTo>
                    <a:close/>
                    <a:moveTo>
                      <a:pt x="0" y="1809"/>
                    </a:moveTo>
                    <a:lnTo>
                      <a:pt x="58824" y="1809"/>
                    </a:lnTo>
                    <a:lnTo>
                      <a:pt x="58824" y="59698"/>
                    </a:lnTo>
                    <a:lnTo>
                      <a:pt x="58824" y="117457"/>
                    </a:lnTo>
                    <a:lnTo>
                      <a:pt x="58824" y="175345"/>
                    </a:lnTo>
                    <a:lnTo>
                      <a:pt x="0" y="175345"/>
                    </a:lnTo>
                    <a:lnTo>
                      <a:pt x="0" y="117457"/>
                    </a:lnTo>
                    <a:lnTo>
                      <a:pt x="0" y="59698"/>
                    </a:lnTo>
                    <a:close/>
                    <a:moveTo>
                      <a:pt x="249997" y="0"/>
                    </a:moveTo>
                    <a:cubicBezTo>
                      <a:pt x="266240" y="0"/>
                      <a:pt x="279408" y="12960"/>
                      <a:pt x="279408" y="28945"/>
                    </a:cubicBezTo>
                    <a:cubicBezTo>
                      <a:pt x="279408" y="44931"/>
                      <a:pt x="266240" y="57890"/>
                      <a:pt x="249997" y="57890"/>
                    </a:cubicBezTo>
                    <a:cubicBezTo>
                      <a:pt x="233752" y="57890"/>
                      <a:pt x="220584" y="44931"/>
                      <a:pt x="220584" y="28945"/>
                    </a:cubicBezTo>
                    <a:cubicBezTo>
                      <a:pt x="220584" y="12960"/>
                      <a:pt x="233752" y="0"/>
                      <a:pt x="249997" y="0"/>
                    </a:cubicBezTo>
                    <a:close/>
                  </a:path>
                </a:pathLst>
              </a:custGeom>
              <a:solidFill>
                <a:srgbClr val="FFFFFF"/>
              </a:solidFill>
              <a:ln w="9525" cap="flat">
                <a:noFill/>
                <a:prstDash val="solid"/>
                <a:miter/>
              </a:ln>
            </p:spPr>
            <p:txBody>
              <a:bodyPr wrap="square" rtlCol="0" anchor="ctr">
                <a:noAutofit/>
              </a:bodyPr>
              <a:lstStyle/>
              <a:p>
                <a:endParaRPr lang="en-US"/>
              </a:p>
            </p:txBody>
          </p:sp>
        </p:grpSp>
        <p:sp>
          <p:nvSpPr>
            <p:cNvPr id="28" name="Freeform 27">
              <a:extLst>
                <a:ext uri="{FF2B5EF4-FFF2-40B4-BE49-F238E27FC236}">
                  <a16:creationId xmlns:a16="http://schemas.microsoft.com/office/drawing/2014/main" id="{5BFF2531-C68B-CB49-AC01-9243EBA6F6D9}"/>
                </a:ext>
              </a:extLst>
            </p:cNvPr>
            <p:cNvSpPr/>
            <p:nvPr/>
          </p:nvSpPr>
          <p:spPr>
            <a:xfrm>
              <a:off x="701664" y="6524947"/>
              <a:ext cx="555792" cy="129021"/>
            </a:xfrm>
            <a:custGeom>
              <a:avLst/>
              <a:gdLst>
                <a:gd name="connsiteX0" fmla="*/ 364489 w 555792"/>
                <a:gd name="connsiteY0" fmla="*/ 61830 h 129021"/>
                <a:gd name="connsiteX1" fmla="*/ 343312 w 555792"/>
                <a:gd name="connsiteY1" fmla="*/ 82670 h 129021"/>
                <a:gd name="connsiteX2" fmla="*/ 364489 w 555792"/>
                <a:gd name="connsiteY2" fmla="*/ 106926 h 129021"/>
                <a:gd name="connsiteX3" fmla="*/ 367960 w 555792"/>
                <a:gd name="connsiteY3" fmla="*/ 106926 h 129021"/>
                <a:gd name="connsiteX4" fmla="*/ 389136 w 555792"/>
                <a:gd name="connsiteY4" fmla="*/ 82670 h 129021"/>
                <a:gd name="connsiteX5" fmla="*/ 364489 w 555792"/>
                <a:gd name="connsiteY5" fmla="*/ 61830 h 129021"/>
                <a:gd name="connsiteX6" fmla="*/ 255246 w 555792"/>
                <a:gd name="connsiteY6" fmla="*/ 41285 h 129021"/>
                <a:gd name="connsiteX7" fmla="*/ 280588 w 555792"/>
                <a:gd name="connsiteY7" fmla="*/ 41285 h 129021"/>
                <a:gd name="connsiteX8" fmla="*/ 280588 w 555792"/>
                <a:gd name="connsiteY8" fmla="*/ 126955 h 129021"/>
                <a:gd name="connsiteX9" fmla="*/ 255246 w 555792"/>
                <a:gd name="connsiteY9" fmla="*/ 126955 h 129021"/>
                <a:gd name="connsiteX10" fmla="*/ 121846 w 555792"/>
                <a:gd name="connsiteY10" fmla="*/ 40770 h 129021"/>
                <a:gd name="connsiteX11" fmla="*/ 147188 w 555792"/>
                <a:gd name="connsiteY11" fmla="*/ 40770 h 129021"/>
                <a:gd name="connsiteX12" fmla="*/ 147188 w 555792"/>
                <a:gd name="connsiteY12" fmla="*/ 126439 h 129021"/>
                <a:gd name="connsiteX13" fmla="*/ 121846 w 555792"/>
                <a:gd name="connsiteY13" fmla="*/ 126439 h 129021"/>
                <a:gd name="connsiteX14" fmla="*/ 301329 w 555792"/>
                <a:gd name="connsiteY14" fmla="*/ 40638 h 129021"/>
                <a:gd name="connsiteX15" fmla="*/ 301859 w 555792"/>
                <a:gd name="connsiteY15" fmla="*/ 40638 h 129021"/>
                <a:gd name="connsiteX16" fmla="*/ 316958 w 555792"/>
                <a:gd name="connsiteY16" fmla="*/ 55499 h 129021"/>
                <a:gd name="connsiteX17" fmla="*/ 301859 w 555792"/>
                <a:gd name="connsiteY17" fmla="*/ 70359 h 129021"/>
                <a:gd name="connsiteX18" fmla="*/ 286885 w 555792"/>
                <a:gd name="connsiteY18" fmla="*/ 55893 h 129021"/>
                <a:gd name="connsiteX19" fmla="*/ 286890 w 555792"/>
                <a:gd name="connsiteY19" fmla="*/ 55370 h 129021"/>
                <a:gd name="connsiteX20" fmla="*/ 301329 w 555792"/>
                <a:gd name="connsiteY20" fmla="*/ 40638 h 129021"/>
                <a:gd name="connsiteX21" fmla="*/ 468871 w 555792"/>
                <a:gd name="connsiteY21" fmla="*/ 39863 h 129021"/>
                <a:gd name="connsiteX22" fmla="*/ 495131 w 555792"/>
                <a:gd name="connsiteY22" fmla="*/ 55240 h 129021"/>
                <a:gd name="connsiteX23" fmla="*/ 524542 w 555792"/>
                <a:gd name="connsiteY23" fmla="*/ 39863 h 129021"/>
                <a:gd name="connsiteX24" fmla="*/ 555716 w 555792"/>
                <a:gd name="connsiteY24" fmla="*/ 66406 h 129021"/>
                <a:gd name="connsiteX25" fmla="*/ 555792 w 555792"/>
                <a:gd name="connsiteY25" fmla="*/ 68678 h 129021"/>
                <a:gd name="connsiteX26" fmla="*/ 555792 w 555792"/>
                <a:gd name="connsiteY26" fmla="*/ 126954 h 129021"/>
                <a:gd name="connsiteX27" fmla="*/ 530582 w 555792"/>
                <a:gd name="connsiteY27" fmla="*/ 126954 h 129021"/>
                <a:gd name="connsiteX28" fmla="*/ 530582 w 555792"/>
                <a:gd name="connsiteY28" fmla="*/ 75914 h 129021"/>
                <a:gd name="connsiteX29" fmla="*/ 519946 w 555792"/>
                <a:gd name="connsiteY29" fmla="*/ 60936 h 129021"/>
                <a:gd name="connsiteX30" fmla="*/ 516402 w 555792"/>
                <a:gd name="connsiteY30" fmla="*/ 60796 h 129021"/>
                <a:gd name="connsiteX31" fmla="*/ 499858 w 555792"/>
                <a:gd name="connsiteY31" fmla="*/ 83150 h 129021"/>
                <a:gd name="connsiteX32" fmla="*/ 499858 w 555792"/>
                <a:gd name="connsiteY32" fmla="*/ 126954 h 129021"/>
                <a:gd name="connsiteX33" fmla="*/ 474780 w 555792"/>
                <a:gd name="connsiteY33" fmla="*/ 126954 h 129021"/>
                <a:gd name="connsiteX34" fmla="*/ 474780 w 555792"/>
                <a:gd name="connsiteY34" fmla="*/ 75914 h 129021"/>
                <a:gd name="connsiteX35" fmla="*/ 464116 w 555792"/>
                <a:gd name="connsiteY35" fmla="*/ 60954 h 129021"/>
                <a:gd name="connsiteX36" fmla="*/ 460862 w 555792"/>
                <a:gd name="connsiteY36" fmla="*/ 60796 h 129021"/>
                <a:gd name="connsiteX37" fmla="*/ 444318 w 555792"/>
                <a:gd name="connsiteY37" fmla="*/ 83150 h 129021"/>
                <a:gd name="connsiteX38" fmla="*/ 444318 w 555792"/>
                <a:gd name="connsiteY38" fmla="*/ 126954 h 129021"/>
                <a:gd name="connsiteX39" fmla="*/ 418977 w 555792"/>
                <a:gd name="connsiteY39" fmla="*/ 126954 h 129021"/>
                <a:gd name="connsiteX40" fmla="*/ 418977 w 555792"/>
                <a:gd name="connsiteY40" fmla="*/ 41285 h 129021"/>
                <a:gd name="connsiteX41" fmla="*/ 444318 w 555792"/>
                <a:gd name="connsiteY41" fmla="*/ 41285 h 129021"/>
                <a:gd name="connsiteX42" fmla="*/ 444318 w 555792"/>
                <a:gd name="connsiteY42" fmla="*/ 52785 h 129021"/>
                <a:gd name="connsiteX43" fmla="*/ 468871 w 555792"/>
                <a:gd name="connsiteY43" fmla="*/ 39863 h 129021"/>
                <a:gd name="connsiteX44" fmla="*/ 364489 w 555792"/>
                <a:gd name="connsiteY44" fmla="*/ 39863 h 129021"/>
                <a:gd name="connsiteX45" fmla="*/ 409656 w 555792"/>
                <a:gd name="connsiteY45" fmla="*/ 84443 h 129021"/>
                <a:gd name="connsiteX46" fmla="*/ 409656 w 555792"/>
                <a:gd name="connsiteY46" fmla="*/ 84572 h 129021"/>
                <a:gd name="connsiteX47" fmla="*/ 364227 w 555792"/>
                <a:gd name="connsiteY47" fmla="*/ 129021 h 129021"/>
                <a:gd name="connsiteX48" fmla="*/ 319059 w 555792"/>
                <a:gd name="connsiteY48" fmla="*/ 84313 h 129021"/>
                <a:gd name="connsiteX49" fmla="*/ 364489 w 555792"/>
                <a:gd name="connsiteY49" fmla="*/ 39863 h 129021"/>
                <a:gd name="connsiteX50" fmla="*/ 0 w 555792"/>
                <a:gd name="connsiteY50" fmla="*/ 7947 h 129021"/>
                <a:gd name="connsiteX51" fmla="*/ 27179 w 555792"/>
                <a:gd name="connsiteY51" fmla="*/ 7947 h 129021"/>
                <a:gd name="connsiteX52" fmla="*/ 27179 w 555792"/>
                <a:gd name="connsiteY52" fmla="*/ 54206 h 129021"/>
                <a:gd name="connsiteX53" fmla="*/ 75236 w 555792"/>
                <a:gd name="connsiteY53" fmla="*/ 54206 h 129021"/>
                <a:gd name="connsiteX54" fmla="*/ 75236 w 555792"/>
                <a:gd name="connsiteY54" fmla="*/ 7947 h 129021"/>
                <a:gd name="connsiteX55" fmla="*/ 102678 w 555792"/>
                <a:gd name="connsiteY55" fmla="*/ 7947 h 129021"/>
                <a:gd name="connsiteX56" fmla="*/ 102678 w 555792"/>
                <a:gd name="connsiteY56" fmla="*/ 126954 h 129021"/>
                <a:gd name="connsiteX57" fmla="*/ 75236 w 555792"/>
                <a:gd name="connsiteY57" fmla="*/ 126954 h 129021"/>
                <a:gd name="connsiteX58" fmla="*/ 75236 w 555792"/>
                <a:gd name="connsiteY58" fmla="*/ 77207 h 129021"/>
                <a:gd name="connsiteX59" fmla="*/ 27179 w 555792"/>
                <a:gd name="connsiteY59" fmla="*/ 77207 h 129021"/>
                <a:gd name="connsiteX60" fmla="*/ 27179 w 555792"/>
                <a:gd name="connsiteY60" fmla="*/ 126954 h 129021"/>
                <a:gd name="connsiteX61" fmla="*/ 0 w 555792"/>
                <a:gd name="connsiteY61" fmla="*/ 126954 h 129021"/>
                <a:gd name="connsiteX62" fmla="*/ 210736 w 555792"/>
                <a:gd name="connsiteY62" fmla="*/ 6526 h 129021"/>
                <a:gd name="connsiteX63" fmla="*/ 236078 w 555792"/>
                <a:gd name="connsiteY63" fmla="*/ 6526 h 129021"/>
                <a:gd name="connsiteX64" fmla="*/ 236078 w 555792"/>
                <a:gd name="connsiteY64" fmla="*/ 126955 h 129021"/>
                <a:gd name="connsiteX65" fmla="*/ 210736 w 555792"/>
                <a:gd name="connsiteY65" fmla="*/ 126955 h 129021"/>
                <a:gd name="connsiteX66" fmla="*/ 166619 w 555792"/>
                <a:gd name="connsiteY66" fmla="*/ 6526 h 129021"/>
                <a:gd name="connsiteX67" fmla="*/ 192093 w 555792"/>
                <a:gd name="connsiteY67" fmla="*/ 6526 h 129021"/>
                <a:gd name="connsiteX68" fmla="*/ 192093 w 555792"/>
                <a:gd name="connsiteY68" fmla="*/ 126955 h 129021"/>
                <a:gd name="connsiteX69" fmla="*/ 166619 w 555792"/>
                <a:gd name="connsiteY69" fmla="*/ 126955 h 129021"/>
                <a:gd name="connsiteX70" fmla="*/ 134188 w 555792"/>
                <a:gd name="connsiteY70" fmla="*/ 66 h 129021"/>
                <a:gd name="connsiteX71" fmla="*/ 134452 w 555792"/>
                <a:gd name="connsiteY71" fmla="*/ 66 h 129021"/>
                <a:gd name="connsiteX72" fmla="*/ 151030 w 555792"/>
                <a:gd name="connsiteY72" fmla="*/ 13600 h 129021"/>
                <a:gd name="connsiteX73" fmla="*/ 137277 w 555792"/>
                <a:gd name="connsiteY73" fmla="*/ 29915 h 129021"/>
                <a:gd name="connsiteX74" fmla="*/ 134452 w 555792"/>
                <a:gd name="connsiteY74" fmla="*/ 29915 h 129021"/>
                <a:gd name="connsiteX75" fmla="*/ 119350 w 555792"/>
                <a:gd name="connsiteY75" fmla="*/ 15316 h 129021"/>
                <a:gd name="connsiteX76" fmla="*/ 119352 w 555792"/>
                <a:gd name="connsiteY76" fmla="*/ 14926 h 129021"/>
                <a:gd name="connsiteX77" fmla="*/ 134188 w 555792"/>
                <a:gd name="connsiteY77" fmla="*/ 66 h 129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555792" h="129021">
                  <a:moveTo>
                    <a:pt x="364489" y="61830"/>
                  </a:moveTo>
                  <a:cubicBezTo>
                    <a:pt x="353167" y="62674"/>
                    <a:pt x="344170" y="71529"/>
                    <a:pt x="343312" y="82670"/>
                  </a:cubicBezTo>
                  <a:cubicBezTo>
                    <a:pt x="342353" y="95123"/>
                    <a:pt x="351834" y="105983"/>
                    <a:pt x="364489" y="106926"/>
                  </a:cubicBezTo>
                  <a:cubicBezTo>
                    <a:pt x="365644" y="107012"/>
                    <a:pt x="366805" y="107012"/>
                    <a:pt x="367960" y="106926"/>
                  </a:cubicBezTo>
                  <a:cubicBezTo>
                    <a:pt x="380614" y="105983"/>
                    <a:pt x="390095" y="95123"/>
                    <a:pt x="389136" y="82670"/>
                  </a:cubicBezTo>
                  <a:cubicBezTo>
                    <a:pt x="388178" y="70217"/>
                    <a:pt x="377143" y="60887"/>
                    <a:pt x="364489" y="61830"/>
                  </a:cubicBezTo>
                  <a:close/>
                  <a:moveTo>
                    <a:pt x="255246" y="41285"/>
                  </a:moveTo>
                  <a:lnTo>
                    <a:pt x="280588" y="41285"/>
                  </a:lnTo>
                  <a:lnTo>
                    <a:pt x="280588" y="126955"/>
                  </a:lnTo>
                  <a:lnTo>
                    <a:pt x="255246" y="126955"/>
                  </a:lnTo>
                  <a:close/>
                  <a:moveTo>
                    <a:pt x="121846" y="40770"/>
                  </a:moveTo>
                  <a:lnTo>
                    <a:pt x="147188" y="40770"/>
                  </a:lnTo>
                  <a:lnTo>
                    <a:pt x="147188" y="126439"/>
                  </a:lnTo>
                  <a:lnTo>
                    <a:pt x="121846" y="126439"/>
                  </a:lnTo>
                  <a:close/>
                  <a:moveTo>
                    <a:pt x="301329" y="40638"/>
                  </a:moveTo>
                  <a:cubicBezTo>
                    <a:pt x="301505" y="40635"/>
                    <a:pt x="301682" y="40635"/>
                    <a:pt x="301859" y="40638"/>
                  </a:cubicBezTo>
                  <a:cubicBezTo>
                    <a:pt x="310198" y="40638"/>
                    <a:pt x="316958" y="47292"/>
                    <a:pt x="316958" y="55499"/>
                  </a:cubicBezTo>
                  <a:cubicBezTo>
                    <a:pt x="316958" y="63706"/>
                    <a:pt x="310198" y="70359"/>
                    <a:pt x="301859" y="70359"/>
                  </a:cubicBezTo>
                  <a:cubicBezTo>
                    <a:pt x="293664" y="70433"/>
                    <a:pt x="286961" y="63956"/>
                    <a:pt x="286885" y="55893"/>
                  </a:cubicBezTo>
                  <a:cubicBezTo>
                    <a:pt x="286883" y="55718"/>
                    <a:pt x="286885" y="55544"/>
                    <a:pt x="286890" y="55370"/>
                  </a:cubicBezTo>
                  <a:cubicBezTo>
                    <a:pt x="286743" y="47379"/>
                    <a:pt x="293207" y="40783"/>
                    <a:pt x="301329" y="40638"/>
                  </a:cubicBezTo>
                  <a:close/>
                  <a:moveTo>
                    <a:pt x="468871" y="39863"/>
                  </a:moveTo>
                  <a:cubicBezTo>
                    <a:pt x="480066" y="38933"/>
                    <a:pt x="490621" y="45114"/>
                    <a:pt x="495131" y="55240"/>
                  </a:cubicBezTo>
                  <a:cubicBezTo>
                    <a:pt x="501466" y="45339"/>
                    <a:pt x="512660" y="39487"/>
                    <a:pt x="524542" y="39863"/>
                  </a:cubicBezTo>
                  <a:cubicBezTo>
                    <a:pt x="540599" y="38721"/>
                    <a:pt x="554556" y="50605"/>
                    <a:pt x="555716" y="66406"/>
                  </a:cubicBezTo>
                  <a:cubicBezTo>
                    <a:pt x="555772" y="67162"/>
                    <a:pt x="555797" y="67920"/>
                    <a:pt x="555792" y="68678"/>
                  </a:cubicBezTo>
                  <a:lnTo>
                    <a:pt x="555792" y="126954"/>
                  </a:lnTo>
                  <a:lnTo>
                    <a:pt x="530582" y="126954"/>
                  </a:lnTo>
                  <a:lnTo>
                    <a:pt x="530582" y="75914"/>
                  </a:lnTo>
                  <a:cubicBezTo>
                    <a:pt x="531848" y="68888"/>
                    <a:pt x="527086" y="62181"/>
                    <a:pt x="519946" y="60936"/>
                  </a:cubicBezTo>
                  <a:cubicBezTo>
                    <a:pt x="518776" y="60732"/>
                    <a:pt x="517584" y="60685"/>
                    <a:pt x="516402" y="60796"/>
                  </a:cubicBezTo>
                  <a:cubicBezTo>
                    <a:pt x="505898" y="60796"/>
                    <a:pt x="499858" y="69324"/>
                    <a:pt x="499858" y="83150"/>
                  </a:cubicBezTo>
                  <a:lnTo>
                    <a:pt x="499858" y="126954"/>
                  </a:lnTo>
                  <a:lnTo>
                    <a:pt x="474780" y="126954"/>
                  </a:lnTo>
                  <a:lnTo>
                    <a:pt x="474780" y="75914"/>
                  </a:lnTo>
                  <a:cubicBezTo>
                    <a:pt x="476033" y="68885"/>
                    <a:pt x="471259" y="62187"/>
                    <a:pt x="464116" y="60954"/>
                  </a:cubicBezTo>
                  <a:cubicBezTo>
                    <a:pt x="463043" y="60769"/>
                    <a:pt x="461949" y="60716"/>
                    <a:pt x="460862" y="60796"/>
                  </a:cubicBezTo>
                  <a:cubicBezTo>
                    <a:pt x="450489" y="60796"/>
                    <a:pt x="444318" y="69454"/>
                    <a:pt x="444318" y="83150"/>
                  </a:cubicBezTo>
                  <a:lnTo>
                    <a:pt x="444318" y="126954"/>
                  </a:lnTo>
                  <a:lnTo>
                    <a:pt x="418977" y="126954"/>
                  </a:lnTo>
                  <a:lnTo>
                    <a:pt x="418977" y="41285"/>
                  </a:lnTo>
                  <a:lnTo>
                    <a:pt x="444318" y="41285"/>
                  </a:lnTo>
                  <a:lnTo>
                    <a:pt x="444318" y="52785"/>
                  </a:lnTo>
                  <a:cubicBezTo>
                    <a:pt x="449587" y="44489"/>
                    <a:pt x="458935" y="39570"/>
                    <a:pt x="468871" y="39863"/>
                  </a:cubicBezTo>
                  <a:close/>
                  <a:moveTo>
                    <a:pt x="364489" y="39863"/>
                  </a:moveTo>
                  <a:cubicBezTo>
                    <a:pt x="389455" y="39935"/>
                    <a:pt x="409656" y="59873"/>
                    <a:pt x="409656" y="84443"/>
                  </a:cubicBezTo>
                  <a:cubicBezTo>
                    <a:pt x="409656" y="84486"/>
                    <a:pt x="409656" y="84529"/>
                    <a:pt x="409656" y="84572"/>
                  </a:cubicBezTo>
                  <a:cubicBezTo>
                    <a:pt x="409583" y="109192"/>
                    <a:pt x="389244" y="129093"/>
                    <a:pt x="364227" y="129021"/>
                  </a:cubicBezTo>
                  <a:cubicBezTo>
                    <a:pt x="339208" y="128950"/>
                    <a:pt x="318986" y="108934"/>
                    <a:pt x="319059" y="84313"/>
                  </a:cubicBezTo>
                  <a:cubicBezTo>
                    <a:pt x="319131" y="59693"/>
                    <a:pt x="339471" y="39792"/>
                    <a:pt x="364489" y="39863"/>
                  </a:cubicBezTo>
                  <a:close/>
                  <a:moveTo>
                    <a:pt x="0" y="7947"/>
                  </a:moveTo>
                  <a:lnTo>
                    <a:pt x="27179" y="7947"/>
                  </a:lnTo>
                  <a:lnTo>
                    <a:pt x="27179" y="54206"/>
                  </a:lnTo>
                  <a:lnTo>
                    <a:pt x="75236" y="54206"/>
                  </a:lnTo>
                  <a:lnTo>
                    <a:pt x="75236" y="7947"/>
                  </a:lnTo>
                  <a:lnTo>
                    <a:pt x="102678" y="7947"/>
                  </a:lnTo>
                  <a:lnTo>
                    <a:pt x="102678" y="126954"/>
                  </a:lnTo>
                  <a:lnTo>
                    <a:pt x="75236" y="126954"/>
                  </a:lnTo>
                  <a:lnTo>
                    <a:pt x="75236" y="77207"/>
                  </a:lnTo>
                  <a:lnTo>
                    <a:pt x="27179" y="77207"/>
                  </a:lnTo>
                  <a:lnTo>
                    <a:pt x="27179" y="126954"/>
                  </a:lnTo>
                  <a:lnTo>
                    <a:pt x="0" y="126954"/>
                  </a:lnTo>
                  <a:close/>
                  <a:moveTo>
                    <a:pt x="210736" y="6526"/>
                  </a:moveTo>
                  <a:lnTo>
                    <a:pt x="236078" y="6526"/>
                  </a:lnTo>
                  <a:lnTo>
                    <a:pt x="236078" y="126955"/>
                  </a:lnTo>
                  <a:lnTo>
                    <a:pt x="210736" y="126955"/>
                  </a:lnTo>
                  <a:close/>
                  <a:moveTo>
                    <a:pt x="166619" y="6526"/>
                  </a:moveTo>
                  <a:lnTo>
                    <a:pt x="192093" y="6526"/>
                  </a:lnTo>
                  <a:lnTo>
                    <a:pt x="192093" y="126955"/>
                  </a:lnTo>
                  <a:lnTo>
                    <a:pt x="166619" y="126955"/>
                  </a:lnTo>
                  <a:close/>
                  <a:moveTo>
                    <a:pt x="134188" y="66"/>
                  </a:moveTo>
                  <a:cubicBezTo>
                    <a:pt x="134276" y="65"/>
                    <a:pt x="134364" y="65"/>
                    <a:pt x="134452" y="66"/>
                  </a:cubicBezTo>
                  <a:cubicBezTo>
                    <a:pt x="142828" y="-702"/>
                    <a:pt x="150250" y="5357"/>
                    <a:pt x="151030" y="13600"/>
                  </a:cubicBezTo>
                  <a:cubicBezTo>
                    <a:pt x="151810" y="21842"/>
                    <a:pt x="145653" y="29148"/>
                    <a:pt x="137277" y="29915"/>
                  </a:cubicBezTo>
                  <a:cubicBezTo>
                    <a:pt x="136338" y="30002"/>
                    <a:pt x="135392" y="30002"/>
                    <a:pt x="134452" y="29915"/>
                  </a:cubicBezTo>
                  <a:cubicBezTo>
                    <a:pt x="126185" y="29988"/>
                    <a:pt x="119424" y="23451"/>
                    <a:pt x="119350" y="15316"/>
                  </a:cubicBezTo>
                  <a:cubicBezTo>
                    <a:pt x="119349" y="15186"/>
                    <a:pt x="119349" y="15056"/>
                    <a:pt x="119352" y="14926"/>
                  </a:cubicBezTo>
                  <a:cubicBezTo>
                    <a:pt x="119279" y="6790"/>
                    <a:pt x="125921" y="137"/>
                    <a:pt x="134188" y="66"/>
                  </a:cubicBezTo>
                  <a:close/>
                </a:path>
              </a:pathLst>
            </a:custGeom>
            <a:solidFill>
              <a:srgbClr val="000839"/>
            </a:solidFill>
            <a:ln w="9525" cap="flat">
              <a:noFill/>
              <a:prstDash val="solid"/>
              <a:miter/>
            </a:ln>
          </p:spPr>
          <p:txBody>
            <a:bodyPr wrap="square" rtlCol="0" anchor="ctr">
              <a:noAutofit/>
            </a:bodyPr>
            <a:lstStyle/>
            <a:p>
              <a:endParaRPr lang="en-US"/>
            </a:p>
          </p:txBody>
        </p:sp>
      </p:grpSp>
    </p:spTree>
    <p:extLst>
      <p:ext uri="{BB962C8B-B14F-4D97-AF65-F5344CB8AC3E}">
        <p14:creationId xmlns:p14="http://schemas.microsoft.com/office/powerpoint/2010/main" val="31599875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Body - 2 Column / Subhead">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D5D1CCD3-4B95-894D-BEE1-95741C9C73F9}"/>
              </a:ext>
            </a:extLst>
          </p:cNvPr>
          <p:cNvSpPr>
            <a:spLocks noGrp="1"/>
          </p:cNvSpPr>
          <p:nvPr>
            <p:ph type="pic" sz="quarter" idx="17"/>
          </p:nvPr>
        </p:nvSpPr>
        <p:spPr>
          <a:xfrm>
            <a:off x="6096000" y="3572"/>
            <a:ext cx="6083300" cy="6854428"/>
          </a:xfrm>
          <a:prstGeom prst="rect">
            <a:avLst/>
          </a:prstGeom>
          <a:solidFill>
            <a:schemeClr val="accent5">
              <a:lumMod val="20000"/>
              <a:lumOff val="80000"/>
            </a:schemeClr>
          </a:solidFill>
        </p:spPr>
        <p:txBody>
          <a:bodyPr anchor="ctr"/>
          <a:lstStyle>
            <a:lvl1pPr marL="0" indent="0" algn="ctr">
              <a:buNone/>
              <a:defRPr/>
            </a:lvl1pPr>
          </a:lstStyle>
          <a:p>
            <a:r>
              <a:rPr lang="en-US"/>
              <a:t>Click icon to add picture</a:t>
            </a:r>
          </a:p>
        </p:txBody>
      </p:sp>
      <p:sp>
        <p:nvSpPr>
          <p:cNvPr id="3" name="Subtitle 2">
            <a:extLst>
              <a:ext uri="{FF2B5EF4-FFF2-40B4-BE49-F238E27FC236}">
                <a16:creationId xmlns:a16="http://schemas.microsoft.com/office/drawing/2014/main" id="{99C2B2A5-C177-4445-AF46-3ED43A1CC4CB}"/>
              </a:ext>
            </a:extLst>
          </p:cNvPr>
          <p:cNvSpPr>
            <a:spLocks noGrp="1"/>
          </p:cNvSpPr>
          <p:nvPr>
            <p:ph type="subTitle" idx="1"/>
          </p:nvPr>
        </p:nvSpPr>
        <p:spPr>
          <a:xfrm>
            <a:off x="594811" y="2075959"/>
            <a:ext cx="5338335" cy="380487"/>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lang="en-US" sz="1600" b="1" i="0" kern="1200" cap="all" spc="50" baseline="0" dirty="0">
                <a:solidFill>
                  <a:schemeClr val="accent1"/>
                </a:solidFill>
                <a:latin typeface="+mj-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8">
            <a:extLst>
              <a:ext uri="{FF2B5EF4-FFF2-40B4-BE49-F238E27FC236}">
                <a16:creationId xmlns:a16="http://schemas.microsoft.com/office/drawing/2014/main" id="{FD3B8154-5856-0144-90B5-3564DC77E658}"/>
              </a:ext>
            </a:extLst>
          </p:cNvPr>
          <p:cNvSpPr>
            <a:spLocks noGrp="1"/>
          </p:cNvSpPr>
          <p:nvPr>
            <p:ph type="title"/>
          </p:nvPr>
        </p:nvSpPr>
        <p:spPr>
          <a:xfrm>
            <a:off x="594811" y="914504"/>
            <a:ext cx="5338335" cy="1099898"/>
          </a:xfrm>
          <a:prstGeom prst="rect">
            <a:avLst/>
          </a:prstGeom>
        </p:spPr>
        <p:txBody>
          <a:bodyPr/>
          <a:lstStyle>
            <a:lvl1pPr marL="0" algn="l" defTabSz="914400" rtl="0" eaLnBrk="1" latinLnBrk="0" hangingPunct="1">
              <a:lnSpc>
                <a:spcPct val="90000"/>
              </a:lnSpc>
              <a:spcBef>
                <a:spcPct val="0"/>
              </a:spcBef>
              <a:buNone/>
              <a:defRPr lang="en-US" sz="3200" b="1" i="0" kern="1200" cap="none" spc="0" baseline="0" dirty="0">
                <a:solidFill>
                  <a:schemeClr val="tx1"/>
                </a:solidFill>
                <a:latin typeface="+mj-lt"/>
                <a:ea typeface="+mj-ea"/>
                <a:cs typeface="+mj-cs"/>
              </a:defRPr>
            </a:lvl1pPr>
          </a:lstStyle>
          <a:p>
            <a:r>
              <a:rPr lang="en-US"/>
              <a:t>Click to edit Master title style</a:t>
            </a:r>
          </a:p>
        </p:txBody>
      </p:sp>
      <p:sp>
        <p:nvSpPr>
          <p:cNvPr id="25" name="Slide Number Placeholder 5">
            <a:extLst>
              <a:ext uri="{FF2B5EF4-FFF2-40B4-BE49-F238E27FC236}">
                <a16:creationId xmlns:a16="http://schemas.microsoft.com/office/drawing/2014/main" id="{AD1BF4CE-3DF0-7146-B832-F28D989BD54D}"/>
              </a:ext>
            </a:extLst>
          </p:cNvPr>
          <p:cNvSpPr>
            <a:spLocks noGrp="1"/>
          </p:cNvSpPr>
          <p:nvPr>
            <p:ph type="sldNum" sz="quarter" idx="4"/>
          </p:nvPr>
        </p:nvSpPr>
        <p:spPr>
          <a:xfrm>
            <a:off x="11537879" y="6325527"/>
            <a:ext cx="370726" cy="365125"/>
          </a:xfrm>
          <a:prstGeom prst="rect">
            <a:avLst/>
          </a:prstGeom>
        </p:spPr>
        <p:txBody>
          <a:bodyPr vert="horz" lIns="91440" tIns="45720" rIns="91440" bIns="45720" rtlCol="0" anchor="b"/>
          <a:lstStyle>
            <a:lvl1pPr algn="r">
              <a:defRPr sz="800" b="1" i="0">
                <a:solidFill>
                  <a:schemeClr val="tx1">
                    <a:tint val="75000"/>
                  </a:schemeClr>
                </a:solidFill>
                <a:latin typeface="+mj-lt"/>
              </a:defRPr>
            </a:lvl1pPr>
          </a:lstStyle>
          <a:p>
            <a:fld id="{EB3C441C-A16D-4531-8F9E-BFE4D57FBC82}" type="slidenum">
              <a:rPr lang="en-US" smtClean="0"/>
              <a:t>‹N°›</a:t>
            </a:fld>
            <a:endParaRPr lang="en-US"/>
          </a:p>
        </p:txBody>
      </p:sp>
      <p:sp>
        <p:nvSpPr>
          <p:cNvPr id="30" name="Footer Placeholder 54">
            <a:extLst>
              <a:ext uri="{FF2B5EF4-FFF2-40B4-BE49-F238E27FC236}">
                <a16:creationId xmlns:a16="http://schemas.microsoft.com/office/drawing/2014/main" id="{5D3F1372-194F-9B4E-9F0F-8AEFE5AC1504}"/>
              </a:ext>
            </a:extLst>
          </p:cNvPr>
          <p:cNvSpPr>
            <a:spLocks noGrp="1"/>
          </p:cNvSpPr>
          <p:nvPr>
            <p:ph type="ftr" sz="quarter" idx="15"/>
          </p:nvPr>
        </p:nvSpPr>
        <p:spPr>
          <a:xfrm>
            <a:off x="1819551" y="6340392"/>
            <a:ext cx="4114800" cy="365125"/>
          </a:xfrm>
          <a:prstGeom prst="rect">
            <a:avLst/>
          </a:prstGeom>
        </p:spPr>
        <p:txBody>
          <a:bodyPr anchor="b" anchorCtr="0"/>
          <a:lstStyle>
            <a:lvl1pPr>
              <a:defRPr sz="700">
                <a:solidFill>
                  <a:schemeClr val="accent2"/>
                </a:solidFill>
              </a:defRPr>
            </a:lvl1pPr>
          </a:lstStyle>
          <a:p>
            <a:endParaRPr lang="en-US"/>
          </a:p>
        </p:txBody>
      </p:sp>
      <p:sp>
        <p:nvSpPr>
          <p:cNvPr id="24" name="Text Placeholder 3">
            <a:extLst>
              <a:ext uri="{FF2B5EF4-FFF2-40B4-BE49-F238E27FC236}">
                <a16:creationId xmlns:a16="http://schemas.microsoft.com/office/drawing/2014/main" id="{779FE3BB-F839-CC4F-9063-4C3184605394}"/>
              </a:ext>
            </a:extLst>
          </p:cNvPr>
          <p:cNvSpPr>
            <a:spLocks noGrp="1"/>
          </p:cNvSpPr>
          <p:nvPr>
            <p:ph type="body" sz="quarter" idx="13"/>
          </p:nvPr>
        </p:nvSpPr>
        <p:spPr>
          <a:xfrm>
            <a:off x="688350" y="498222"/>
            <a:ext cx="1997663" cy="244682"/>
          </a:xfrm>
          <a:prstGeom prst="rect">
            <a:avLst/>
          </a:prstGeom>
          <a:solidFill>
            <a:schemeClr val="accent1"/>
          </a:solidFill>
          <a:ln>
            <a:noFill/>
          </a:ln>
        </p:spPr>
        <p:txBody>
          <a:bodyPr wrap="none" anchor="ctr">
            <a:spAutoFit/>
          </a:bodyPr>
          <a:lstStyle>
            <a:lvl1pPr marL="0" indent="0">
              <a:buNone/>
              <a:defRPr sz="1100" b="1" cap="all" spc="50" baseline="0">
                <a:solidFill>
                  <a:schemeClr val="bg1"/>
                </a:solidFill>
                <a:latin typeface="+mj-lt"/>
              </a:defRPr>
            </a:lvl1pPr>
          </a:lstStyle>
          <a:p>
            <a:pPr lvl="0"/>
            <a:r>
              <a:rPr lang="en-US"/>
              <a:t>Edit Master text styles</a:t>
            </a:r>
          </a:p>
        </p:txBody>
      </p:sp>
      <p:sp>
        <p:nvSpPr>
          <p:cNvPr id="27" name="Content Placeholder 49">
            <a:extLst>
              <a:ext uri="{FF2B5EF4-FFF2-40B4-BE49-F238E27FC236}">
                <a16:creationId xmlns:a16="http://schemas.microsoft.com/office/drawing/2014/main" id="{49955ABD-DD5B-EB4B-A6F3-84B66815C3D8}"/>
              </a:ext>
            </a:extLst>
          </p:cNvPr>
          <p:cNvSpPr>
            <a:spLocks noGrp="1"/>
          </p:cNvSpPr>
          <p:nvPr>
            <p:ph sz="quarter" idx="18"/>
          </p:nvPr>
        </p:nvSpPr>
        <p:spPr>
          <a:xfrm>
            <a:off x="594812" y="2715835"/>
            <a:ext cx="5338334" cy="3218746"/>
          </a:xfrm>
          <a:prstGeom prst="rect">
            <a:avLst/>
          </a:prstGeom>
        </p:spPr>
        <p:txBody>
          <a:bodyPr/>
          <a:lstStyle>
            <a:lvl1pPr marL="0" indent="0">
              <a:lnSpc>
                <a:spcPct val="125000"/>
              </a:lnSpc>
              <a:spcBef>
                <a:spcPts val="0"/>
              </a:spcBef>
              <a:buNone/>
              <a:defRPr sz="1400"/>
            </a:lvl1pPr>
            <a:lvl2pPr marL="11113" indent="0">
              <a:lnSpc>
                <a:spcPct val="110000"/>
              </a:lnSpc>
              <a:spcBef>
                <a:spcPts val="0"/>
              </a:spcBef>
              <a:buNone/>
              <a:tabLst/>
              <a:defRPr sz="1400"/>
            </a:lvl2pPr>
            <a:lvl3pPr marL="230188" indent="-219075">
              <a:lnSpc>
                <a:spcPct val="110000"/>
              </a:lnSpc>
              <a:spcBef>
                <a:spcPts val="0"/>
              </a:spcBef>
              <a:spcAft>
                <a:spcPts val="0"/>
              </a:spcAft>
              <a:buFont typeface="System Font Regular"/>
              <a:buChar char="–"/>
              <a:tabLst/>
              <a:defRPr sz="1400"/>
            </a:lvl3pPr>
            <a:lvl4pPr marL="342900" indent="-176213">
              <a:lnSpc>
                <a:spcPct val="110000"/>
              </a:lnSpc>
              <a:spcBef>
                <a:spcPts val="0"/>
              </a:spcBef>
              <a:buFont typeface="System Font Regular"/>
              <a:buChar char="+"/>
              <a:tabLst/>
              <a:defRPr sz="1400"/>
            </a:lvl4pPr>
            <a:lvl5pPr marL="574675" indent="-176213">
              <a:lnSpc>
                <a:spcPct val="110000"/>
              </a:lnSpc>
              <a:spcBef>
                <a:spcPts val="0"/>
              </a:spcBef>
              <a:buFont typeface="System Font Regular"/>
              <a:buChar char="–"/>
              <a:tabLst/>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8" name="Group 27">
            <a:extLst>
              <a:ext uri="{FF2B5EF4-FFF2-40B4-BE49-F238E27FC236}">
                <a16:creationId xmlns:a16="http://schemas.microsoft.com/office/drawing/2014/main" id="{3ECC4537-3418-1247-8CFA-B3B12E49B39C}"/>
              </a:ext>
            </a:extLst>
          </p:cNvPr>
          <p:cNvGrpSpPr/>
          <p:nvPr/>
        </p:nvGrpSpPr>
        <p:grpSpPr>
          <a:xfrm>
            <a:off x="3047" y="6305605"/>
            <a:ext cx="1254409" cy="552395"/>
            <a:chOff x="3047" y="6305605"/>
            <a:chExt cx="1254409" cy="552395"/>
          </a:xfrm>
        </p:grpSpPr>
        <p:grpSp>
          <p:nvGrpSpPr>
            <p:cNvPr id="31" name="Group 30">
              <a:extLst>
                <a:ext uri="{FF2B5EF4-FFF2-40B4-BE49-F238E27FC236}">
                  <a16:creationId xmlns:a16="http://schemas.microsoft.com/office/drawing/2014/main" id="{875C0928-ACDF-C740-AB5D-E5C190EB9CE8}"/>
                </a:ext>
              </a:extLst>
            </p:cNvPr>
            <p:cNvGrpSpPr/>
            <p:nvPr/>
          </p:nvGrpSpPr>
          <p:grpSpPr>
            <a:xfrm>
              <a:off x="3047" y="6305605"/>
              <a:ext cx="551693" cy="552395"/>
              <a:chOff x="3047" y="6305605"/>
              <a:chExt cx="551693" cy="552395"/>
            </a:xfrm>
          </p:grpSpPr>
          <p:sp>
            <p:nvSpPr>
              <p:cNvPr id="33" name="Rectangle 32">
                <a:extLst>
                  <a:ext uri="{FF2B5EF4-FFF2-40B4-BE49-F238E27FC236}">
                    <a16:creationId xmlns:a16="http://schemas.microsoft.com/office/drawing/2014/main" id="{1F47CF7F-B6F0-F248-B609-A3B8216B8C0F}"/>
                  </a:ext>
                </a:extLst>
              </p:cNvPr>
              <p:cNvSpPr/>
              <p:nvPr/>
            </p:nvSpPr>
            <p:spPr>
              <a:xfrm>
                <a:off x="3047" y="6305605"/>
                <a:ext cx="551693" cy="552395"/>
              </a:xfrm>
              <a:prstGeom prst="rect">
                <a:avLst/>
              </a:prstGeom>
              <a:solidFill>
                <a:srgbClr val="5369E4"/>
              </a:solidFill>
              <a:ln w="9525"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5261AA5B-1334-0D41-BCD7-2A795035F9C4}"/>
                  </a:ext>
                </a:extLst>
              </p:cNvPr>
              <p:cNvSpPr/>
              <p:nvPr/>
            </p:nvSpPr>
            <p:spPr>
              <a:xfrm>
                <a:off x="173577" y="6501753"/>
                <a:ext cx="279408" cy="175345"/>
              </a:xfrm>
              <a:custGeom>
                <a:avLst/>
                <a:gdLst>
                  <a:gd name="connsiteX0" fmla="*/ 102941 w 279408"/>
                  <a:gd name="connsiteY0" fmla="*/ 59439 h 175345"/>
                  <a:gd name="connsiteX1" fmla="*/ 132352 w 279408"/>
                  <a:gd name="connsiteY1" fmla="*/ 88384 h 175345"/>
                  <a:gd name="connsiteX2" fmla="*/ 102941 w 279408"/>
                  <a:gd name="connsiteY2" fmla="*/ 117329 h 175345"/>
                  <a:gd name="connsiteX3" fmla="*/ 73528 w 279408"/>
                  <a:gd name="connsiteY3" fmla="*/ 88384 h 175345"/>
                  <a:gd name="connsiteX4" fmla="*/ 102941 w 279408"/>
                  <a:gd name="connsiteY4" fmla="*/ 59439 h 175345"/>
                  <a:gd name="connsiteX5" fmla="*/ 147056 w 279408"/>
                  <a:gd name="connsiteY5" fmla="*/ 1809 h 175345"/>
                  <a:gd name="connsiteX6" fmla="*/ 205880 w 279408"/>
                  <a:gd name="connsiteY6" fmla="*/ 1809 h 175345"/>
                  <a:gd name="connsiteX7" fmla="*/ 205880 w 279408"/>
                  <a:gd name="connsiteY7" fmla="*/ 59698 h 175345"/>
                  <a:gd name="connsiteX8" fmla="*/ 205880 w 279408"/>
                  <a:gd name="connsiteY8" fmla="*/ 117457 h 175345"/>
                  <a:gd name="connsiteX9" fmla="*/ 205880 w 279408"/>
                  <a:gd name="connsiteY9" fmla="*/ 175345 h 175345"/>
                  <a:gd name="connsiteX10" fmla="*/ 147056 w 279408"/>
                  <a:gd name="connsiteY10" fmla="*/ 175345 h 175345"/>
                  <a:gd name="connsiteX11" fmla="*/ 147056 w 279408"/>
                  <a:gd name="connsiteY11" fmla="*/ 117457 h 175345"/>
                  <a:gd name="connsiteX12" fmla="*/ 147056 w 279408"/>
                  <a:gd name="connsiteY12" fmla="*/ 59698 h 175345"/>
                  <a:gd name="connsiteX13" fmla="*/ 0 w 279408"/>
                  <a:gd name="connsiteY13" fmla="*/ 1809 h 175345"/>
                  <a:gd name="connsiteX14" fmla="*/ 58824 w 279408"/>
                  <a:gd name="connsiteY14" fmla="*/ 1809 h 175345"/>
                  <a:gd name="connsiteX15" fmla="*/ 58824 w 279408"/>
                  <a:gd name="connsiteY15" fmla="*/ 59698 h 175345"/>
                  <a:gd name="connsiteX16" fmla="*/ 58824 w 279408"/>
                  <a:gd name="connsiteY16" fmla="*/ 117457 h 175345"/>
                  <a:gd name="connsiteX17" fmla="*/ 58824 w 279408"/>
                  <a:gd name="connsiteY17" fmla="*/ 175345 h 175345"/>
                  <a:gd name="connsiteX18" fmla="*/ 0 w 279408"/>
                  <a:gd name="connsiteY18" fmla="*/ 175345 h 175345"/>
                  <a:gd name="connsiteX19" fmla="*/ 0 w 279408"/>
                  <a:gd name="connsiteY19" fmla="*/ 117457 h 175345"/>
                  <a:gd name="connsiteX20" fmla="*/ 0 w 279408"/>
                  <a:gd name="connsiteY20" fmla="*/ 59698 h 175345"/>
                  <a:gd name="connsiteX21" fmla="*/ 249997 w 279408"/>
                  <a:gd name="connsiteY21" fmla="*/ 0 h 175345"/>
                  <a:gd name="connsiteX22" fmla="*/ 279408 w 279408"/>
                  <a:gd name="connsiteY22" fmla="*/ 28945 h 175345"/>
                  <a:gd name="connsiteX23" fmla="*/ 249997 w 279408"/>
                  <a:gd name="connsiteY23" fmla="*/ 57890 h 175345"/>
                  <a:gd name="connsiteX24" fmla="*/ 220584 w 279408"/>
                  <a:gd name="connsiteY24" fmla="*/ 28945 h 175345"/>
                  <a:gd name="connsiteX25" fmla="*/ 249997 w 279408"/>
                  <a:gd name="connsiteY25" fmla="*/ 0 h 175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79408" h="175345">
                    <a:moveTo>
                      <a:pt x="102941" y="59439"/>
                    </a:moveTo>
                    <a:cubicBezTo>
                      <a:pt x="119184" y="59439"/>
                      <a:pt x="132352" y="72399"/>
                      <a:pt x="132352" y="88384"/>
                    </a:cubicBezTo>
                    <a:cubicBezTo>
                      <a:pt x="132352" y="104370"/>
                      <a:pt x="119184" y="117329"/>
                      <a:pt x="102941" y="117329"/>
                    </a:cubicBezTo>
                    <a:cubicBezTo>
                      <a:pt x="86696" y="117329"/>
                      <a:pt x="73528" y="104370"/>
                      <a:pt x="73528" y="88384"/>
                    </a:cubicBezTo>
                    <a:cubicBezTo>
                      <a:pt x="73528" y="72399"/>
                      <a:pt x="86696" y="59439"/>
                      <a:pt x="102941" y="59439"/>
                    </a:cubicBezTo>
                    <a:close/>
                    <a:moveTo>
                      <a:pt x="147056" y="1809"/>
                    </a:moveTo>
                    <a:lnTo>
                      <a:pt x="205880" y="1809"/>
                    </a:lnTo>
                    <a:lnTo>
                      <a:pt x="205880" y="59698"/>
                    </a:lnTo>
                    <a:lnTo>
                      <a:pt x="205880" y="117457"/>
                    </a:lnTo>
                    <a:lnTo>
                      <a:pt x="205880" y="175345"/>
                    </a:lnTo>
                    <a:lnTo>
                      <a:pt x="147056" y="175345"/>
                    </a:lnTo>
                    <a:lnTo>
                      <a:pt x="147056" y="117457"/>
                    </a:lnTo>
                    <a:lnTo>
                      <a:pt x="147056" y="59698"/>
                    </a:lnTo>
                    <a:close/>
                    <a:moveTo>
                      <a:pt x="0" y="1809"/>
                    </a:moveTo>
                    <a:lnTo>
                      <a:pt x="58824" y="1809"/>
                    </a:lnTo>
                    <a:lnTo>
                      <a:pt x="58824" y="59698"/>
                    </a:lnTo>
                    <a:lnTo>
                      <a:pt x="58824" y="117457"/>
                    </a:lnTo>
                    <a:lnTo>
                      <a:pt x="58824" y="175345"/>
                    </a:lnTo>
                    <a:lnTo>
                      <a:pt x="0" y="175345"/>
                    </a:lnTo>
                    <a:lnTo>
                      <a:pt x="0" y="117457"/>
                    </a:lnTo>
                    <a:lnTo>
                      <a:pt x="0" y="59698"/>
                    </a:lnTo>
                    <a:close/>
                    <a:moveTo>
                      <a:pt x="249997" y="0"/>
                    </a:moveTo>
                    <a:cubicBezTo>
                      <a:pt x="266240" y="0"/>
                      <a:pt x="279408" y="12960"/>
                      <a:pt x="279408" y="28945"/>
                    </a:cubicBezTo>
                    <a:cubicBezTo>
                      <a:pt x="279408" y="44931"/>
                      <a:pt x="266240" y="57890"/>
                      <a:pt x="249997" y="57890"/>
                    </a:cubicBezTo>
                    <a:cubicBezTo>
                      <a:pt x="233752" y="57890"/>
                      <a:pt x="220584" y="44931"/>
                      <a:pt x="220584" y="28945"/>
                    </a:cubicBezTo>
                    <a:cubicBezTo>
                      <a:pt x="220584" y="12960"/>
                      <a:pt x="233752" y="0"/>
                      <a:pt x="249997" y="0"/>
                    </a:cubicBezTo>
                    <a:close/>
                  </a:path>
                </a:pathLst>
              </a:custGeom>
              <a:solidFill>
                <a:srgbClr val="FFFFFF"/>
              </a:solidFill>
              <a:ln w="9525" cap="flat">
                <a:noFill/>
                <a:prstDash val="solid"/>
                <a:miter/>
              </a:ln>
            </p:spPr>
            <p:txBody>
              <a:bodyPr wrap="square" rtlCol="0" anchor="ctr">
                <a:noAutofit/>
              </a:bodyPr>
              <a:lstStyle/>
              <a:p>
                <a:endParaRPr lang="en-US"/>
              </a:p>
            </p:txBody>
          </p:sp>
        </p:grpSp>
        <p:sp>
          <p:nvSpPr>
            <p:cNvPr id="32" name="Freeform 31">
              <a:extLst>
                <a:ext uri="{FF2B5EF4-FFF2-40B4-BE49-F238E27FC236}">
                  <a16:creationId xmlns:a16="http://schemas.microsoft.com/office/drawing/2014/main" id="{6EECAA74-431D-FF43-8738-C706315ACE40}"/>
                </a:ext>
              </a:extLst>
            </p:cNvPr>
            <p:cNvSpPr/>
            <p:nvPr/>
          </p:nvSpPr>
          <p:spPr>
            <a:xfrm>
              <a:off x="701664" y="6524947"/>
              <a:ext cx="555792" cy="129021"/>
            </a:xfrm>
            <a:custGeom>
              <a:avLst/>
              <a:gdLst>
                <a:gd name="connsiteX0" fmla="*/ 364489 w 555792"/>
                <a:gd name="connsiteY0" fmla="*/ 61830 h 129021"/>
                <a:gd name="connsiteX1" fmla="*/ 343312 w 555792"/>
                <a:gd name="connsiteY1" fmla="*/ 82670 h 129021"/>
                <a:gd name="connsiteX2" fmla="*/ 364489 w 555792"/>
                <a:gd name="connsiteY2" fmla="*/ 106926 h 129021"/>
                <a:gd name="connsiteX3" fmla="*/ 367960 w 555792"/>
                <a:gd name="connsiteY3" fmla="*/ 106926 h 129021"/>
                <a:gd name="connsiteX4" fmla="*/ 389136 w 555792"/>
                <a:gd name="connsiteY4" fmla="*/ 82670 h 129021"/>
                <a:gd name="connsiteX5" fmla="*/ 364489 w 555792"/>
                <a:gd name="connsiteY5" fmla="*/ 61830 h 129021"/>
                <a:gd name="connsiteX6" fmla="*/ 255246 w 555792"/>
                <a:gd name="connsiteY6" fmla="*/ 41285 h 129021"/>
                <a:gd name="connsiteX7" fmla="*/ 280588 w 555792"/>
                <a:gd name="connsiteY7" fmla="*/ 41285 h 129021"/>
                <a:gd name="connsiteX8" fmla="*/ 280588 w 555792"/>
                <a:gd name="connsiteY8" fmla="*/ 126955 h 129021"/>
                <a:gd name="connsiteX9" fmla="*/ 255246 w 555792"/>
                <a:gd name="connsiteY9" fmla="*/ 126955 h 129021"/>
                <a:gd name="connsiteX10" fmla="*/ 121846 w 555792"/>
                <a:gd name="connsiteY10" fmla="*/ 40770 h 129021"/>
                <a:gd name="connsiteX11" fmla="*/ 147188 w 555792"/>
                <a:gd name="connsiteY11" fmla="*/ 40770 h 129021"/>
                <a:gd name="connsiteX12" fmla="*/ 147188 w 555792"/>
                <a:gd name="connsiteY12" fmla="*/ 126439 h 129021"/>
                <a:gd name="connsiteX13" fmla="*/ 121846 w 555792"/>
                <a:gd name="connsiteY13" fmla="*/ 126439 h 129021"/>
                <a:gd name="connsiteX14" fmla="*/ 301329 w 555792"/>
                <a:gd name="connsiteY14" fmla="*/ 40638 h 129021"/>
                <a:gd name="connsiteX15" fmla="*/ 301859 w 555792"/>
                <a:gd name="connsiteY15" fmla="*/ 40638 h 129021"/>
                <a:gd name="connsiteX16" fmla="*/ 316958 w 555792"/>
                <a:gd name="connsiteY16" fmla="*/ 55499 h 129021"/>
                <a:gd name="connsiteX17" fmla="*/ 301859 w 555792"/>
                <a:gd name="connsiteY17" fmla="*/ 70359 h 129021"/>
                <a:gd name="connsiteX18" fmla="*/ 286885 w 555792"/>
                <a:gd name="connsiteY18" fmla="*/ 55893 h 129021"/>
                <a:gd name="connsiteX19" fmla="*/ 286890 w 555792"/>
                <a:gd name="connsiteY19" fmla="*/ 55370 h 129021"/>
                <a:gd name="connsiteX20" fmla="*/ 301329 w 555792"/>
                <a:gd name="connsiteY20" fmla="*/ 40638 h 129021"/>
                <a:gd name="connsiteX21" fmla="*/ 468871 w 555792"/>
                <a:gd name="connsiteY21" fmla="*/ 39863 h 129021"/>
                <a:gd name="connsiteX22" fmla="*/ 495131 w 555792"/>
                <a:gd name="connsiteY22" fmla="*/ 55240 h 129021"/>
                <a:gd name="connsiteX23" fmla="*/ 524542 w 555792"/>
                <a:gd name="connsiteY23" fmla="*/ 39863 h 129021"/>
                <a:gd name="connsiteX24" fmla="*/ 555716 w 555792"/>
                <a:gd name="connsiteY24" fmla="*/ 66406 h 129021"/>
                <a:gd name="connsiteX25" fmla="*/ 555792 w 555792"/>
                <a:gd name="connsiteY25" fmla="*/ 68678 h 129021"/>
                <a:gd name="connsiteX26" fmla="*/ 555792 w 555792"/>
                <a:gd name="connsiteY26" fmla="*/ 126954 h 129021"/>
                <a:gd name="connsiteX27" fmla="*/ 530582 w 555792"/>
                <a:gd name="connsiteY27" fmla="*/ 126954 h 129021"/>
                <a:gd name="connsiteX28" fmla="*/ 530582 w 555792"/>
                <a:gd name="connsiteY28" fmla="*/ 75914 h 129021"/>
                <a:gd name="connsiteX29" fmla="*/ 519946 w 555792"/>
                <a:gd name="connsiteY29" fmla="*/ 60936 h 129021"/>
                <a:gd name="connsiteX30" fmla="*/ 516402 w 555792"/>
                <a:gd name="connsiteY30" fmla="*/ 60796 h 129021"/>
                <a:gd name="connsiteX31" fmla="*/ 499858 w 555792"/>
                <a:gd name="connsiteY31" fmla="*/ 83150 h 129021"/>
                <a:gd name="connsiteX32" fmla="*/ 499858 w 555792"/>
                <a:gd name="connsiteY32" fmla="*/ 126954 h 129021"/>
                <a:gd name="connsiteX33" fmla="*/ 474780 w 555792"/>
                <a:gd name="connsiteY33" fmla="*/ 126954 h 129021"/>
                <a:gd name="connsiteX34" fmla="*/ 474780 w 555792"/>
                <a:gd name="connsiteY34" fmla="*/ 75914 h 129021"/>
                <a:gd name="connsiteX35" fmla="*/ 464116 w 555792"/>
                <a:gd name="connsiteY35" fmla="*/ 60954 h 129021"/>
                <a:gd name="connsiteX36" fmla="*/ 460862 w 555792"/>
                <a:gd name="connsiteY36" fmla="*/ 60796 h 129021"/>
                <a:gd name="connsiteX37" fmla="*/ 444318 w 555792"/>
                <a:gd name="connsiteY37" fmla="*/ 83150 h 129021"/>
                <a:gd name="connsiteX38" fmla="*/ 444318 w 555792"/>
                <a:gd name="connsiteY38" fmla="*/ 126954 h 129021"/>
                <a:gd name="connsiteX39" fmla="*/ 418977 w 555792"/>
                <a:gd name="connsiteY39" fmla="*/ 126954 h 129021"/>
                <a:gd name="connsiteX40" fmla="*/ 418977 w 555792"/>
                <a:gd name="connsiteY40" fmla="*/ 41285 h 129021"/>
                <a:gd name="connsiteX41" fmla="*/ 444318 w 555792"/>
                <a:gd name="connsiteY41" fmla="*/ 41285 h 129021"/>
                <a:gd name="connsiteX42" fmla="*/ 444318 w 555792"/>
                <a:gd name="connsiteY42" fmla="*/ 52785 h 129021"/>
                <a:gd name="connsiteX43" fmla="*/ 468871 w 555792"/>
                <a:gd name="connsiteY43" fmla="*/ 39863 h 129021"/>
                <a:gd name="connsiteX44" fmla="*/ 364489 w 555792"/>
                <a:gd name="connsiteY44" fmla="*/ 39863 h 129021"/>
                <a:gd name="connsiteX45" fmla="*/ 409656 w 555792"/>
                <a:gd name="connsiteY45" fmla="*/ 84443 h 129021"/>
                <a:gd name="connsiteX46" fmla="*/ 409656 w 555792"/>
                <a:gd name="connsiteY46" fmla="*/ 84572 h 129021"/>
                <a:gd name="connsiteX47" fmla="*/ 364227 w 555792"/>
                <a:gd name="connsiteY47" fmla="*/ 129021 h 129021"/>
                <a:gd name="connsiteX48" fmla="*/ 319059 w 555792"/>
                <a:gd name="connsiteY48" fmla="*/ 84313 h 129021"/>
                <a:gd name="connsiteX49" fmla="*/ 364489 w 555792"/>
                <a:gd name="connsiteY49" fmla="*/ 39863 h 129021"/>
                <a:gd name="connsiteX50" fmla="*/ 0 w 555792"/>
                <a:gd name="connsiteY50" fmla="*/ 7947 h 129021"/>
                <a:gd name="connsiteX51" fmla="*/ 27179 w 555792"/>
                <a:gd name="connsiteY51" fmla="*/ 7947 h 129021"/>
                <a:gd name="connsiteX52" fmla="*/ 27179 w 555792"/>
                <a:gd name="connsiteY52" fmla="*/ 54206 h 129021"/>
                <a:gd name="connsiteX53" fmla="*/ 75236 w 555792"/>
                <a:gd name="connsiteY53" fmla="*/ 54206 h 129021"/>
                <a:gd name="connsiteX54" fmla="*/ 75236 w 555792"/>
                <a:gd name="connsiteY54" fmla="*/ 7947 h 129021"/>
                <a:gd name="connsiteX55" fmla="*/ 102678 w 555792"/>
                <a:gd name="connsiteY55" fmla="*/ 7947 h 129021"/>
                <a:gd name="connsiteX56" fmla="*/ 102678 w 555792"/>
                <a:gd name="connsiteY56" fmla="*/ 126954 h 129021"/>
                <a:gd name="connsiteX57" fmla="*/ 75236 w 555792"/>
                <a:gd name="connsiteY57" fmla="*/ 126954 h 129021"/>
                <a:gd name="connsiteX58" fmla="*/ 75236 w 555792"/>
                <a:gd name="connsiteY58" fmla="*/ 77207 h 129021"/>
                <a:gd name="connsiteX59" fmla="*/ 27179 w 555792"/>
                <a:gd name="connsiteY59" fmla="*/ 77207 h 129021"/>
                <a:gd name="connsiteX60" fmla="*/ 27179 w 555792"/>
                <a:gd name="connsiteY60" fmla="*/ 126954 h 129021"/>
                <a:gd name="connsiteX61" fmla="*/ 0 w 555792"/>
                <a:gd name="connsiteY61" fmla="*/ 126954 h 129021"/>
                <a:gd name="connsiteX62" fmla="*/ 210736 w 555792"/>
                <a:gd name="connsiteY62" fmla="*/ 6526 h 129021"/>
                <a:gd name="connsiteX63" fmla="*/ 236078 w 555792"/>
                <a:gd name="connsiteY63" fmla="*/ 6526 h 129021"/>
                <a:gd name="connsiteX64" fmla="*/ 236078 w 555792"/>
                <a:gd name="connsiteY64" fmla="*/ 126955 h 129021"/>
                <a:gd name="connsiteX65" fmla="*/ 210736 w 555792"/>
                <a:gd name="connsiteY65" fmla="*/ 126955 h 129021"/>
                <a:gd name="connsiteX66" fmla="*/ 166619 w 555792"/>
                <a:gd name="connsiteY66" fmla="*/ 6526 h 129021"/>
                <a:gd name="connsiteX67" fmla="*/ 192093 w 555792"/>
                <a:gd name="connsiteY67" fmla="*/ 6526 h 129021"/>
                <a:gd name="connsiteX68" fmla="*/ 192093 w 555792"/>
                <a:gd name="connsiteY68" fmla="*/ 126955 h 129021"/>
                <a:gd name="connsiteX69" fmla="*/ 166619 w 555792"/>
                <a:gd name="connsiteY69" fmla="*/ 126955 h 129021"/>
                <a:gd name="connsiteX70" fmla="*/ 134188 w 555792"/>
                <a:gd name="connsiteY70" fmla="*/ 66 h 129021"/>
                <a:gd name="connsiteX71" fmla="*/ 134452 w 555792"/>
                <a:gd name="connsiteY71" fmla="*/ 66 h 129021"/>
                <a:gd name="connsiteX72" fmla="*/ 151030 w 555792"/>
                <a:gd name="connsiteY72" fmla="*/ 13600 h 129021"/>
                <a:gd name="connsiteX73" fmla="*/ 137277 w 555792"/>
                <a:gd name="connsiteY73" fmla="*/ 29915 h 129021"/>
                <a:gd name="connsiteX74" fmla="*/ 134452 w 555792"/>
                <a:gd name="connsiteY74" fmla="*/ 29915 h 129021"/>
                <a:gd name="connsiteX75" fmla="*/ 119350 w 555792"/>
                <a:gd name="connsiteY75" fmla="*/ 15316 h 129021"/>
                <a:gd name="connsiteX76" fmla="*/ 119352 w 555792"/>
                <a:gd name="connsiteY76" fmla="*/ 14926 h 129021"/>
                <a:gd name="connsiteX77" fmla="*/ 134188 w 555792"/>
                <a:gd name="connsiteY77" fmla="*/ 66 h 129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555792" h="129021">
                  <a:moveTo>
                    <a:pt x="364489" y="61830"/>
                  </a:moveTo>
                  <a:cubicBezTo>
                    <a:pt x="353167" y="62674"/>
                    <a:pt x="344170" y="71529"/>
                    <a:pt x="343312" y="82670"/>
                  </a:cubicBezTo>
                  <a:cubicBezTo>
                    <a:pt x="342353" y="95123"/>
                    <a:pt x="351834" y="105983"/>
                    <a:pt x="364489" y="106926"/>
                  </a:cubicBezTo>
                  <a:cubicBezTo>
                    <a:pt x="365644" y="107012"/>
                    <a:pt x="366805" y="107012"/>
                    <a:pt x="367960" y="106926"/>
                  </a:cubicBezTo>
                  <a:cubicBezTo>
                    <a:pt x="380614" y="105983"/>
                    <a:pt x="390095" y="95123"/>
                    <a:pt x="389136" y="82670"/>
                  </a:cubicBezTo>
                  <a:cubicBezTo>
                    <a:pt x="388178" y="70217"/>
                    <a:pt x="377143" y="60887"/>
                    <a:pt x="364489" y="61830"/>
                  </a:cubicBezTo>
                  <a:close/>
                  <a:moveTo>
                    <a:pt x="255246" y="41285"/>
                  </a:moveTo>
                  <a:lnTo>
                    <a:pt x="280588" y="41285"/>
                  </a:lnTo>
                  <a:lnTo>
                    <a:pt x="280588" y="126955"/>
                  </a:lnTo>
                  <a:lnTo>
                    <a:pt x="255246" y="126955"/>
                  </a:lnTo>
                  <a:close/>
                  <a:moveTo>
                    <a:pt x="121846" y="40770"/>
                  </a:moveTo>
                  <a:lnTo>
                    <a:pt x="147188" y="40770"/>
                  </a:lnTo>
                  <a:lnTo>
                    <a:pt x="147188" y="126439"/>
                  </a:lnTo>
                  <a:lnTo>
                    <a:pt x="121846" y="126439"/>
                  </a:lnTo>
                  <a:close/>
                  <a:moveTo>
                    <a:pt x="301329" y="40638"/>
                  </a:moveTo>
                  <a:cubicBezTo>
                    <a:pt x="301505" y="40635"/>
                    <a:pt x="301682" y="40635"/>
                    <a:pt x="301859" y="40638"/>
                  </a:cubicBezTo>
                  <a:cubicBezTo>
                    <a:pt x="310198" y="40638"/>
                    <a:pt x="316958" y="47292"/>
                    <a:pt x="316958" y="55499"/>
                  </a:cubicBezTo>
                  <a:cubicBezTo>
                    <a:pt x="316958" y="63706"/>
                    <a:pt x="310198" y="70359"/>
                    <a:pt x="301859" y="70359"/>
                  </a:cubicBezTo>
                  <a:cubicBezTo>
                    <a:pt x="293664" y="70433"/>
                    <a:pt x="286961" y="63956"/>
                    <a:pt x="286885" y="55893"/>
                  </a:cubicBezTo>
                  <a:cubicBezTo>
                    <a:pt x="286883" y="55718"/>
                    <a:pt x="286885" y="55544"/>
                    <a:pt x="286890" y="55370"/>
                  </a:cubicBezTo>
                  <a:cubicBezTo>
                    <a:pt x="286743" y="47379"/>
                    <a:pt x="293207" y="40783"/>
                    <a:pt x="301329" y="40638"/>
                  </a:cubicBezTo>
                  <a:close/>
                  <a:moveTo>
                    <a:pt x="468871" y="39863"/>
                  </a:moveTo>
                  <a:cubicBezTo>
                    <a:pt x="480066" y="38933"/>
                    <a:pt x="490621" y="45114"/>
                    <a:pt x="495131" y="55240"/>
                  </a:cubicBezTo>
                  <a:cubicBezTo>
                    <a:pt x="501466" y="45339"/>
                    <a:pt x="512660" y="39487"/>
                    <a:pt x="524542" y="39863"/>
                  </a:cubicBezTo>
                  <a:cubicBezTo>
                    <a:pt x="540599" y="38721"/>
                    <a:pt x="554556" y="50605"/>
                    <a:pt x="555716" y="66406"/>
                  </a:cubicBezTo>
                  <a:cubicBezTo>
                    <a:pt x="555772" y="67162"/>
                    <a:pt x="555797" y="67920"/>
                    <a:pt x="555792" y="68678"/>
                  </a:cubicBezTo>
                  <a:lnTo>
                    <a:pt x="555792" y="126954"/>
                  </a:lnTo>
                  <a:lnTo>
                    <a:pt x="530582" y="126954"/>
                  </a:lnTo>
                  <a:lnTo>
                    <a:pt x="530582" y="75914"/>
                  </a:lnTo>
                  <a:cubicBezTo>
                    <a:pt x="531848" y="68888"/>
                    <a:pt x="527086" y="62181"/>
                    <a:pt x="519946" y="60936"/>
                  </a:cubicBezTo>
                  <a:cubicBezTo>
                    <a:pt x="518776" y="60732"/>
                    <a:pt x="517584" y="60685"/>
                    <a:pt x="516402" y="60796"/>
                  </a:cubicBezTo>
                  <a:cubicBezTo>
                    <a:pt x="505898" y="60796"/>
                    <a:pt x="499858" y="69324"/>
                    <a:pt x="499858" y="83150"/>
                  </a:cubicBezTo>
                  <a:lnTo>
                    <a:pt x="499858" y="126954"/>
                  </a:lnTo>
                  <a:lnTo>
                    <a:pt x="474780" y="126954"/>
                  </a:lnTo>
                  <a:lnTo>
                    <a:pt x="474780" y="75914"/>
                  </a:lnTo>
                  <a:cubicBezTo>
                    <a:pt x="476033" y="68885"/>
                    <a:pt x="471259" y="62187"/>
                    <a:pt x="464116" y="60954"/>
                  </a:cubicBezTo>
                  <a:cubicBezTo>
                    <a:pt x="463043" y="60769"/>
                    <a:pt x="461949" y="60716"/>
                    <a:pt x="460862" y="60796"/>
                  </a:cubicBezTo>
                  <a:cubicBezTo>
                    <a:pt x="450489" y="60796"/>
                    <a:pt x="444318" y="69454"/>
                    <a:pt x="444318" y="83150"/>
                  </a:cubicBezTo>
                  <a:lnTo>
                    <a:pt x="444318" y="126954"/>
                  </a:lnTo>
                  <a:lnTo>
                    <a:pt x="418977" y="126954"/>
                  </a:lnTo>
                  <a:lnTo>
                    <a:pt x="418977" y="41285"/>
                  </a:lnTo>
                  <a:lnTo>
                    <a:pt x="444318" y="41285"/>
                  </a:lnTo>
                  <a:lnTo>
                    <a:pt x="444318" y="52785"/>
                  </a:lnTo>
                  <a:cubicBezTo>
                    <a:pt x="449587" y="44489"/>
                    <a:pt x="458935" y="39570"/>
                    <a:pt x="468871" y="39863"/>
                  </a:cubicBezTo>
                  <a:close/>
                  <a:moveTo>
                    <a:pt x="364489" y="39863"/>
                  </a:moveTo>
                  <a:cubicBezTo>
                    <a:pt x="389455" y="39935"/>
                    <a:pt x="409656" y="59873"/>
                    <a:pt x="409656" y="84443"/>
                  </a:cubicBezTo>
                  <a:cubicBezTo>
                    <a:pt x="409656" y="84486"/>
                    <a:pt x="409656" y="84529"/>
                    <a:pt x="409656" y="84572"/>
                  </a:cubicBezTo>
                  <a:cubicBezTo>
                    <a:pt x="409583" y="109192"/>
                    <a:pt x="389244" y="129093"/>
                    <a:pt x="364227" y="129021"/>
                  </a:cubicBezTo>
                  <a:cubicBezTo>
                    <a:pt x="339208" y="128950"/>
                    <a:pt x="318986" y="108934"/>
                    <a:pt x="319059" y="84313"/>
                  </a:cubicBezTo>
                  <a:cubicBezTo>
                    <a:pt x="319131" y="59693"/>
                    <a:pt x="339471" y="39792"/>
                    <a:pt x="364489" y="39863"/>
                  </a:cubicBezTo>
                  <a:close/>
                  <a:moveTo>
                    <a:pt x="0" y="7947"/>
                  </a:moveTo>
                  <a:lnTo>
                    <a:pt x="27179" y="7947"/>
                  </a:lnTo>
                  <a:lnTo>
                    <a:pt x="27179" y="54206"/>
                  </a:lnTo>
                  <a:lnTo>
                    <a:pt x="75236" y="54206"/>
                  </a:lnTo>
                  <a:lnTo>
                    <a:pt x="75236" y="7947"/>
                  </a:lnTo>
                  <a:lnTo>
                    <a:pt x="102678" y="7947"/>
                  </a:lnTo>
                  <a:lnTo>
                    <a:pt x="102678" y="126954"/>
                  </a:lnTo>
                  <a:lnTo>
                    <a:pt x="75236" y="126954"/>
                  </a:lnTo>
                  <a:lnTo>
                    <a:pt x="75236" y="77207"/>
                  </a:lnTo>
                  <a:lnTo>
                    <a:pt x="27179" y="77207"/>
                  </a:lnTo>
                  <a:lnTo>
                    <a:pt x="27179" y="126954"/>
                  </a:lnTo>
                  <a:lnTo>
                    <a:pt x="0" y="126954"/>
                  </a:lnTo>
                  <a:close/>
                  <a:moveTo>
                    <a:pt x="210736" y="6526"/>
                  </a:moveTo>
                  <a:lnTo>
                    <a:pt x="236078" y="6526"/>
                  </a:lnTo>
                  <a:lnTo>
                    <a:pt x="236078" y="126955"/>
                  </a:lnTo>
                  <a:lnTo>
                    <a:pt x="210736" y="126955"/>
                  </a:lnTo>
                  <a:close/>
                  <a:moveTo>
                    <a:pt x="166619" y="6526"/>
                  </a:moveTo>
                  <a:lnTo>
                    <a:pt x="192093" y="6526"/>
                  </a:lnTo>
                  <a:lnTo>
                    <a:pt x="192093" y="126955"/>
                  </a:lnTo>
                  <a:lnTo>
                    <a:pt x="166619" y="126955"/>
                  </a:lnTo>
                  <a:close/>
                  <a:moveTo>
                    <a:pt x="134188" y="66"/>
                  </a:moveTo>
                  <a:cubicBezTo>
                    <a:pt x="134276" y="65"/>
                    <a:pt x="134364" y="65"/>
                    <a:pt x="134452" y="66"/>
                  </a:cubicBezTo>
                  <a:cubicBezTo>
                    <a:pt x="142828" y="-702"/>
                    <a:pt x="150250" y="5357"/>
                    <a:pt x="151030" y="13600"/>
                  </a:cubicBezTo>
                  <a:cubicBezTo>
                    <a:pt x="151810" y="21842"/>
                    <a:pt x="145653" y="29148"/>
                    <a:pt x="137277" y="29915"/>
                  </a:cubicBezTo>
                  <a:cubicBezTo>
                    <a:pt x="136338" y="30002"/>
                    <a:pt x="135392" y="30002"/>
                    <a:pt x="134452" y="29915"/>
                  </a:cubicBezTo>
                  <a:cubicBezTo>
                    <a:pt x="126185" y="29988"/>
                    <a:pt x="119424" y="23451"/>
                    <a:pt x="119350" y="15316"/>
                  </a:cubicBezTo>
                  <a:cubicBezTo>
                    <a:pt x="119349" y="15186"/>
                    <a:pt x="119349" y="15056"/>
                    <a:pt x="119352" y="14926"/>
                  </a:cubicBezTo>
                  <a:cubicBezTo>
                    <a:pt x="119279" y="6790"/>
                    <a:pt x="125921" y="137"/>
                    <a:pt x="134188" y="66"/>
                  </a:cubicBezTo>
                  <a:close/>
                </a:path>
              </a:pathLst>
            </a:custGeom>
            <a:solidFill>
              <a:srgbClr val="000839"/>
            </a:solidFill>
            <a:ln w="9525" cap="flat">
              <a:noFill/>
              <a:prstDash val="solid"/>
              <a:miter/>
            </a:ln>
          </p:spPr>
          <p:txBody>
            <a:bodyPr wrap="square" rtlCol="0" anchor="ctr">
              <a:noAutofit/>
            </a:bodyPr>
            <a:lstStyle/>
            <a:p>
              <a:endParaRPr lang="en-US"/>
            </a:p>
          </p:txBody>
        </p:sp>
      </p:grpSp>
    </p:spTree>
    <p:extLst>
      <p:ext uri="{BB962C8B-B14F-4D97-AF65-F5344CB8AC3E}">
        <p14:creationId xmlns:p14="http://schemas.microsoft.com/office/powerpoint/2010/main" val="11649417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Body - Photo">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B1A8F1B-95BC-194F-AA4A-6F214E8C5B69}"/>
              </a:ext>
            </a:extLst>
          </p:cNvPr>
          <p:cNvSpPr/>
          <p:nvPr/>
        </p:nvSpPr>
        <p:spPr>
          <a:xfrm>
            <a:off x="6769769" y="553451"/>
            <a:ext cx="5422231" cy="543025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a:extLst>
              <a:ext uri="{FF2B5EF4-FFF2-40B4-BE49-F238E27FC236}">
                <a16:creationId xmlns:a16="http://schemas.microsoft.com/office/drawing/2014/main" id="{99C2B2A5-C177-4445-AF46-3ED43A1CC4CB}"/>
              </a:ext>
            </a:extLst>
          </p:cNvPr>
          <p:cNvSpPr>
            <a:spLocks noGrp="1"/>
          </p:cNvSpPr>
          <p:nvPr>
            <p:ph type="subTitle" idx="1"/>
          </p:nvPr>
        </p:nvSpPr>
        <p:spPr>
          <a:xfrm>
            <a:off x="594813" y="3028311"/>
            <a:ext cx="5027946" cy="380487"/>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lang="en-US" sz="1600" b="1" i="0" kern="1200" cap="all" spc="50" baseline="0" dirty="0">
                <a:solidFill>
                  <a:schemeClr val="accent1"/>
                </a:solidFill>
                <a:latin typeface="+mj-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itle 8">
            <a:extLst>
              <a:ext uri="{FF2B5EF4-FFF2-40B4-BE49-F238E27FC236}">
                <a16:creationId xmlns:a16="http://schemas.microsoft.com/office/drawing/2014/main" id="{FD3B8154-5856-0144-90B5-3564DC77E658}"/>
              </a:ext>
            </a:extLst>
          </p:cNvPr>
          <p:cNvSpPr>
            <a:spLocks noGrp="1"/>
          </p:cNvSpPr>
          <p:nvPr>
            <p:ph type="title"/>
          </p:nvPr>
        </p:nvSpPr>
        <p:spPr>
          <a:xfrm>
            <a:off x="594813" y="1898770"/>
            <a:ext cx="5027946" cy="1044955"/>
          </a:xfrm>
          <a:prstGeom prst="rect">
            <a:avLst/>
          </a:prstGeom>
        </p:spPr>
        <p:txBody>
          <a:bodyPr/>
          <a:lstStyle>
            <a:lvl1pPr marL="0" algn="l" defTabSz="914400" rtl="0" eaLnBrk="1" latinLnBrk="0" hangingPunct="1">
              <a:lnSpc>
                <a:spcPct val="90000"/>
              </a:lnSpc>
              <a:spcBef>
                <a:spcPct val="0"/>
              </a:spcBef>
              <a:buNone/>
              <a:defRPr lang="en-US" sz="3200" b="1" i="0" kern="1200" cap="none" spc="0" baseline="0" dirty="0">
                <a:solidFill>
                  <a:schemeClr val="tx1"/>
                </a:solidFill>
                <a:latin typeface="+mj-lt"/>
                <a:ea typeface="+mj-ea"/>
                <a:cs typeface="+mj-cs"/>
              </a:defRPr>
            </a:lvl1pPr>
          </a:lstStyle>
          <a:p>
            <a:r>
              <a:rPr lang="en-US"/>
              <a:t>Click to edit Master title style</a:t>
            </a:r>
          </a:p>
        </p:txBody>
      </p:sp>
      <p:sp>
        <p:nvSpPr>
          <p:cNvPr id="25" name="Slide Number Placeholder 5">
            <a:extLst>
              <a:ext uri="{FF2B5EF4-FFF2-40B4-BE49-F238E27FC236}">
                <a16:creationId xmlns:a16="http://schemas.microsoft.com/office/drawing/2014/main" id="{67D1DBF5-3FAD-C943-A2B4-E0629269A9BF}"/>
              </a:ext>
            </a:extLst>
          </p:cNvPr>
          <p:cNvSpPr>
            <a:spLocks noGrp="1"/>
          </p:cNvSpPr>
          <p:nvPr>
            <p:ph type="sldNum" sz="quarter" idx="4"/>
          </p:nvPr>
        </p:nvSpPr>
        <p:spPr>
          <a:xfrm>
            <a:off x="11537879" y="6325527"/>
            <a:ext cx="370726" cy="365125"/>
          </a:xfrm>
          <a:prstGeom prst="rect">
            <a:avLst/>
          </a:prstGeom>
        </p:spPr>
        <p:txBody>
          <a:bodyPr vert="horz" lIns="91440" tIns="45720" rIns="91440" bIns="45720" rtlCol="0" anchor="b"/>
          <a:lstStyle>
            <a:lvl1pPr algn="r">
              <a:defRPr sz="800" b="1" i="0">
                <a:solidFill>
                  <a:schemeClr val="tx1">
                    <a:tint val="75000"/>
                  </a:schemeClr>
                </a:solidFill>
                <a:latin typeface="+mj-lt"/>
              </a:defRPr>
            </a:lvl1pPr>
          </a:lstStyle>
          <a:p>
            <a:fld id="{EB3C441C-A16D-4531-8F9E-BFE4D57FBC82}" type="slidenum">
              <a:rPr lang="en-US" smtClean="0"/>
              <a:t>‹N°›</a:t>
            </a:fld>
            <a:endParaRPr lang="en-US"/>
          </a:p>
        </p:txBody>
      </p:sp>
      <p:sp>
        <p:nvSpPr>
          <p:cNvPr id="26" name="Footer Placeholder 54">
            <a:extLst>
              <a:ext uri="{FF2B5EF4-FFF2-40B4-BE49-F238E27FC236}">
                <a16:creationId xmlns:a16="http://schemas.microsoft.com/office/drawing/2014/main" id="{272C5E26-BD0B-C64B-BC2B-FB6C9C417EBF}"/>
              </a:ext>
            </a:extLst>
          </p:cNvPr>
          <p:cNvSpPr>
            <a:spLocks noGrp="1"/>
          </p:cNvSpPr>
          <p:nvPr>
            <p:ph type="ftr" sz="quarter" idx="15"/>
          </p:nvPr>
        </p:nvSpPr>
        <p:spPr>
          <a:xfrm>
            <a:off x="1819551" y="6340392"/>
            <a:ext cx="4114800" cy="365125"/>
          </a:xfrm>
          <a:prstGeom prst="rect">
            <a:avLst/>
          </a:prstGeom>
        </p:spPr>
        <p:txBody>
          <a:bodyPr anchor="b" anchorCtr="0"/>
          <a:lstStyle>
            <a:lvl1pPr>
              <a:defRPr sz="700">
                <a:solidFill>
                  <a:schemeClr val="accent2"/>
                </a:solidFill>
              </a:defRPr>
            </a:lvl1pPr>
          </a:lstStyle>
          <a:p>
            <a:endParaRPr lang="en-US"/>
          </a:p>
        </p:txBody>
      </p:sp>
      <p:sp>
        <p:nvSpPr>
          <p:cNvPr id="28" name="Text Placeholder 3">
            <a:extLst>
              <a:ext uri="{FF2B5EF4-FFF2-40B4-BE49-F238E27FC236}">
                <a16:creationId xmlns:a16="http://schemas.microsoft.com/office/drawing/2014/main" id="{9F47C85B-362F-9A40-B90F-EBA933850A88}"/>
              </a:ext>
            </a:extLst>
          </p:cNvPr>
          <p:cNvSpPr>
            <a:spLocks noGrp="1"/>
          </p:cNvSpPr>
          <p:nvPr>
            <p:ph type="body" sz="quarter" idx="13"/>
          </p:nvPr>
        </p:nvSpPr>
        <p:spPr>
          <a:xfrm>
            <a:off x="688350" y="498222"/>
            <a:ext cx="1997663" cy="244682"/>
          </a:xfrm>
          <a:prstGeom prst="rect">
            <a:avLst/>
          </a:prstGeom>
          <a:solidFill>
            <a:schemeClr val="accent1"/>
          </a:solidFill>
          <a:ln>
            <a:noFill/>
          </a:ln>
        </p:spPr>
        <p:txBody>
          <a:bodyPr wrap="none" anchor="ctr">
            <a:spAutoFit/>
          </a:bodyPr>
          <a:lstStyle>
            <a:lvl1pPr marL="0" indent="0">
              <a:buNone/>
              <a:defRPr sz="1100" b="1" cap="all" spc="50" baseline="0">
                <a:solidFill>
                  <a:schemeClr val="bg1"/>
                </a:solidFill>
                <a:latin typeface="+mj-lt"/>
              </a:defRPr>
            </a:lvl1pPr>
          </a:lstStyle>
          <a:p>
            <a:pPr lvl="0"/>
            <a:r>
              <a:rPr lang="en-US"/>
              <a:t>Edit Master text styles</a:t>
            </a:r>
          </a:p>
        </p:txBody>
      </p:sp>
      <p:sp>
        <p:nvSpPr>
          <p:cNvPr id="77" name="Freeform 76">
            <a:extLst>
              <a:ext uri="{FF2B5EF4-FFF2-40B4-BE49-F238E27FC236}">
                <a16:creationId xmlns:a16="http://schemas.microsoft.com/office/drawing/2014/main" id="{9B91D628-C422-B646-AF5C-F8046988AD18}"/>
              </a:ext>
            </a:extLst>
          </p:cNvPr>
          <p:cNvSpPr/>
          <p:nvPr/>
        </p:nvSpPr>
        <p:spPr>
          <a:xfrm>
            <a:off x="672429" y="1352655"/>
            <a:ext cx="4156116" cy="304563"/>
          </a:xfrm>
          <a:custGeom>
            <a:avLst/>
            <a:gdLst>
              <a:gd name="connsiteX0" fmla="*/ 2479594 w 4156116"/>
              <a:gd name="connsiteY0" fmla="*/ 148704 h 304563"/>
              <a:gd name="connsiteX1" fmla="*/ 2560806 w 4156116"/>
              <a:gd name="connsiteY1" fmla="*/ 148959 h 304563"/>
              <a:gd name="connsiteX2" fmla="*/ 2560679 w 4156116"/>
              <a:gd name="connsiteY2" fmla="*/ 161097 h 304563"/>
              <a:gd name="connsiteX3" fmla="*/ 2479594 w 4156116"/>
              <a:gd name="connsiteY3" fmla="*/ 160713 h 304563"/>
              <a:gd name="connsiteX4" fmla="*/ 2395832 w 4156116"/>
              <a:gd name="connsiteY4" fmla="*/ 144105 h 304563"/>
              <a:gd name="connsiteX5" fmla="*/ 2468248 w 4156116"/>
              <a:gd name="connsiteY5" fmla="*/ 144488 h 304563"/>
              <a:gd name="connsiteX6" fmla="*/ 2468248 w 4156116"/>
              <a:gd name="connsiteY6" fmla="*/ 165823 h 304563"/>
              <a:gd name="connsiteX7" fmla="*/ 2395832 w 4156116"/>
              <a:gd name="connsiteY7" fmla="*/ 165567 h 304563"/>
              <a:gd name="connsiteX8" fmla="*/ 2312197 w 4156116"/>
              <a:gd name="connsiteY8" fmla="*/ 139506 h 304563"/>
              <a:gd name="connsiteX9" fmla="*/ 2375688 w 4156116"/>
              <a:gd name="connsiteY9" fmla="*/ 139889 h 304563"/>
              <a:gd name="connsiteX10" fmla="*/ 2375688 w 4156116"/>
              <a:gd name="connsiteY10" fmla="*/ 170677 h 304563"/>
              <a:gd name="connsiteX11" fmla="*/ 2312197 w 4156116"/>
              <a:gd name="connsiteY11" fmla="*/ 170294 h 304563"/>
              <a:gd name="connsiteX12" fmla="*/ 2228435 w 4156116"/>
              <a:gd name="connsiteY12" fmla="*/ 134907 h 304563"/>
              <a:gd name="connsiteX13" fmla="*/ 2283129 w 4156116"/>
              <a:gd name="connsiteY13" fmla="*/ 135290 h 304563"/>
              <a:gd name="connsiteX14" fmla="*/ 2283129 w 4156116"/>
              <a:gd name="connsiteY14" fmla="*/ 175404 h 304563"/>
              <a:gd name="connsiteX15" fmla="*/ 2228435 w 4156116"/>
              <a:gd name="connsiteY15" fmla="*/ 175021 h 304563"/>
              <a:gd name="connsiteX16" fmla="*/ 2144800 w 4156116"/>
              <a:gd name="connsiteY16" fmla="*/ 130308 h 304563"/>
              <a:gd name="connsiteX17" fmla="*/ 2190570 w 4156116"/>
              <a:gd name="connsiteY17" fmla="*/ 130691 h 304563"/>
              <a:gd name="connsiteX18" fmla="*/ 2190570 w 4156116"/>
              <a:gd name="connsiteY18" fmla="*/ 180132 h 304563"/>
              <a:gd name="connsiteX19" fmla="*/ 2144800 w 4156116"/>
              <a:gd name="connsiteY19" fmla="*/ 179749 h 304563"/>
              <a:gd name="connsiteX20" fmla="*/ 2061038 w 4156116"/>
              <a:gd name="connsiteY20" fmla="*/ 125709 h 304563"/>
              <a:gd name="connsiteX21" fmla="*/ 2098012 w 4156116"/>
              <a:gd name="connsiteY21" fmla="*/ 126092 h 304563"/>
              <a:gd name="connsiteX22" fmla="*/ 2098012 w 4156116"/>
              <a:gd name="connsiteY22" fmla="*/ 184858 h 304563"/>
              <a:gd name="connsiteX23" fmla="*/ 2061038 w 4156116"/>
              <a:gd name="connsiteY23" fmla="*/ 184603 h 304563"/>
              <a:gd name="connsiteX24" fmla="*/ 1977403 w 4156116"/>
              <a:gd name="connsiteY24" fmla="*/ 121110 h 304563"/>
              <a:gd name="connsiteX25" fmla="*/ 2005580 w 4156116"/>
              <a:gd name="connsiteY25" fmla="*/ 121493 h 304563"/>
              <a:gd name="connsiteX26" fmla="*/ 2005580 w 4156116"/>
              <a:gd name="connsiteY26" fmla="*/ 189585 h 304563"/>
              <a:gd name="connsiteX27" fmla="*/ 1977403 w 4156116"/>
              <a:gd name="connsiteY27" fmla="*/ 189330 h 304563"/>
              <a:gd name="connsiteX28" fmla="*/ 1893640 w 4156116"/>
              <a:gd name="connsiteY28" fmla="*/ 116511 h 304563"/>
              <a:gd name="connsiteX29" fmla="*/ 1913020 w 4156116"/>
              <a:gd name="connsiteY29" fmla="*/ 116894 h 304563"/>
              <a:gd name="connsiteX30" fmla="*/ 1913020 w 4156116"/>
              <a:gd name="connsiteY30" fmla="*/ 194440 h 304563"/>
              <a:gd name="connsiteX31" fmla="*/ 1893640 w 4156116"/>
              <a:gd name="connsiteY31" fmla="*/ 194057 h 304563"/>
              <a:gd name="connsiteX32" fmla="*/ 1810006 w 4156116"/>
              <a:gd name="connsiteY32" fmla="*/ 112039 h 304563"/>
              <a:gd name="connsiteX33" fmla="*/ 1820460 w 4156116"/>
              <a:gd name="connsiteY33" fmla="*/ 112294 h 304563"/>
              <a:gd name="connsiteX34" fmla="*/ 1820460 w 4156116"/>
              <a:gd name="connsiteY34" fmla="*/ 199167 h 304563"/>
              <a:gd name="connsiteX35" fmla="*/ 1810006 w 4156116"/>
              <a:gd name="connsiteY35" fmla="*/ 198784 h 304563"/>
              <a:gd name="connsiteX36" fmla="*/ 1726243 w 4156116"/>
              <a:gd name="connsiteY36" fmla="*/ 107440 h 304563"/>
              <a:gd name="connsiteX37" fmla="*/ 1727900 w 4156116"/>
              <a:gd name="connsiteY37" fmla="*/ 107695 h 304563"/>
              <a:gd name="connsiteX38" fmla="*/ 1727900 w 4156116"/>
              <a:gd name="connsiteY38" fmla="*/ 203893 h 304563"/>
              <a:gd name="connsiteX39" fmla="*/ 1726371 w 4156116"/>
              <a:gd name="connsiteY39" fmla="*/ 203638 h 304563"/>
              <a:gd name="connsiteX40" fmla="*/ 1642609 w 4156116"/>
              <a:gd name="connsiteY40" fmla="*/ 102841 h 304563"/>
              <a:gd name="connsiteX41" fmla="*/ 1642609 w 4156116"/>
              <a:gd name="connsiteY41" fmla="*/ 208365 h 304563"/>
              <a:gd name="connsiteX42" fmla="*/ 1635342 w 4156116"/>
              <a:gd name="connsiteY42" fmla="*/ 208620 h 304563"/>
              <a:gd name="connsiteX43" fmla="*/ 1635342 w 4156116"/>
              <a:gd name="connsiteY43" fmla="*/ 103096 h 304563"/>
              <a:gd name="connsiteX44" fmla="*/ 1558846 w 4156116"/>
              <a:gd name="connsiteY44" fmla="*/ 98242 h 304563"/>
              <a:gd name="connsiteX45" fmla="*/ 1558973 w 4156116"/>
              <a:gd name="connsiteY45" fmla="*/ 213092 h 304563"/>
              <a:gd name="connsiteX46" fmla="*/ 1542909 w 4156116"/>
              <a:gd name="connsiteY46" fmla="*/ 213347 h 304563"/>
              <a:gd name="connsiteX47" fmla="*/ 1542782 w 4156116"/>
              <a:gd name="connsiteY47" fmla="*/ 98497 h 304563"/>
              <a:gd name="connsiteX48" fmla="*/ 1475212 w 4156116"/>
              <a:gd name="connsiteY48" fmla="*/ 93643 h 304563"/>
              <a:gd name="connsiteX49" fmla="*/ 1475212 w 4156116"/>
              <a:gd name="connsiteY49" fmla="*/ 217820 h 304563"/>
              <a:gd name="connsiteX50" fmla="*/ 1450350 w 4156116"/>
              <a:gd name="connsiteY50" fmla="*/ 218075 h 304563"/>
              <a:gd name="connsiteX51" fmla="*/ 1450223 w 4156116"/>
              <a:gd name="connsiteY51" fmla="*/ 93898 h 304563"/>
              <a:gd name="connsiteX52" fmla="*/ 1391450 w 4156116"/>
              <a:gd name="connsiteY52" fmla="*/ 89044 h 304563"/>
              <a:gd name="connsiteX53" fmla="*/ 1391450 w 4156116"/>
              <a:gd name="connsiteY53" fmla="*/ 222675 h 304563"/>
              <a:gd name="connsiteX54" fmla="*/ 1357791 w 4156116"/>
              <a:gd name="connsiteY54" fmla="*/ 222930 h 304563"/>
              <a:gd name="connsiteX55" fmla="*/ 1357791 w 4156116"/>
              <a:gd name="connsiteY55" fmla="*/ 89299 h 304563"/>
              <a:gd name="connsiteX56" fmla="*/ 1307815 w 4156116"/>
              <a:gd name="connsiteY56" fmla="*/ 84444 h 304563"/>
              <a:gd name="connsiteX57" fmla="*/ 1307815 w 4156116"/>
              <a:gd name="connsiteY57" fmla="*/ 227399 h 304563"/>
              <a:gd name="connsiteX58" fmla="*/ 1265232 w 4156116"/>
              <a:gd name="connsiteY58" fmla="*/ 227655 h 304563"/>
              <a:gd name="connsiteX59" fmla="*/ 1265232 w 4156116"/>
              <a:gd name="connsiteY59" fmla="*/ 84699 h 304563"/>
              <a:gd name="connsiteX60" fmla="*/ 1224052 w 4156116"/>
              <a:gd name="connsiteY60" fmla="*/ 79845 h 304563"/>
              <a:gd name="connsiteX61" fmla="*/ 1224180 w 4156116"/>
              <a:gd name="connsiteY61" fmla="*/ 232126 h 304563"/>
              <a:gd name="connsiteX62" fmla="*/ 1172673 w 4156116"/>
              <a:gd name="connsiteY62" fmla="*/ 232382 h 304563"/>
              <a:gd name="connsiteX63" fmla="*/ 1172673 w 4156116"/>
              <a:gd name="connsiteY63" fmla="*/ 80100 h 304563"/>
              <a:gd name="connsiteX64" fmla="*/ 1140417 w 4156116"/>
              <a:gd name="connsiteY64" fmla="*/ 75246 h 304563"/>
              <a:gd name="connsiteX65" fmla="*/ 1140417 w 4156116"/>
              <a:gd name="connsiteY65" fmla="*/ 236854 h 304563"/>
              <a:gd name="connsiteX66" fmla="*/ 1080113 w 4156116"/>
              <a:gd name="connsiteY66" fmla="*/ 237110 h 304563"/>
              <a:gd name="connsiteX67" fmla="*/ 1080113 w 4156116"/>
              <a:gd name="connsiteY67" fmla="*/ 75501 h 304563"/>
              <a:gd name="connsiteX68" fmla="*/ 1056655 w 4156116"/>
              <a:gd name="connsiteY68" fmla="*/ 70647 h 304563"/>
              <a:gd name="connsiteX69" fmla="*/ 1056782 w 4156116"/>
              <a:gd name="connsiteY69" fmla="*/ 241581 h 304563"/>
              <a:gd name="connsiteX70" fmla="*/ 987681 w 4156116"/>
              <a:gd name="connsiteY70" fmla="*/ 241837 h 304563"/>
              <a:gd name="connsiteX71" fmla="*/ 987554 w 4156116"/>
              <a:gd name="connsiteY71" fmla="*/ 70902 h 304563"/>
              <a:gd name="connsiteX72" fmla="*/ 973020 w 4156116"/>
              <a:gd name="connsiteY72" fmla="*/ 66048 h 304563"/>
              <a:gd name="connsiteX73" fmla="*/ 973020 w 4156116"/>
              <a:gd name="connsiteY73" fmla="*/ 246435 h 304563"/>
              <a:gd name="connsiteX74" fmla="*/ 895122 w 4156116"/>
              <a:gd name="connsiteY74" fmla="*/ 246691 h 304563"/>
              <a:gd name="connsiteX75" fmla="*/ 894995 w 4156116"/>
              <a:gd name="connsiteY75" fmla="*/ 66303 h 304563"/>
              <a:gd name="connsiteX76" fmla="*/ 52272 w 4156116"/>
              <a:gd name="connsiteY76" fmla="*/ 15713 h 304563"/>
              <a:gd name="connsiteX77" fmla="*/ 52272 w 4156116"/>
              <a:gd name="connsiteY77" fmla="*/ 20312 h 304563"/>
              <a:gd name="connsiteX78" fmla="*/ 135907 w 4156116"/>
              <a:gd name="connsiteY78" fmla="*/ 20312 h 304563"/>
              <a:gd name="connsiteX79" fmla="*/ 135907 w 4156116"/>
              <a:gd name="connsiteY79" fmla="*/ 24911 h 304563"/>
              <a:gd name="connsiteX80" fmla="*/ 219669 w 4156116"/>
              <a:gd name="connsiteY80" fmla="*/ 24911 h 304563"/>
              <a:gd name="connsiteX81" fmla="*/ 219669 w 4156116"/>
              <a:gd name="connsiteY81" fmla="*/ 29510 h 304563"/>
              <a:gd name="connsiteX82" fmla="*/ 303431 w 4156116"/>
              <a:gd name="connsiteY82" fmla="*/ 29382 h 304563"/>
              <a:gd name="connsiteX83" fmla="*/ 303431 w 4156116"/>
              <a:gd name="connsiteY83" fmla="*/ 34109 h 304563"/>
              <a:gd name="connsiteX84" fmla="*/ 387066 w 4156116"/>
              <a:gd name="connsiteY84" fmla="*/ 33981 h 304563"/>
              <a:gd name="connsiteX85" fmla="*/ 387066 w 4156116"/>
              <a:gd name="connsiteY85" fmla="*/ 38708 h 304563"/>
              <a:gd name="connsiteX86" fmla="*/ 470828 w 4156116"/>
              <a:gd name="connsiteY86" fmla="*/ 38580 h 304563"/>
              <a:gd name="connsiteX87" fmla="*/ 470828 w 4156116"/>
              <a:gd name="connsiteY87" fmla="*/ 43307 h 304563"/>
              <a:gd name="connsiteX88" fmla="*/ 554463 w 4156116"/>
              <a:gd name="connsiteY88" fmla="*/ 43179 h 304563"/>
              <a:gd name="connsiteX89" fmla="*/ 554463 w 4156116"/>
              <a:gd name="connsiteY89" fmla="*/ 47906 h 304563"/>
              <a:gd name="connsiteX90" fmla="*/ 638225 w 4156116"/>
              <a:gd name="connsiteY90" fmla="*/ 47779 h 304563"/>
              <a:gd name="connsiteX91" fmla="*/ 638225 w 4156116"/>
              <a:gd name="connsiteY91" fmla="*/ 52505 h 304563"/>
              <a:gd name="connsiteX92" fmla="*/ 721860 w 4156116"/>
              <a:gd name="connsiteY92" fmla="*/ 52378 h 304563"/>
              <a:gd name="connsiteX93" fmla="*/ 721860 w 4156116"/>
              <a:gd name="connsiteY93" fmla="*/ 57105 h 304563"/>
              <a:gd name="connsiteX94" fmla="*/ 805623 w 4156116"/>
              <a:gd name="connsiteY94" fmla="*/ 56977 h 304563"/>
              <a:gd name="connsiteX95" fmla="*/ 805623 w 4156116"/>
              <a:gd name="connsiteY95" fmla="*/ 61704 h 304563"/>
              <a:gd name="connsiteX96" fmla="*/ 889257 w 4156116"/>
              <a:gd name="connsiteY96" fmla="*/ 61576 h 304563"/>
              <a:gd name="connsiteX97" fmla="*/ 889385 w 4156116"/>
              <a:gd name="connsiteY97" fmla="*/ 251163 h 304563"/>
              <a:gd name="connsiteX98" fmla="*/ 805623 w 4156116"/>
              <a:gd name="connsiteY98" fmla="*/ 251418 h 304563"/>
              <a:gd name="connsiteX99" fmla="*/ 805623 w 4156116"/>
              <a:gd name="connsiteY99" fmla="*/ 255890 h 304563"/>
              <a:gd name="connsiteX100" fmla="*/ 721988 w 4156116"/>
              <a:gd name="connsiteY100" fmla="*/ 256145 h 304563"/>
              <a:gd name="connsiteX101" fmla="*/ 721988 w 4156116"/>
              <a:gd name="connsiteY101" fmla="*/ 260744 h 304563"/>
              <a:gd name="connsiteX102" fmla="*/ 638225 w 4156116"/>
              <a:gd name="connsiteY102" fmla="*/ 260872 h 304563"/>
              <a:gd name="connsiteX103" fmla="*/ 638225 w 4156116"/>
              <a:gd name="connsiteY103" fmla="*/ 265471 h 304563"/>
              <a:gd name="connsiteX104" fmla="*/ 554591 w 4156116"/>
              <a:gd name="connsiteY104" fmla="*/ 265599 h 304563"/>
              <a:gd name="connsiteX105" fmla="*/ 554591 w 4156116"/>
              <a:gd name="connsiteY105" fmla="*/ 270198 h 304563"/>
              <a:gd name="connsiteX106" fmla="*/ 470828 w 4156116"/>
              <a:gd name="connsiteY106" fmla="*/ 270326 h 304563"/>
              <a:gd name="connsiteX107" fmla="*/ 470828 w 4156116"/>
              <a:gd name="connsiteY107" fmla="*/ 274925 h 304563"/>
              <a:gd name="connsiteX108" fmla="*/ 387193 w 4156116"/>
              <a:gd name="connsiteY108" fmla="*/ 275053 h 304563"/>
              <a:gd name="connsiteX109" fmla="*/ 387193 w 4156116"/>
              <a:gd name="connsiteY109" fmla="*/ 279652 h 304563"/>
              <a:gd name="connsiteX110" fmla="*/ 303431 w 4156116"/>
              <a:gd name="connsiteY110" fmla="*/ 279780 h 304563"/>
              <a:gd name="connsiteX111" fmla="*/ 303431 w 4156116"/>
              <a:gd name="connsiteY111" fmla="*/ 284507 h 304563"/>
              <a:gd name="connsiteX112" fmla="*/ 219796 w 4156116"/>
              <a:gd name="connsiteY112" fmla="*/ 284507 h 304563"/>
              <a:gd name="connsiteX113" fmla="*/ 219796 w 4156116"/>
              <a:gd name="connsiteY113" fmla="*/ 289233 h 304563"/>
              <a:gd name="connsiteX114" fmla="*/ 136034 w 4156116"/>
              <a:gd name="connsiteY114" fmla="*/ 289361 h 304563"/>
              <a:gd name="connsiteX115" fmla="*/ 136034 w 4156116"/>
              <a:gd name="connsiteY115" fmla="*/ 293960 h 304563"/>
              <a:gd name="connsiteX116" fmla="*/ 52399 w 4156116"/>
              <a:gd name="connsiteY116" fmla="*/ 294088 h 304563"/>
              <a:gd name="connsiteX117" fmla="*/ 52399 w 4156116"/>
              <a:gd name="connsiteY117" fmla="*/ 298687 h 304563"/>
              <a:gd name="connsiteX118" fmla="*/ 127 w 4156116"/>
              <a:gd name="connsiteY118" fmla="*/ 298943 h 304563"/>
              <a:gd name="connsiteX119" fmla="*/ 0 w 4156116"/>
              <a:gd name="connsiteY119" fmla="*/ 15840 h 304563"/>
              <a:gd name="connsiteX120" fmla="*/ 4153567 w 4156116"/>
              <a:gd name="connsiteY120" fmla="*/ 0 h 304563"/>
              <a:gd name="connsiteX121" fmla="*/ 4156116 w 4156116"/>
              <a:gd name="connsiteY121" fmla="*/ 894 h 304563"/>
              <a:gd name="connsiteX122" fmla="*/ 4156116 w 4156116"/>
              <a:gd name="connsiteY122" fmla="*/ 304563 h 304563"/>
              <a:gd name="connsiteX123" fmla="*/ 4153567 w 4156116"/>
              <a:gd name="connsiteY123" fmla="*/ 303669 h 304563"/>
              <a:gd name="connsiteX124" fmla="*/ 4153567 w 4156116"/>
              <a:gd name="connsiteY124" fmla="*/ 295876 h 304563"/>
              <a:gd name="connsiteX125" fmla="*/ 4069932 w 4156116"/>
              <a:gd name="connsiteY125" fmla="*/ 295621 h 304563"/>
              <a:gd name="connsiteX126" fmla="*/ 4069932 w 4156116"/>
              <a:gd name="connsiteY126" fmla="*/ 287956 h 304563"/>
              <a:gd name="connsiteX127" fmla="*/ 3986169 w 4156116"/>
              <a:gd name="connsiteY127" fmla="*/ 287700 h 304563"/>
              <a:gd name="connsiteX128" fmla="*/ 3986169 w 4156116"/>
              <a:gd name="connsiteY128" fmla="*/ 280035 h 304563"/>
              <a:gd name="connsiteX129" fmla="*/ 3902535 w 4156116"/>
              <a:gd name="connsiteY129" fmla="*/ 279652 h 304563"/>
              <a:gd name="connsiteX130" fmla="*/ 3902535 w 4156116"/>
              <a:gd name="connsiteY130" fmla="*/ 272114 h 304563"/>
              <a:gd name="connsiteX131" fmla="*/ 3818772 w 4156116"/>
              <a:gd name="connsiteY131" fmla="*/ 271731 h 304563"/>
              <a:gd name="connsiteX132" fmla="*/ 3818772 w 4156116"/>
              <a:gd name="connsiteY132" fmla="*/ 264066 h 304563"/>
              <a:gd name="connsiteX133" fmla="*/ 3735137 w 4156116"/>
              <a:gd name="connsiteY133" fmla="*/ 263810 h 304563"/>
              <a:gd name="connsiteX134" fmla="*/ 3735137 w 4156116"/>
              <a:gd name="connsiteY134" fmla="*/ 256145 h 304563"/>
              <a:gd name="connsiteX135" fmla="*/ 3651375 w 4156116"/>
              <a:gd name="connsiteY135" fmla="*/ 255762 h 304563"/>
              <a:gd name="connsiteX136" fmla="*/ 3651375 w 4156116"/>
              <a:gd name="connsiteY136" fmla="*/ 248224 h 304563"/>
              <a:gd name="connsiteX137" fmla="*/ 3567740 w 4156116"/>
              <a:gd name="connsiteY137" fmla="*/ 247841 h 304563"/>
              <a:gd name="connsiteX138" fmla="*/ 3567740 w 4156116"/>
              <a:gd name="connsiteY138" fmla="*/ 240176 h 304563"/>
              <a:gd name="connsiteX139" fmla="*/ 3483978 w 4156116"/>
              <a:gd name="connsiteY139" fmla="*/ 239920 h 304563"/>
              <a:gd name="connsiteX140" fmla="*/ 3483978 w 4156116"/>
              <a:gd name="connsiteY140" fmla="*/ 232255 h 304563"/>
              <a:gd name="connsiteX141" fmla="*/ 3400343 w 4156116"/>
              <a:gd name="connsiteY141" fmla="*/ 231872 h 304563"/>
              <a:gd name="connsiteX142" fmla="*/ 3400343 w 4156116"/>
              <a:gd name="connsiteY142" fmla="*/ 224334 h 304563"/>
              <a:gd name="connsiteX143" fmla="*/ 3316581 w 4156116"/>
              <a:gd name="connsiteY143" fmla="*/ 223951 h 304563"/>
              <a:gd name="connsiteX144" fmla="*/ 3316581 w 4156116"/>
              <a:gd name="connsiteY144" fmla="*/ 216414 h 304563"/>
              <a:gd name="connsiteX145" fmla="*/ 3232946 w 4156116"/>
              <a:gd name="connsiteY145" fmla="*/ 216030 h 304563"/>
              <a:gd name="connsiteX146" fmla="*/ 3232946 w 4156116"/>
              <a:gd name="connsiteY146" fmla="*/ 208493 h 304563"/>
              <a:gd name="connsiteX147" fmla="*/ 3149184 w 4156116"/>
              <a:gd name="connsiteY147" fmla="*/ 207982 h 304563"/>
              <a:gd name="connsiteX148" fmla="*/ 3149184 w 4156116"/>
              <a:gd name="connsiteY148" fmla="*/ 200444 h 304563"/>
              <a:gd name="connsiteX149" fmla="*/ 3065420 w 4156116"/>
              <a:gd name="connsiteY149" fmla="*/ 200061 h 304563"/>
              <a:gd name="connsiteX150" fmla="*/ 3065420 w 4156116"/>
              <a:gd name="connsiteY150" fmla="*/ 192524 h 304563"/>
              <a:gd name="connsiteX151" fmla="*/ 2981786 w 4156116"/>
              <a:gd name="connsiteY151" fmla="*/ 192141 h 304563"/>
              <a:gd name="connsiteX152" fmla="*/ 2981786 w 4156116"/>
              <a:gd name="connsiteY152" fmla="*/ 184603 h 304563"/>
              <a:gd name="connsiteX153" fmla="*/ 2898023 w 4156116"/>
              <a:gd name="connsiteY153" fmla="*/ 184092 h 304563"/>
              <a:gd name="connsiteX154" fmla="*/ 2898023 w 4156116"/>
              <a:gd name="connsiteY154" fmla="*/ 176682 h 304563"/>
              <a:gd name="connsiteX155" fmla="*/ 2814388 w 4156116"/>
              <a:gd name="connsiteY155" fmla="*/ 176171 h 304563"/>
              <a:gd name="connsiteX156" fmla="*/ 2814388 w 4156116"/>
              <a:gd name="connsiteY156" fmla="*/ 168762 h 304563"/>
              <a:gd name="connsiteX157" fmla="*/ 2730754 w 4156116"/>
              <a:gd name="connsiteY157" fmla="*/ 168251 h 304563"/>
              <a:gd name="connsiteX158" fmla="*/ 2730626 w 4156116"/>
              <a:gd name="connsiteY158" fmla="*/ 160841 h 304563"/>
              <a:gd name="connsiteX159" fmla="*/ 2646991 w 4156116"/>
              <a:gd name="connsiteY159" fmla="*/ 160202 h 304563"/>
              <a:gd name="connsiteX160" fmla="*/ 2646991 w 4156116"/>
              <a:gd name="connsiteY160" fmla="*/ 157647 h 304563"/>
              <a:gd name="connsiteX161" fmla="*/ 2563229 w 4156116"/>
              <a:gd name="connsiteY161" fmla="*/ 157008 h 304563"/>
              <a:gd name="connsiteX162" fmla="*/ 2563229 w 4156116"/>
              <a:gd name="connsiteY162" fmla="*/ 152281 h 304563"/>
              <a:gd name="connsiteX163" fmla="*/ 2646991 w 4156116"/>
              <a:gd name="connsiteY163" fmla="*/ 152920 h 304563"/>
              <a:gd name="connsiteX164" fmla="*/ 2646991 w 4156116"/>
              <a:gd name="connsiteY164" fmla="*/ 148832 h 304563"/>
              <a:gd name="connsiteX165" fmla="*/ 2730626 w 4156116"/>
              <a:gd name="connsiteY165" fmla="*/ 149343 h 304563"/>
              <a:gd name="connsiteX166" fmla="*/ 2730626 w 4156116"/>
              <a:gd name="connsiteY166" fmla="*/ 140528 h 304563"/>
              <a:gd name="connsiteX167" fmla="*/ 2814388 w 4156116"/>
              <a:gd name="connsiteY167" fmla="*/ 141039 h 304563"/>
              <a:gd name="connsiteX168" fmla="*/ 2814388 w 4156116"/>
              <a:gd name="connsiteY168" fmla="*/ 132224 h 304563"/>
              <a:gd name="connsiteX169" fmla="*/ 2898023 w 4156116"/>
              <a:gd name="connsiteY169" fmla="*/ 132735 h 304563"/>
              <a:gd name="connsiteX170" fmla="*/ 2898023 w 4156116"/>
              <a:gd name="connsiteY170" fmla="*/ 124048 h 304563"/>
              <a:gd name="connsiteX171" fmla="*/ 2981786 w 4156116"/>
              <a:gd name="connsiteY171" fmla="*/ 124431 h 304563"/>
              <a:gd name="connsiteX172" fmla="*/ 2981786 w 4156116"/>
              <a:gd name="connsiteY172" fmla="*/ 115744 h 304563"/>
              <a:gd name="connsiteX173" fmla="*/ 3065420 w 4156116"/>
              <a:gd name="connsiteY173" fmla="*/ 116127 h 304563"/>
              <a:gd name="connsiteX174" fmla="*/ 3065420 w 4156116"/>
              <a:gd name="connsiteY174" fmla="*/ 107440 h 304563"/>
              <a:gd name="connsiteX175" fmla="*/ 3149184 w 4156116"/>
              <a:gd name="connsiteY175" fmla="*/ 107951 h 304563"/>
              <a:gd name="connsiteX176" fmla="*/ 3149184 w 4156116"/>
              <a:gd name="connsiteY176" fmla="*/ 99136 h 304563"/>
              <a:gd name="connsiteX177" fmla="*/ 3232819 w 4156116"/>
              <a:gd name="connsiteY177" fmla="*/ 99647 h 304563"/>
              <a:gd name="connsiteX178" fmla="*/ 3232819 w 4156116"/>
              <a:gd name="connsiteY178" fmla="*/ 90960 h 304563"/>
              <a:gd name="connsiteX179" fmla="*/ 3316581 w 4156116"/>
              <a:gd name="connsiteY179" fmla="*/ 91343 h 304563"/>
              <a:gd name="connsiteX180" fmla="*/ 3316581 w 4156116"/>
              <a:gd name="connsiteY180" fmla="*/ 82656 h 304563"/>
              <a:gd name="connsiteX181" fmla="*/ 3400216 w 4156116"/>
              <a:gd name="connsiteY181" fmla="*/ 83039 h 304563"/>
              <a:gd name="connsiteX182" fmla="*/ 3400216 w 4156116"/>
              <a:gd name="connsiteY182" fmla="*/ 74352 h 304563"/>
              <a:gd name="connsiteX183" fmla="*/ 3483978 w 4156116"/>
              <a:gd name="connsiteY183" fmla="*/ 74735 h 304563"/>
              <a:gd name="connsiteX184" fmla="*/ 3483978 w 4156116"/>
              <a:gd name="connsiteY184" fmla="*/ 66176 h 304563"/>
              <a:gd name="connsiteX185" fmla="*/ 3567613 w 4156116"/>
              <a:gd name="connsiteY185" fmla="*/ 66431 h 304563"/>
              <a:gd name="connsiteX186" fmla="*/ 3567613 w 4156116"/>
              <a:gd name="connsiteY186" fmla="*/ 57872 h 304563"/>
              <a:gd name="connsiteX187" fmla="*/ 3651375 w 4156116"/>
              <a:gd name="connsiteY187" fmla="*/ 58255 h 304563"/>
              <a:gd name="connsiteX188" fmla="*/ 3651375 w 4156116"/>
              <a:gd name="connsiteY188" fmla="*/ 49568 h 304563"/>
              <a:gd name="connsiteX189" fmla="*/ 3735010 w 4156116"/>
              <a:gd name="connsiteY189" fmla="*/ 49951 h 304563"/>
              <a:gd name="connsiteX190" fmla="*/ 3735010 w 4156116"/>
              <a:gd name="connsiteY190" fmla="*/ 41264 h 304563"/>
              <a:gd name="connsiteX191" fmla="*/ 3818645 w 4156116"/>
              <a:gd name="connsiteY191" fmla="*/ 41647 h 304563"/>
              <a:gd name="connsiteX192" fmla="*/ 3818645 w 4156116"/>
              <a:gd name="connsiteY192" fmla="*/ 33088 h 304563"/>
              <a:gd name="connsiteX193" fmla="*/ 3902407 w 4156116"/>
              <a:gd name="connsiteY193" fmla="*/ 33343 h 304563"/>
              <a:gd name="connsiteX194" fmla="*/ 3902407 w 4156116"/>
              <a:gd name="connsiteY194" fmla="*/ 24784 h 304563"/>
              <a:gd name="connsiteX195" fmla="*/ 3986042 w 4156116"/>
              <a:gd name="connsiteY195" fmla="*/ 25167 h 304563"/>
              <a:gd name="connsiteX196" fmla="*/ 3986042 w 4156116"/>
              <a:gd name="connsiteY196" fmla="*/ 16480 h 304563"/>
              <a:gd name="connsiteX197" fmla="*/ 4069804 w 4156116"/>
              <a:gd name="connsiteY197" fmla="*/ 16863 h 304563"/>
              <a:gd name="connsiteX198" fmla="*/ 4069804 w 4156116"/>
              <a:gd name="connsiteY198" fmla="*/ 8303 h 304563"/>
              <a:gd name="connsiteX199" fmla="*/ 4153567 w 4156116"/>
              <a:gd name="connsiteY199" fmla="*/ 8559 h 304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4156116" h="304563">
                <a:moveTo>
                  <a:pt x="2479594" y="148704"/>
                </a:moveTo>
                <a:lnTo>
                  <a:pt x="2560806" y="148959"/>
                </a:lnTo>
                <a:lnTo>
                  <a:pt x="2560679" y="161097"/>
                </a:lnTo>
                <a:lnTo>
                  <a:pt x="2479594" y="160713"/>
                </a:lnTo>
                <a:close/>
                <a:moveTo>
                  <a:pt x="2395832" y="144105"/>
                </a:moveTo>
                <a:lnTo>
                  <a:pt x="2468248" y="144488"/>
                </a:lnTo>
                <a:lnTo>
                  <a:pt x="2468248" y="165823"/>
                </a:lnTo>
                <a:lnTo>
                  <a:pt x="2395832" y="165567"/>
                </a:lnTo>
                <a:close/>
                <a:moveTo>
                  <a:pt x="2312197" y="139506"/>
                </a:moveTo>
                <a:lnTo>
                  <a:pt x="2375688" y="139889"/>
                </a:lnTo>
                <a:lnTo>
                  <a:pt x="2375688" y="170677"/>
                </a:lnTo>
                <a:lnTo>
                  <a:pt x="2312197" y="170294"/>
                </a:lnTo>
                <a:close/>
                <a:moveTo>
                  <a:pt x="2228435" y="134907"/>
                </a:moveTo>
                <a:lnTo>
                  <a:pt x="2283129" y="135290"/>
                </a:lnTo>
                <a:lnTo>
                  <a:pt x="2283129" y="175404"/>
                </a:lnTo>
                <a:lnTo>
                  <a:pt x="2228435" y="175021"/>
                </a:lnTo>
                <a:close/>
                <a:moveTo>
                  <a:pt x="2144800" y="130308"/>
                </a:moveTo>
                <a:lnTo>
                  <a:pt x="2190570" y="130691"/>
                </a:lnTo>
                <a:lnTo>
                  <a:pt x="2190570" y="180132"/>
                </a:lnTo>
                <a:lnTo>
                  <a:pt x="2144800" y="179749"/>
                </a:lnTo>
                <a:close/>
                <a:moveTo>
                  <a:pt x="2061038" y="125709"/>
                </a:moveTo>
                <a:lnTo>
                  <a:pt x="2098012" y="126092"/>
                </a:lnTo>
                <a:lnTo>
                  <a:pt x="2098012" y="184858"/>
                </a:lnTo>
                <a:lnTo>
                  <a:pt x="2061038" y="184603"/>
                </a:lnTo>
                <a:close/>
                <a:moveTo>
                  <a:pt x="1977403" y="121110"/>
                </a:moveTo>
                <a:lnTo>
                  <a:pt x="2005580" y="121493"/>
                </a:lnTo>
                <a:lnTo>
                  <a:pt x="2005580" y="189585"/>
                </a:lnTo>
                <a:lnTo>
                  <a:pt x="1977403" y="189330"/>
                </a:lnTo>
                <a:close/>
                <a:moveTo>
                  <a:pt x="1893640" y="116511"/>
                </a:moveTo>
                <a:lnTo>
                  <a:pt x="1913020" y="116894"/>
                </a:lnTo>
                <a:lnTo>
                  <a:pt x="1913020" y="194440"/>
                </a:lnTo>
                <a:lnTo>
                  <a:pt x="1893640" y="194057"/>
                </a:lnTo>
                <a:close/>
                <a:moveTo>
                  <a:pt x="1810006" y="112039"/>
                </a:moveTo>
                <a:lnTo>
                  <a:pt x="1820460" y="112294"/>
                </a:lnTo>
                <a:lnTo>
                  <a:pt x="1820460" y="199167"/>
                </a:lnTo>
                <a:lnTo>
                  <a:pt x="1810006" y="198784"/>
                </a:lnTo>
                <a:close/>
                <a:moveTo>
                  <a:pt x="1726243" y="107440"/>
                </a:moveTo>
                <a:lnTo>
                  <a:pt x="1727900" y="107695"/>
                </a:lnTo>
                <a:lnTo>
                  <a:pt x="1727900" y="203893"/>
                </a:lnTo>
                <a:lnTo>
                  <a:pt x="1726371" y="203638"/>
                </a:lnTo>
                <a:close/>
                <a:moveTo>
                  <a:pt x="1642609" y="102841"/>
                </a:moveTo>
                <a:lnTo>
                  <a:pt x="1642609" y="208365"/>
                </a:lnTo>
                <a:lnTo>
                  <a:pt x="1635342" y="208620"/>
                </a:lnTo>
                <a:lnTo>
                  <a:pt x="1635342" y="103096"/>
                </a:lnTo>
                <a:close/>
                <a:moveTo>
                  <a:pt x="1558846" y="98242"/>
                </a:moveTo>
                <a:lnTo>
                  <a:pt x="1558973" y="213092"/>
                </a:lnTo>
                <a:lnTo>
                  <a:pt x="1542909" y="213347"/>
                </a:lnTo>
                <a:lnTo>
                  <a:pt x="1542782" y="98497"/>
                </a:lnTo>
                <a:close/>
                <a:moveTo>
                  <a:pt x="1475212" y="93643"/>
                </a:moveTo>
                <a:lnTo>
                  <a:pt x="1475212" y="217820"/>
                </a:lnTo>
                <a:lnTo>
                  <a:pt x="1450350" y="218075"/>
                </a:lnTo>
                <a:lnTo>
                  <a:pt x="1450223" y="93898"/>
                </a:lnTo>
                <a:close/>
                <a:moveTo>
                  <a:pt x="1391450" y="89044"/>
                </a:moveTo>
                <a:lnTo>
                  <a:pt x="1391450" y="222675"/>
                </a:lnTo>
                <a:lnTo>
                  <a:pt x="1357791" y="222930"/>
                </a:lnTo>
                <a:lnTo>
                  <a:pt x="1357791" y="89299"/>
                </a:lnTo>
                <a:close/>
                <a:moveTo>
                  <a:pt x="1307815" y="84444"/>
                </a:moveTo>
                <a:lnTo>
                  <a:pt x="1307815" y="227399"/>
                </a:lnTo>
                <a:lnTo>
                  <a:pt x="1265232" y="227655"/>
                </a:lnTo>
                <a:lnTo>
                  <a:pt x="1265232" y="84699"/>
                </a:lnTo>
                <a:close/>
                <a:moveTo>
                  <a:pt x="1224052" y="79845"/>
                </a:moveTo>
                <a:lnTo>
                  <a:pt x="1224180" y="232126"/>
                </a:lnTo>
                <a:lnTo>
                  <a:pt x="1172673" y="232382"/>
                </a:lnTo>
                <a:lnTo>
                  <a:pt x="1172673" y="80100"/>
                </a:lnTo>
                <a:close/>
                <a:moveTo>
                  <a:pt x="1140417" y="75246"/>
                </a:moveTo>
                <a:lnTo>
                  <a:pt x="1140417" y="236854"/>
                </a:lnTo>
                <a:lnTo>
                  <a:pt x="1080113" y="237110"/>
                </a:lnTo>
                <a:lnTo>
                  <a:pt x="1080113" y="75501"/>
                </a:lnTo>
                <a:close/>
                <a:moveTo>
                  <a:pt x="1056655" y="70647"/>
                </a:moveTo>
                <a:lnTo>
                  <a:pt x="1056782" y="241581"/>
                </a:lnTo>
                <a:lnTo>
                  <a:pt x="987681" y="241837"/>
                </a:lnTo>
                <a:lnTo>
                  <a:pt x="987554" y="70902"/>
                </a:lnTo>
                <a:close/>
                <a:moveTo>
                  <a:pt x="973020" y="66048"/>
                </a:moveTo>
                <a:lnTo>
                  <a:pt x="973020" y="246435"/>
                </a:lnTo>
                <a:lnTo>
                  <a:pt x="895122" y="246691"/>
                </a:lnTo>
                <a:lnTo>
                  <a:pt x="894995" y="66303"/>
                </a:lnTo>
                <a:close/>
                <a:moveTo>
                  <a:pt x="52272" y="15713"/>
                </a:moveTo>
                <a:lnTo>
                  <a:pt x="52272" y="20312"/>
                </a:lnTo>
                <a:lnTo>
                  <a:pt x="135907" y="20312"/>
                </a:lnTo>
                <a:lnTo>
                  <a:pt x="135907" y="24911"/>
                </a:lnTo>
                <a:lnTo>
                  <a:pt x="219669" y="24911"/>
                </a:lnTo>
                <a:lnTo>
                  <a:pt x="219669" y="29510"/>
                </a:lnTo>
                <a:lnTo>
                  <a:pt x="303431" y="29382"/>
                </a:lnTo>
                <a:lnTo>
                  <a:pt x="303431" y="34109"/>
                </a:lnTo>
                <a:lnTo>
                  <a:pt x="387066" y="33981"/>
                </a:lnTo>
                <a:lnTo>
                  <a:pt x="387066" y="38708"/>
                </a:lnTo>
                <a:lnTo>
                  <a:pt x="470828" y="38580"/>
                </a:lnTo>
                <a:lnTo>
                  <a:pt x="470828" y="43307"/>
                </a:lnTo>
                <a:lnTo>
                  <a:pt x="554463" y="43179"/>
                </a:lnTo>
                <a:lnTo>
                  <a:pt x="554463" y="47906"/>
                </a:lnTo>
                <a:lnTo>
                  <a:pt x="638225" y="47779"/>
                </a:lnTo>
                <a:lnTo>
                  <a:pt x="638225" y="52505"/>
                </a:lnTo>
                <a:lnTo>
                  <a:pt x="721860" y="52378"/>
                </a:lnTo>
                <a:lnTo>
                  <a:pt x="721860" y="57105"/>
                </a:lnTo>
                <a:lnTo>
                  <a:pt x="805623" y="56977"/>
                </a:lnTo>
                <a:lnTo>
                  <a:pt x="805623" y="61704"/>
                </a:lnTo>
                <a:lnTo>
                  <a:pt x="889257" y="61576"/>
                </a:lnTo>
                <a:lnTo>
                  <a:pt x="889385" y="251163"/>
                </a:lnTo>
                <a:lnTo>
                  <a:pt x="805623" y="251418"/>
                </a:lnTo>
                <a:lnTo>
                  <a:pt x="805623" y="255890"/>
                </a:lnTo>
                <a:lnTo>
                  <a:pt x="721988" y="256145"/>
                </a:lnTo>
                <a:lnTo>
                  <a:pt x="721988" y="260744"/>
                </a:lnTo>
                <a:lnTo>
                  <a:pt x="638225" y="260872"/>
                </a:lnTo>
                <a:lnTo>
                  <a:pt x="638225" y="265471"/>
                </a:lnTo>
                <a:lnTo>
                  <a:pt x="554591" y="265599"/>
                </a:lnTo>
                <a:lnTo>
                  <a:pt x="554591" y="270198"/>
                </a:lnTo>
                <a:lnTo>
                  <a:pt x="470828" y="270326"/>
                </a:lnTo>
                <a:lnTo>
                  <a:pt x="470828" y="274925"/>
                </a:lnTo>
                <a:lnTo>
                  <a:pt x="387193" y="275053"/>
                </a:lnTo>
                <a:lnTo>
                  <a:pt x="387193" y="279652"/>
                </a:lnTo>
                <a:lnTo>
                  <a:pt x="303431" y="279780"/>
                </a:lnTo>
                <a:lnTo>
                  <a:pt x="303431" y="284507"/>
                </a:lnTo>
                <a:lnTo>
                  <a:pt x="219796" y="284507"/>
                </a:lnTo>
                <a:lnTo>
                  <a:pt x="219796" y="289233"/>
                </a:lnTo>
                <a:lnTo>
                  <a:pt x="136034" y="289361"/>
                </a:lnTo>
                <a:lnTo>
                  <a:pt x="136034" y="293960"/>
                </a:lnTo>
                <a:lnTo>
                  <a:pt x="52399" y="294088"/>
                </a:lnTo>
                <a:lnTo>
                  <a:pt x="52399" y="298687"/>
                </a:lnTo>
                <a:lnTo>
                  <a:pt x="127" y="298943"/>
                </a:lnTo>
                <a:lnTo>
                  <a:pt x="0" y="15840"/>
                </a:lnTo>
                <a:close/>
                <a:moveTo>
                  <a:pt x="4153567" y="0"/>
                </a:moveTo>
                <a:lnTo>
                  <a:pt x="4156116" y="894"/>
                </a:lnTo>
                <a:lnTo>
                  <a:pt x="4156116" y="304563"/>
                </a:lnTo>
                <a:lnTo>
                  <a:pt x="4153567" y="303669"/>
                </a:lnTo>
                <a:lnTo>
                  <a:pt x="4153567" y="295876"/>
                </a:lnTo>
                <a:lnTo>
                  <a:pt x="4069932" y="295621"/>
                </a:lnTo>
                <a:lnTo>
                  <a:pt x="4069932" y="287956"/>
                </a:lnTo>
                <a:lnTo>
                  <a:pt x="3986169" y="287700"/>
                </a:lnTo>
                <a:lnTo>
                  <a:pt x="3986169" y="280035"/>
                </a:lnTo>
                <a:lnTo>
                  <a:pt x="3902535" y="279652"/>
                </a:lnTo>
                <a:lnTo>
                  <a:pt x="3902535" y="272114"/>
                </a:lnTo>
                <a:lnTo>
                  <a:pt x="3818772" y="271731"/>
                </a:lnTo>
                <a:lnTo>
                  <a:pt x="3818772" y="264066"/>
                </a:lnTo>
                <a:lnTo>
                  <a:pt x="3735137" y="263810"/>
                </a:lnTo>
                <a:lnTo>
                  <a:pt x="3735137" y="256145"/>
                </a:lnTo>
                <a:lnTo>
                  <a:pt x="3651375" y="255762"/>
                </a:lnTo>
                <a:lnTo>
                  <a:pt x="3651375" y="248224"/>
                </a:lnTo>
                <a:lnTo>
                  <a:pt x="3567740" y="247841"/>
                </a:lnTo>
                <a:lnTo>
                  <a:pt x="3567740" y="240176"/>
                </a:lnTo>
                <a:lnTo>
                  <a:pt x="3483978" y="239920"/>
                </a:lnTo>
                <a:lnTo>
                  <a:pt x="3483978" y="232255"/>
                </a:lnTo>
                <a:lnTo>
                  <a:pt x="3400343" y="231872"/>
                </a:lnTo>
                <a:lnTo>
                  <a:pt x="3400343" y="224334"/>
                </a:lnTo>
                <a:lnTo>
                  <a:pt x="3316581" y="223951"/>
                </a:lnTo>
                <a:lnTo>
                  <a:pt x="3316581" y="216414"/>
                </a:lnTo>
                <a:lnTo>
                  <a:pt x="3232946" y="216030"/>
                </a:lnTo>
                <a:lnTo>
                  <a:pt x="3232946" y="208493"/>
                </a:lnTo>
                <a:lnTo>
                  <a:pt x="3149184" y="207982"/>
                </a:lnTo>
                <a:lnTo>
                  <a:pt x="3149184" y="200444"/>
                </a:lnTo>
                <a:lnTo>
                  <a:pt x="3065420" y="200061"/>
                </a:lnTo>
                <a:lnTo>
                  <a:pt x="3065420" y="192524"/>
                </a:lnTo>
                <a:lnTo>
                  <a:pt x="2981786" y="192141"/>
                </a:lnTo>
                <a:lnTo>
                  <a:pt x="2981786" y="184603"/>
                </a:lnTo>
                <a:lnTo>
                  <a:pt x="2898023" y="184092"/>
                </a:lnTo>
                <a:lnTo>
                  <a:pt x="2898023" y="176682"/>
                </a:lnTo>
                <a:lnTo>
                  <a:pt x="2814388" y="176171"/>
                </a:lnTo>
                <a:lnTo>
                  <a:pt x="2814388" y="168762"/>
                </a:lnTo>
                <a:lnTo>
                  <a:pt x="2730754" y="168251"/>
                </a:lnTo>
                <a:lnTo>
                  <a:pt x="2730626" y="160841"/>
                </a:lnTo>
                <a:lnTo>
                  <a:pt x="2646991" y="160202"/>
                </a:lnTo>
                <a:lnTo>
                  <a:pt x="2646991" y="157647"/>
                </a:lnTo>
                <a:lnTo>
                  <a:pt x="2563229" y="157008"/>
                </a:lnTo>
                <a:lnTo>
                  <a:pt x="2563229" y="152281"/>
                </a:lnTo>
                <a:lnTo>
                  <a:pt x="2646991" y="152920"/>
                </a:lnTo>
                <a:lnTo>
                  <a:pt x="2646991" y="148832"/>
                </a:lnTo>
                <a:lnTo>
                  <a:pt x="2730626" y="149343"/>
                </a:lnTo>
                <a:lnTo>
                  <a:pt x="2730626" y="140528"/>
                </a:lnTo>
                <a:lnTo>
                  <a:pt x="2814388" y="141039"/>
                </a:lnTo>
                <a:lnTo>
                  <a:pt x="2814388" y="132224"/>
                </a:lnTo>
                <a:lnTo>
                  <a:pt x="2898023" y="132735"/>
                </a:lnTo>
                <a:lnTo>
                  <a:pt x="2898023" y="124048"/>
                </a:lnTo>
                <a:lnTo>
                  <a:pt x="2981786" y="124431"/>
                </a:lnTo>
                <a:lnTo>
                  <a:pt x="2981786" y="115744"/>
                </a:lnTo>
                <a:lnTo>
                  <a:pt x="3065420" y="116127"/>
                </a:lnTo>
                <a:lnTo>
                  <a:pt x="3065420" y="107440"/>
                </a:lnTo>
                <a:lnTo>
                  <a:pt x="3149184" y="107951"/>
                </a:lnTo>
                <a:lnTo>
                  <a:pt x="3149184" y="99136"/>
                </a:lnTo>
                <a:lnTo>
                  <a:pt x="3232819" y="99647"/>
                </a:lnTo>
                <a:lnTo>
                  <a:pt x="3232819" y="90960"/>
                </a:lnTo>
                <a:lnTo>
                  <a:pt x="3316581" y="91343"/>
                </a:lnTo>
                <a:lnTo>
                  <a:pt x="3316581" y="82656"/>
                </a:lnTo>
                <a:lnTo>
                  <a:pt x="3400216" y="83039"/>
                </a:lnTo>
                <a:lnTo>
                  <a:pt x="3400216" y="74352"/>
                </a:lnTo>
                <a:lnTo>
                  <a:pt x="3483978" y="74735"/>
                </a:lnTo>
                <a:lnTo>
                  <a:pt x="3483978" y="66176"/>
                </a:lnTo>
                <a:lnTo>
                  <a:pt x="3567613" y="66431"/>
                </a:lnTo>
                <a:lnTo>
                  <a:pt x="3567613" y="57872"/>
                </a:lnTo>
                <a:lnTo>
                  <a:pt x="3651375" y="58255"/>
                </a:lnTo>
                <a:lnTo>
                  <a:pt x="3651375" y="49568"/>
                </a:lnTo>
                <a:lnTo>
                  <a:pt x="3735010" y="49951"/>
                </a:lnTo>
                <a:lnTo>
                  <a:pt x="3735010" y="41264"/>
                </a:lnTo>
                <a:lnTo>
                  <a:pt x="3818645" y="41647"/>
                </a:lnTo>
                <a:lnTo>
                  <a:pt x="3818645" y="33088"/>
                </a:lnTo>
                <a:lnTo>
                  <a:pt x="3902407" y="33343"/>
                </a:lnTo>
                <a:lnTo>
                  <a:pt x="3902407" y="24784"/>
                </a:lnTo>
                <a:lnTo>
                  <a:pt x="3986042" y="25167"/>
                </a:lnTo>
                <a:lnTo>
                  <a:pt x="3986042" y="16480"/>
                </a:lnTo>
                <a:lnTo>
                  <a:pt x="4069804" y="16863"/>
                </a:lnTo>
                <a:lnTo>
                  <a:pt x="4069804" y="8303"/>
                </a:lnTo>
                <a:lnTo>
                  <a:pt x="4153567" y="8559"/>
                </a:lnTo>
                <a:close/>
              </a:path>
            </a:pathLst>
          </a:custGeom>
          <a:gradFill>
            <a:gsLst>
              <a:gs pos="38000">
                <a:schemeClr val="accent1"/>
              </a:gs>
              <a:gs pos="88000">
                <a:schemeClr val="accent3"/>
              </a:gs>
            </a:gsLst>
            <a:lin ang="0" scaled="0"/>
          </a:gradFill>
          <a:ln w="9525" cap="flat">
            <a:noFill/>
            <a:prstDash val="solid"/>
            <a:miter/>
          </a:ln>
        </p:spPr>
        <p:txBody>
          <a:bodyPr wrap="square" rtlCol="0" anchor="ctr">
            <a:noAutofit/>
          </a:bodyPr>
          <a:lstStyle/>
          <a:p>
            <a:endParaRPr lang="en-US"/>
          </a:p>
        </p:txBody>
      </p:sp>
      <p:sp>
        <p:nvSpPr>
          <p:cNvPr id="73" name="Picture Placeholder 3">
            <a:extLst>
              <a:ext uri="{FF2B5EF4-FFF2-40B4-BE49-F238E27FC236}">
                <a16:creationId xmlns:a16="http://schemas.microsoft.com/office/drawing/2014/main" id="{1A67775D-E2D0-944F-81EA-A77920138745}"/>
              </a:ext>
            </a:extLst>
          </p:cNvPr>
          <p:cNvSpPr>
            <a:spLocks noGrp="1"/>
          </p:cNvSpPr>
          <p:nvPr>
            <p:ph type="pic" sz="quarter" idx="17"/>
          </p:nvPr>
        </p:nvSpPr>
        <p:spPr>
          <a:xfrm>
            <a:off x="6769770" y="550220"/>
            <a:ext cx="5422230" cy="5433484"/>
          </a:xfrm>
          <a:prstGeom prst="rect">
            <a:avLst/>
          </a:prstGeom>
          <a:noFill/>
        </p:spPr>
        <p:txBody>
          <a:bodyPr anchor="ctr"/>
          <a:lstStyle>
            <a:lvl1pPr marL="0" indent="0" algn="ctr">
              <a:buNone/>
              <a:defRPr/>
            </a:lvl1pPr>
          </a:lstStyle>
          <a:p>
            <a:r>
              <a:rPr lang="en-US"/>
              <a:t>Click icon to add picture</a:t>
            </a:r>
          </a:p>
        </p:txBody>
      </p:sp>
      <p:sp>
        <p:nvSpPr>
          <p:cNvPr id="29" name="Content Placeholder 49">
            <a:extLst>
              <a:ext uri="{FF2B5EF4-FFF2-40B4-BE49-F238E27FC236}">
                <a16:creationId xmlns:a16="http://schemas.microsoft.com/office/drawing/2014/main" id="{AFA5E632-CC98-2F40-BD9C-ACFD96DD5D69}"/>
              </a:ext>
            </a:extLst>
          </p:cNvPr>
          <p:cNvSpPr>
            <a:spLocks noGrp="1"/>
          </p:cNvSpPr>
          <p:nvPr>
            <p:ph sz="quarter" idx="16"/>
          </p:nvPr>
        </p:nvSpPr>
        <p:spPr>
          <a:xfrm>
            <a:off x="594812" y="3481045"/>
            <a:ext cx="5027946" cy="2462360"/>
          </a:xfrm>
          <a:prstGeom prst="rect">
            <a:avLst/>
          </a:prstGeom>
        </p:spPr>
        <p:txBody>
          <a:bodyPr/>
          <a:lstStyle>
            <a:lvl1pPr marL="0" indent="0">
              <a:lnSpc>
                <a:spcPct val="125000"/>
              </a:lnSpc>
              <a:spcBef>
                <a:spcPts val="0"/>
              </a:spcBef>
              <a:buNone/>
              <a:defRPr sz="1400"/>
            </a:lvl1pPr>
            <a:lvl2pPr marL="11113" indent="0">
              <a:lnSpc>
                <a:spcPct val="110000"/>
              </a:lnSpc>
              <a:spcBef>
                <a:spcPts val="0"/>
              </a:spcBef>
              <a:buNone/>
              <a:tabLst/>
              <a:defRPr sz="1400"/>
            </a:lvl2pPr>
            <a:lvl3pPr marL="230188" indent="-219075">
              <a:lnSpc>
                <a:spcPct val="110000"/>
              </a:lnSpc>
              <a:spcBef>
                <a:spcPts val="0"/>
              </a:spcBef>
              <a:spcAft>
                <a:spcPts val="0"/>
              </a:spcAft>
              <a:buFont typeface="System Font Regular"/>
              <a:buChar char="–"/>
              <a:tabLst/>
              <a:defRPr sz="1400"/>
            </a:lvl3pPr>
            <a:lvl4pPr marL="342900" indent="-176213">
              <a:lnSpc>
                <a:spcPct val="110000"/>
              </a:lnSpc>
              <a:spcBef>
                <a:spcPts val="0"/>
              </a:spcBef>
              <a:buFont typeface="System Font Regular"/>
              <a:buChar char="+"/>
              <a:tabLst/>
              <a:defRPr sz="1400"/>
            </a:lvl4pPr>
            <a:lvl5pPr marL="574675" indent="-176213">
              <a:lnSpc>
                <a:spcPct val="110000"/>
              </a:lnSpc>
              <a:spcBef>
                <a:spcPts val="0"/>
              </a:spcBef>
              <a:buFont typeface="System Font Regular"/>
              <a:buChar char="–"/>
              <a:tabLst/>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0" name="Group 29">
            <a:extLst>
              <a:ext uri="{FF2B5EF4-FFF2-40B4-BE49-F238E27FC236}">
                <a16:creationId xmlns:a16="http://schemas.microsoft.com/office/drawing/2014/main" id="{97688835-D867-F144-ADD3-E0BE1022DD67}"/>
              </a:ext>
            </a:extLst>
          </p:cNvPr>
          <p:cNvGrpSpPr/>
          <p:nvPr/>
        </p:nvGrpSpPr>
        <p:grpSpPr>
          <a:xfrm>
            <a:off x="3047" y="6305605"/>
            <a:ext cx="1254409" cy="552395"/>
            <a:chOff x="3047" y="6305605"/>
            <a:chExt cx="1254409" cy="552395"/>
          </a:xfrm>
        </p:grpSpPr>
        <p:grpSp>
          <p:nvGrpSpPr>
            <p:cNvPr id="31" name="Group 30">
              <a:extLst>
                <a:ext uri="{FF2B5EF4-FFF2-40B4-BE49-F238E27FC236}">
                  <a16:creationId xmlns:a16="http://schemas.microsoft.com/office/drawing/2014/main" id="{163AAF36-F9CA-EB45-B4AD-07B109299262}"/>
                </a:ext>
              </a:extLst>
            </p:cNvPr>
            <p:cNvGrpSpPr/>
            <p:nvPr/>
          </p:nvGrpSpPr>
          <p:grpSpPr>
            <a:xfrm>
              <a:off x="3047" y="6305605"/>
              <a:ext cx="551693" cy="552395"/>
              <a:chOff x="3047" y="6305605"/>
              <a:chExt cx="551693" cy="552395"/>
            </a:xfrm>
          </p:grpSpPr>
          <p:sp>
            <p:nvSpPr>
              <p:cNvPr id="33" name="Rectangle 32">
                <a:extLst>
                  <a:ext uri="{FF2B5EF4-FFF2-40B4-BE49-F238E27FC236}">
                    <a16:creationId xmlns:a16="http://schemas.microsoft.com/office/drawing/2014/main" id="{6BAC5AAB-56EE-3942-A964-D7E9D5D97EF0}"/>
                  </a:ext>
                </a:extLst>
              </p:cNvPr>
              <p:cNvSpPr/>
              <p:nvPr/>
            </p:nvSpPr>
            <p:spPr>
              <a:xfrm>
                <a:off x="3047" y="6305605"/>
                <a:ext cx="551693" cy="552395"/>
              </a:xfrm>
              <a:prstGeom prst="rect">
                <a:avLst/>
              </a:prstGeom>
              <a:solidFill>
                <a:srgbClr val="5369E4"/>
              </a:solidFill>
              <a:ln w="9525"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B491CCD4-C14E-AB4A-A015-CDCB51AD3EF7}"/>
                  </a:ext>
                </a:extLst>
              </p:cNvPr>
              <p:cNvSpPr/>
              <p:nvPr/>
            </p:nvSpPr>
            <p:spPr>
              <a:xfrm>
                <a:off x="173577" y="6501753"/>
                <a:ext cx="279408" cy="175345"/>
              </a:xfrm>
              <a:custGeom>
                <a:avLst/>
                <a:gdLst>
                  <a:gd name="connsiteX0" fmla="*/ 102941 w 279408"/>
                  <a:gd name="connsiteY0" fmla="*/ 59439 h 175345"/>
                  <a:gd name="connsiteX1" fmla="*/ 132352 w 279408"/>
                  <a:gd name="connsiteY1" fmla="*/ 88384 h 175345"/>
                  <a:gd name="connsiteX2" fmla="*/ 102941 w 279408"/>
                  <a:gd name="connsiteY2" fmla="*/ 117329 h 175345"/>
                  <a:gd name="connsiteX3" fmla="*/ 73528 w 279408"/>
                  <a:gd name="connsiteY3" fmla="*/ 88384 h 175345"/>
                  <a:gd name="connsiteX4" fmla="*/ 102941 w 279408"/>
                  <a:gd name="connsiteY4" fmla="*/ 59439 h 175345"/>
                  <a:gd name="connsiteX5" fmla="*/ 147056 w 279408"/>
                  <a:gd name="connsiteY5" fmla="*/ 1809 h 175345"/>
                  <a:gd name="connsiteX6" fmla="*/ 205880 w 279408"/>
                  <a:gd name="connsiteY6" fmla="*/ 1809 h 175345"/>
                  <a:gd name="connsiteX7" fmla="*/ 205880 w 279408"/>
                  <a:gd name="connsiteY7" fmla="*/ 59698 h 175345"/>
                  <a:gd name="connsiteX8" fmla="*/ 205880 w 279408"/>
                  <a:gd name="connsiteY8" fmla="*/ 117457 h 175345"/>
                  <a:gd name="connsiteX9" fmla="*/ 205880 w 279408"/>
                  <a:gd name="connsiteY9" fmla="*/ 175345 h 175345"/>
                  <a:gd name="connsiteX10" fmla="*/ 147056 w 279408"/>
                  <a:gd name="connsiteY10" fmla="*/ 175345 h 175345"/>
                  <a:gd name="connsiteX11" fmla="*/ 147056 w 279408"/>
                  <a:gd name="connsiteY11" fmla="*/ 117457 h 175345"/>
                  <a:gd name="connsiteX12" fmla="*/ 147056 w 279408"/>
                  <a:gd name="connsiteY12" fmla="*/ 59698 h 175345"/>
                  <a:gd name="connsiteX13" fmla="*/ 0 w 279408"/>
                  <a:gd name="connsiteY13" fmla="*/ 1809 h 175345"/>
                  <a:gd name="connsiteX14" fmla="*/ 58824 w 279408"/>
                  <a:gd name="connsiteY14" fmla="*/ 1809 h 175345"/>
                  <a:gd name="connsiteX15" fmla="*/ 58824 w 279408"/>
                  <a:gd name="connsiteY15" fmla="*/ 59698 h 175345"/>
                  <a:gd name="connsiteX16" fmla="*/ 58824 w 279408"/>
                  <a:gd name="connsiteY16" fmla="*/ 117457 h 175345"/>
                  <a:gd name="connsiteX17" fmla="*/ 58824 w 279408"/>
                  <a:gd name="connsiteY17" fmla="*/ 175345 h 175345"/>
                  <a:gd name="connsiteX18" fmla="*/ 0 w 279408"/>
                  <a:gd name="connsiteY18" fmla="*/ 175345 h 175345"/>
                  <a:gd name="connsiteX19" fmla="*/ 0 w 279408"/>
                  <a:gd name="connsiteY19" fmla="*/ 117457 h 175345"/>
                  <a:gd name="connsiteX20" fmla="*/ 0 w 279408"/>
                  <a:gd name="connsiteY20" fmla="*/ 59698 h 175345"/>
                  <a:gd name="connsiteX21" fmla="*/ 249997 w 279408"/>
                  <a:gd name="connsiteY21" fmla="*/ 0 h 175345"/>
                  <a:gd name="connsiteX22" fmla="*/ 279408 w 279408"/>
                  <a:gd name="connsiteY22" fmla="*/ 28945 h 175345"/>
                  <a:gd name="connsiteX23" fmla="*/ 249997 w 279408"/>
                  <a:gd name="connsiteY23" fmla="*/ 57890 h 175345"/>
                  <a:gd name="connsiteX24" fmla="*/ 220584 w 279408"/>
                  <a:gd name="connsiteY24" fmla="*/ 28945 h 175345"/>
                  <a:gd name="connsiteX25" fmla="*/ 249997 w 279408"/>
                  <a:gd name="connsiteY25" fmla="*/ 0 h 175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79408" h="175345">
                    <a:moveTo>
                      <a:pt x="102941" y="59439"/>
                    </a:moveTo>
                    <a:cubicBezTo>
                      <a:pt x="119184" y="59439"/>
                      <a:pt x="132352" y="72399"/>
                      <a:pt x="132352" y="88384"/>
                    </a:cubicBezTo>
                    <a:cubicBezTo>
                      <a:pt x="132352" y="104370"/>
                      <a:pt x="119184" y="117329"/>
                      <a:pt x="102941" y="117329"/>
                    </a:cubicBezTo>
                    <a:cubicBezTo>
                      <a:pt x="86696" y="117329"/>
                      <a:pt x="73528" y="104370"/>
                      <a:pt x="73528" y="88384"/>
                    </a:cubicBezTo>
                    <a:cubicBezTo>
                      <a:pt x="73528" y="72399"/>
                      <a:pt x="86696" y="59439"/>
                      <a:pt x="102941" y="59439"/>
                    </a:cubicBezTo>
                    <a:close/>
                    <a:moveTo>
                      <a:pt x="147056" y="1809"/>
                    </a:moveTo>
                    <a:lnTo>
                      <a:pt x="205880" y="1809"/>
                    </a:lnTo>
                    <a:lnTo>
                      <a:pt x="205880" y="59698"/>
                    </a:lnTo>
                    <a:lnTo>
                      <a:pt x="205880" y="117457"/>
                    </a:lnTo>
                    <a:lnTo>
                      <a:pt x="205880" y="175345"/>
                    </a:lnTo>
                    <a:lnTo>
                      <a:pt x="147056" y="175345"/>
                    </a:lnTo>
                    <a:lnTo>
                      <a:pt x="147056" y="117457"/>
                    </a:lnTo>
                    <a:lnTo>
                      <a:pt x="147056" y="59698"/>
                    </a:lnTo>
                    <a:close/>
                    <a:moveTo>
                      <a:pt x="0" y="1809"/>
                    </a:moveTo>
                    <a:lnTo>
                      <a:pt x="58824" y="1809"/>
                    </a:lnTo>
                    <a:lnTo>
                      <a:pt x="58824" y="59698"/>
                    </a:lnTo>
                    <a:lnTo>
                      <a:pt x="58824" y="117457"/>
                    </a:lnTo>
                    <a:lnTo>
                      <a:pt x="58824" y="175345"/>
                    </a:lnTo>
                    <a:lnTo>
                      <a:pt x="0" y="175345"/>
                    </a:lnTo>
                    <a:lnTo>
                      <a:pt x="0" y="117457"/>
                    </a:lnTo>
                    <a:lnTo>
                      <a:pt x="0" y="59698"/>
                    </a:lnTo>
                    <a:close/>
                    <a:moveTo>
                      <a:pt x="249997" y="0"/>
                    </a:moveTo>
                    <a:cubicBezTo>
                      <a:pt x="266240" y="0"/>
                      <a:pt x="279408" y="12960"/>
                      <a:pt x="279408" y="28945"/>
                    </a:cubicBezTo>
                    <a:cubicBezTo>
                      <a:pt x="279408" y="44931"/>
                      <a:pt x="266240" y="57890"/>
                      <a:pt x="249997" y="57890"/>
                    </a:cubicBezTo>
                    <a:cubicBezTo>
                      <a:pt x="233752" y="57890"/>
                      <a:pt x="220584" y="44931"/>
                      <a:pt x="220584" y="28945"/>
                    </a:cubicBezTo>
                    <a:cubicBezTo>
                      <a:pt x="220584" y="12960"/>
                      <a:pt x="233752" y="0"/>
                      <a:pt x="249997" y="0"/>
                    </a:cubicBezTo>
                    <a:close/>
                  </a:path>
                </a:pathLst>
              </a:custGeom>
              <a:solidFill>
                <a:srgbClr val="FFFFFF"/>
              </a:solidFill>
              <a:ln w="9525" cap="flat">
                <a:noFill/>
                <a:prstDash val="solid"/>
                <a:miter/>
              </a:ln>
            </p:spPr>
            <p:txBody>
              <a:bodyPr wrap="square" rtlCol="0" anchor="ctr">
                <a:noAutofit/>
              </a:bodyPr>
              <a:lstStyle/>
              <a:p>
                <a:endParaRPr lang="en-US"/>
              </a:p>
            </p:txBody>
          </p:sp>
        </p:grpSp>
        <p:sp>
          <p:nvSpPr>
            <p:cNvPr id="32" name="Freeform 31">
              <a:extLst>
                <a:ext uri="{FF2B5EF4-FFF2-40B4-BE49-F238E27FC236}">
                  <a16:creationId xmlns:a16="http://schemas.microsoft.com/office/drawing/2014/main" id="{CC262EBA-66DF-B74C-8B0F-53DF0050C410}"/>
                </a:ext>
              </a:extLst>
            </p:cNvPr>
            <p:cNvSpPr/>
            <p:nvPr/>
          </p:nvSpPr>
          <p:spPr>
            <a:xfrm>
              <a:off x="701664" y="6524947"/>
              <a:ext cx="555792" cy="129021"/>
            </a:xfrm>
            <a:custGeom>
              <a:avLst/>
              <a:gdLst>
                <a:gd name="connsiteX0" fmla="*/ 364489 w 555792"/>
                <a:gd name="connsiteY0" fmla="*/ 61830 h 129021"/>
                <a:gd name="connsiteX1" fmla="*/ 343312 w 555792"/>
                <a:gd name="connsiteY1" fmla="*/ 82670 h 129021"/>
                <a:gd name="connsiteX2" fmla="*/ 364489 w 555792"/>
                <a:gd name="connsiteY2" fmla="*/ 106926 h 129021"/>
                <a:gd name="connsiteX3" fmla="*/ 367960 w 555792"/>
                <a:gd name="connsiteY3" fmla="*/ 106926 h 129021"/>
                <a:gd name="connsiteX4" fmla="*/ 389136 w 555792"/>
                <a:gd name="connsiteY4" fmla="*/ 82670 h 129021"/>
                <a:gd name="connsiteX5" fmla="*/ 364489 w 555792"/>
                <a:gd name="connsiteY5" fmla="*/ 61830 h 129021"/>
                <a:gd name="connsiteX6" fmla="*/ 255246 w 555792"/>
                <a:gd name="connsiteY6" fmla="*/ 41285 h 129021"/>
                <a:gd name="connsiteX7" fmla="*/ 280588 w 555792"/>
                <a:gd name="connsiteY7" fmla="*/ 41285 h 129021"/>
                <a:gd name="connsiteX8" fmla="*/ 280588 w 555792"/>
                <a:gd name="connsiteY8" fmla="*/ 126955 h 129021"/>
                <a:gd name="connsiteX9" fmla="*/ 255246 w 555792"/>
                <a:gd name="connsiteY9" fmla="*/ 126955 h 129021"/>
                <a:gd name="connsiteX10" fmla="*/ 121846 w 555792"/>
                <a:gd name="connsiteY10" fmla="*/ 40770 h 129021"/>
                <a:gd name="connsiteX11" fmla="*/ 147188 w 555792"/>
                <a:gd name="connsiteY11" fmla="*/ 40770 h 129021"/>
                <a:gd name="connsiteX12" fmla="*/ 147188 w 555792"/>
                <a:gd name="connsiteY12" fmla="*/ 126439 h 129021"/>
                <a:gd name="connsiteX13" fmla="*/ 121846 w 555792"/>
                <a:gd name="connsiteY13" fmla="*/ 126439 h 129021"/>
                <a:gd name="connsiteX14" fmla="*/ 301329 w 555792"/>
                <a:gd name="connsiteY14" fmla="*/ 40638 h 129021"/>
                <a:gd name="connsiteX15" fmla="*/ 301859 w 555792"/>
                <a:gd name="connsiteY15" fmla="*/ 40638 h 129021"/>
                <a:gd name="connsiteX16" fmla="*/ 316958 w 555792"/>
                <a:gd name="connsiteY16" fmla="*/ 55499 h 129021"/>
                <a:gd name="connsiteX17" fmla="*/ 301859 w 555792"/>
                <a:gd name="connsiteY17" fmla="*/ 70359 h 129021"/>
                <a:gd name="connsiteX18" fmla="*/ 286885 w 555792"/>
                <a:gd name="connsiteY18" fmla="*/ 55893 h 129021"/>
                <a:gd name="connsiteX19" fmla="*/ 286890 w 555792"/>
                <a:gd name="connsiteY19" fmla="*/ 55370 h 129021"/>
                <a:gd name="connsiteX20" fmla="*/ 301329 w 555792"/>
                <a:gd name="connsiteY20" fmla="*/ 40638 h 129021"/>
                <a:gd name="connsiteX21" fmla="*/ 468871 w 555792"/>
                <a:gd name="connsiteY21" fmla="*/ 39863 h 129021"/>
                <a:gd name="connsiteX22" fmla="*/ 495131 w 555792"/>
                <a:gd name="connsiteY22" fmla="*/ 55240 h 129021"/>
                <a:gd name="connsiteX23" fmla="*/ 524542 w 555792"/>
                <a:gd name="connsiteY23" fmla="*/ 39863 h 129021"/>
                <a:gd name="connsiteX24" fmla="*/ 555716 w 555792"/>
                <a:gd name="connsiteY24" fmla="*/ 66406 h 129021"/>
                <a:gd name="connsiteX25" fmla="*/ 555792 w 555792"/>
                <a:gd name="connsiteY25" fmla="*/ 68678 h 129021"/>
                <a:gd name="connsiteX26" fmla="*/ 555792 w 555792"/>
                <a:gd name="connsiteY26" fmla="*/ 126954 h 129021"/>
                <a:gd name="connsiteX27" fmla="*/ 530582 w 555792"/>
                <a:gd name="connsiteY27" fmla="*/ 126954 h 129021"/>
                <a:gd name="connsiteX28" fmla="*/ 530582 w 555792"/>
                <a:gd name="connsiteY28" fmla="*/ 75914 h 129021"/>
                <a:gd name="connsiteX29" fmla="*/ 519946 w 555792"/>
                <a:gd name="connsiteY29" fmla="*/ 60936 h 129021"/>
                <a:gd name="connsiteX30" fmla="*/ 516402 w 555792"/>
                <a:gd name="connsiteY30" fmla="*/ 60796 h 129021"/>
                <a:gd name="connsiteX31" fmla="*/ 499858 w 555792"/>
                <a:gd name="connsiteY31" fmla="*/ 83150 h 129021"/>
                <a:gd name="connsiteX32" fmla="*/ 499858 w 555792"/>
                <a:gd name="connsiteY32" fmla="*/ 126954 h 129021"/>
                <a:gd name="connsiteX33" fmla="*/ 474780 w 555792"/>
                <a:gd name="connsiteY33" fmla="*/ 126954 h 129021"/>
                <a:gd name="connsiteX34" fmla="*/ 474780 w 555792"/>
                <a:gd name="connsiteY34" fmla="*/ 75914 h 129021"/>
                <a:gd name="connsiteX35" fmla="*/ 464116 w 555792"/>
                <a:gd name="connsiteY35" fmla="*/ 60954 h 129021"/>
                <a:gd name="connsiteX36" fmla="*/ 460862 w 555792"/>
                <a:gd name="connsiteY36" fmla="*/ 60796 h 129021"/>
                <a:gd name="connsiteX37" fmla="*/ 444318 w 555792"/>
                <a:gd name="connsiteY37" fmla="*/ 83150 h 129021"/>
                <a:gd name="connsiteX38" fmla="*/ 444318 w 555792"/>
                <a:gd name="connsiteY38" fmla="*/ 126954 h 129021"/>
                <a:gd name="connsiteX39" fmla="*/ 418977 w 555792"/>
                <a:gd name="connsiteY39" fmla="*/ 126954 h 129021"/>
                <a:gd name="connsiteX40" fmla="*/ 418977 w 555792"/>
                <a:gd name="connsiteY40" fmla="*/ 41285 h 129021"/>
                <a:gd name="connsiteX41" fmla="*/ 444318 w 555792"/>
                <a:gd name="connsiteY41" fmla="*/ 41285 h 129021"/>
                <a:gd name="connsiteX42" fmla="*/ 444318 w 555792"/>
                <a:gd name="connsiteY42" fmla="*/ 52785 h 129021"/>
                <a:gd name="connsiteX43" fmla="*/ 468871 w 555792"/>
                <a:gd name="connsiteY43" fmla="*/ 39863 h 129021"/>
                <a:gd name="connsiteX44" fmla="*/ 364489 w 555792"/>
                <a:gd name="connsiteY44" fmla="*/ 39863 h 129021"/>
                <a:gd name="connsiteX45" fmla="*/ 409656 w 555792"/>
                <a:gd name="connsiteY45" fmla="*/ 84443 h 129021"/>
                <a:gd name="connsiteX46" fmla="*/ 409656 w 555792"/>
                <a:gd name="connsiteY46" fmla="*/ 84572 h 129021"/>
                <a:gd name="connsiteX47" fmla="*/ 364227 w 555792"/>
                <a:gd name="connsiteY47" fmla="*/ 129021 h 129021"/>
                <a:gd name="connsiteX48" fmla="*/ 319059 w 555792"/>
                <a:gd name="connsiteY48" fmla="*/ 84313 h 129021"/>
                <a:gd name="connsiteX49" fmla="*/ 364489 w 555792"/>
                <a:gd name="connsiteY49" fmla="*/ 39863 h 129021"/>
                <a:gd name="connsiteX50" fmla="*/ 0 w 555792"/>
                <a:gd name="connsiteY50" fmla="*/ 7947 h 129021"/>
                <a:gd name="connsiteX51" fmla="*/ 27179 w 555792"/>
                <a:gd name="connsiteY51" fmla="*/ 7947 h 129021"/>
                <a:gd name="connsiteX52" fmla="*/ 27179 w 555792"/>
                <a:gd name="connsiteY52" fmla="*/ 54206 h 129021"/>
                <a:gd name="connsiteX53" fmla="*/ 75236 w 555792"/>
                <a:gd name="connsiteY53" fmla="*/ 54206 h 129021"/>
                <a:gd name="connsiteX54" fmla="*/ 75236 w 555792"/>
                <a:gd name="connsiteY54" fmla="*/ 7947 h 129021"/>
                <a:gd name="connsiteX55" fmla="*/ 102678 w 555792"/>
                <a:gd name="connsiteY55" fmla="*/ 7947 h 129021"/>
                <a:gd name="connsiteX56" fmla="*/ 102678 w 555792"/>
                <a:gd name="connsiteY56" fmla="*/ 126954 h 129021"/>
                <a:gd name="connsiteX57" fmla="*/ 75236 w 555792"/>
                <a:gd name="connsiteY57" fmla="*/ 126954 h 129021"/>
                <a:gd name="connsiteX58" fmla="*/ 75236 w 555792"/>
                <a:gd name="connsiteY58" fmla="*/ 77207 h 129021"/>
                <a:gd name="connsiteX59" fmla="*/ 27179 w 555792"/>
                <a:gd name="connsiteY59" fmla="*/ 77207 h 129021"/>
                <a:gd name="connsiteX60" fmla="*/ 27179 w 555792"/>
                <a:gd name="connsiteY60" fmla="*/ 126954 h 129021"/>
                <a:gd name="connsiteX61" fmla="*/ 0 w 555792"/>
                <a:gd name="connsiteY61" fmla="*/ 126954 h 129021"/>
                <a:gd name="connsiteX62" fmla="*/ 210736 w 555792"/>
                <a:gd name="connsiteY62" fmla="*/ 6526 h 129021"/>
                <a:gd name="connsiteX63" fmla="*/ 236078 w 555792"/>
                <a:gd name="connsiteY63" fmla="*/ 6526 h 129021"/>
                <a:gd name="connsiteX64" fmla="*/ 236078 w 555792"/>
                <a:gd name="connsiteY64" fmla="*/ 126955 h 129021"/>
                <a:gd name="connsiteX65" fmla="*/ 210736 w 555792"/>
                <a:gd name="connsiteY65" fmla="*/ 126955 h 129021"/>
                <a:gd name="connsiteX66" fmla="*/ 166619 w 555792"/>
                <a:gd name="connsiteY66" fmla="*/ 6526 h 129021"/>
                <a:gd name="connsiteX67" fmla="*/ 192093 w 555792"/>
                <a:gd name="connsiteY67" fmla="*/ 6526 h 129021"/>
                <a:gd name="connsiteX68" fmla="*/ 192093 w 555792"/>
                <a:gd name="connsiteY68" fmla="*/ 126955 h 129021"/>
                <a:gd name="connsiteX69" fmla="*/ 166619 w 555792"/>
                <a:gd name="connsiteY69" fmla="*/ 126955 h 129021"/>
                <a:gd name="connsiteX70" fmla="*/ 134188 w 555792"/>
                <a:gd name="connsiteY70" fmla="*/ 66 h 129021"/>
                <a:gd name="connsiteX71" fmla="*/ 134452 w 555792"/>
                <a:gd name="connsiteY71" fmla="*/ 66 h 129021"/>
                <a:gd name="connsiteX72" fmla="*/ 151030 w 555792"/>
                <a:gd name="connsiteY72" fmla="*/ 13600 h 129021"/>
                <a:gd name="connsiteX73" fmla="*/ 137277 w 555792"/>
                <a:gd name="connsiteY73" fmla="*/ 29915 h 129021"/>
                <a:gd name="connsiteX74" fmla="*/ 134452 w 555792"/>
                <a:gd name="connsiteY74" fmla="*/ 29915 h 129021"/>
                <a:gd name="connsiteX75" fmla="*/ 119350 w 555792"/>
                <a:gd name="connsiteY75" fmla="*/ 15316 h 129021"/>
                <a:gd name="connsiteX76" fmla="*/ 119352 w 555792"/>
                <a:gd name="connsiteY76" fmla="*/ 14926 h 129021"/>
                <a:gd name="connsiteX77" fmla="*/ 134188 w 555792"/>
                <a:gd name="connsiteY77" fmla="*/ 66 h 129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555792" h="129021">
                  <a:moveTo>
                    <a:pt x="364489" y="61830"/>
                  </a:moveTo>
                  <a:cubicBezTo>
                    <a:pt x="353167" y="62674"/>
                    <a:pt x="344170" y="71529"/>
                    <a:pt x="343312" y="82670"/>
                  </a:cubicBezTo>
                  <a:cubicBezTo>
                    <a:pt x="342353" y="95123"/>
                    <a:pt x="351834" y="105983"/>
                    <a:pt x="364489" y="106926"/>
                  </a:cubicBezTo>
                  <a:cubicBezTo>
                    <a:pt x="365644" y="107012"/>
                    <a:pt x="366805" y="107012"/>
                    <a:pt x="367960" y="106926"/>
                  </a:cubicBezTo>
                  <a:cubicBezTo>
                    <a:pt x="380614" y="105983"/>
                    <a:pt x="390095" y="95123"/>
                    <a:pt x="389136" y="82670"/>
                  </a:cubicBezTo>
                  <a:cubicBezTo>
                    <a:pt x="388178" y="70217"/>
                    <a:pt x="377143" y="60887"/>
                    <a:pt x="364489" y="61830"/>
                  </a:cubicBezTo>
                  <a:close/>
                  <a:moveTo>
                    <a:pt x="255246" y="41285"/>
                  </a:moveTo>
                  <a:lnTo>
                    <a:pt x="280588" y="41285"/>
                  </a:lnTo>
                  <a:lnTo>
                    <a:pt x="280588" y="126955"/>
                  </a:lnTo>
                  <a:lnTo>
                    <a:pt x="255246" y="126955"/>
                  </a:lnTo>
                  <a:close/>
                  <a:moveTo>
                    <a:pt x="121846" y="40770"/>
                  </a:moveTo>
                  <a:lnTo>
                    <a:pt x="147188" y="40770"/>
                  </a:lnTo>
                  <a:lnTo>
                    <a:pt x="147188" y="126439"/>
                  </a:lnTo>
                  <a:lnTo>
                    <a:pt x="121846" y="126439"/>
                  </a:lnTo>
                  <a:close/>
                  <a:moveTo>
                    <a:pt x="301329" y="40638"/>
                  </a:moveTo>
                  <a:cubicBezTo>
                    <a:pt x="301505" y="40635"/>
                    <a:pt x="301682" y="40635"/>
                    <a:pt x="301859" y="40638"/>
                  </a:cubicBezTo>
                  <a:cubicBezTo>
                    <a:pt x="310198" y="40638"/>
                    <a:pt x="316958" y="47292"/>
                    <a:pt x="316958" y="55499"/>
                  </a:cubicBezTo>
                  <a:cubicBezTo>
                    <a:pt x="316958" y="63706"/>
                    <a:pt x="310198" y="70359"/>
                    <a:pt x="301859" y="70359"/>
                  </a:cubicBezTo>
                  <a:cubicBezTo>
                    <a:pt x="293664" y="70433"/>
                    <a:pt x="286961" y="63956"/>
                    <a:pt x="286885" y="55893"/>
                  </a:cubicBezTo>
                  <a:cubicBezTo>
                    <a:pt x="286883" y="55718"/>
                    <a:pt x="286885" y="55544"/>
                    <a:pt x="286890" y="55370"/>
                  </a:cubicBezTo>
                  <a:cubicBezTo>
                    <a:pt x="286743" y="47379"/>
                    <a:pt x="293207" y="40783"/>
                    <a:pt x="301329" y="40638"/>
                  </a:cubicBezTo>
                  <a:close/>
                  <a:moveTo>
                    <a:pt x="468871" y="39863"/>
                  </a:moveTo>
                  <a:cubicBezTo>
                    <a:pt x="480066" y="38933"/>
                    <a:pt x="490621" y="45114"/>
                    <a:pt x="495131" y="55240"/>
                  </a:cubicBezTo>
                  <a:cubicBezTo>
                    <a:pt x="501466" y="45339"/>
                    <a:pt x="512660" y="39487"/>
                    <a:pt x="524542" y="39863"/>
                  </a:cubicBezTo>
                  <a:cubicBezTo>
                    <a:pt x="540599" y="38721"/>
                    <a:pt x="554556" y="50605"/>
                    <a:pt x="555716" y="66406"/>
                  </a:cubicBezTo>
                  <a:cubicBezTo>
                    <a:pt x="555772" y="67162"/>
                    <a:pt x="555797" y="67920"/>
                    <a:pt x="555792" y="68678"/>
                  </a:cubicBezTo>
                  <a:lnTo>
                    <a:pt x="555792" y="126954"/>
                  </a:lnTo>
                  <a:lnTo>
                    <a:pt x="530582" y="126954"/>
                  </a:lnTo>
                  <a:lnTo>
                    <a:pt x="530582" y="75914"/>
                  </a:lnTo>
                  <a:cubicBezTo>
                    <a:pt x="531848" y="68888"/>
                    <a:pt x="527086" y="62181"/>
                    <a:pt x="519946" y="60936"/>
                  </a:cubicBezTo>
                  <a:cubicBezTo>
                    <a:pt x="518776" y="60732"/>
                    <a:pt x="517584" y="60685"/>
                    <a:pt x="516402" y="60796"/>
                  </a:cubicBezTo>
                  <a:cubicBezTo>
                    <a:pt x="505898" y="60796"/>
                    <a:pt x="499858" y="69324"/>
                    <a:pt x="499858" y="83150"/>
                  </a:cubicBezTo>
                  <a:lnTo>
                    <a:pt x="499858" y="126954"/>
                  </a:lnTo>
                  <a:lnTo>
                    <a:pt x="474780" y="126954"/>
                  </a:lnTo>
                  <a:lnTo>
                    <a:pt x="474780" y="75914"/>
                  </a:lnTo>
                  <a:cubicBezTo>
                    <a:pt x="476033" y="68885"/>
                    <a:pt x="471259" y="62187"/>
                    <a:pt x="464116" y="60954"/>
                  </a:cubicBezTo>
                  <a:cubicBezTo>
                    <a:pt x="463043" y="60769"/>
                    <a:pt x="461949" y="60716"/>
                    <a:pt x="460862" y="60796"/>
                  </a:cubicBezTo>
                  <a:cubicBezTo>
                    <a:pt x="450489" y="60796"/>
                    <a:pt x="444318" y="69454"/>
                    <a:pt x="444318" y="83150"/>
                  </a:cubicBezTo>
                  <a:lnTo>
                    <a:pt x="444318" y="126954"/>
                  </a:lnTo>
                  <a:lnTo>
                    <a:pt x="418977" y="126954"/>
                  </a:lnTo>
                  <a:lnTo>
                    <a:pt x="418977" y="41285"/>
                  </a:lnTo>
                  <a:lnTo>
                    <a:pt x="444318" y="41285"/>
                  </a:lnTo>
                  <a:lnTo>
                    <a:pt x="444318" y="52785"/>
                  </a:lnTo>
                  <a:cubicBezTo>
                    <a:pt x="449587" y="44489"/>
                    <a:pt x="458935" y="39570"/>
                    <a:pt x="468871" y="39863"/>
                  </a:cubicBezTo>
                  <a:close/>
                  <a:moveTo>
                    <a:pt x="364489" y="39863"/>
                  </a:moveTo>
                  <a:cubicBezTo>
                    <a:pt x="389455" y="39935"/>
                    <a:pt x="409656" y="59873"/>
                    <a:pt x="409656" y="84443"/>
                  </a:cubicBezTo>
                  <a:cubicBezTo>
                    <a:pt x="409656" y="84486"/>
                    <a:pt x="409656" y="84529"/>
                    <a:pt x="409656" y="84572"/>
                  </a:cubicBezTo>
                  <a:cubicBezTo>
                    <a:pt x="409583" y="109192"/>
                    <a:pt x="389244" y="129093"/>
                    <a:pt x="364227" y="129021"/>
                  </a:cubicBezTo>
                  <a:cubicBezTo>
                    <a:pt x="339208" y="128950"/>
                    <a:pt x="318986" y="108934"/>
                    <a:pt x="319059" y="84313"/>
                  </a:cubicBezTo>
                  <a:cubicBezTo>
                    <a:pt x="319131" y="59693"/>
                    <a:pt x="339471" y="39792"/>
                    <a:pt x="364489" y="39863"/>
                  </a:cubicBezTo>
                  <a:close/>
                  <a:moveTo>
                    <a:pt x="0" y="7947"/>
                  </a:moveTo>
                  <a:lnTo>
                    <a:pt x="27179" y="7947"/>
                  </a:lnTo>
                  <a:lnTo>
                    <a:pt x="27179" y="54206"/>
                  </a:lnTo>
                  <a:lnTo>
                    <a:pt x="75236" y="54206"/>
                  </a:lnTo>
                  <a:lnTo>
                    <a:pt x="75236" y="7947"/>
                  </a:lnTo>
                  <a:lnTo>
                    <a:pt x="102678" y="7947"/>
                  </a:lnTo>
                  <a:lnTo>
                    <a:pt x="102678" y="126954"/>
                  </a:lnTo>
                  <a:lnTo>
                    <a:pt x="75236" y="126954"/>
                  </a:lnTo>
                  <a:lnTo>
                    <a:pt x="75236" y="77207"/>
                  </a:lnTo>
                  <a:lnTo>
                    <a:pt x="27179" y="77207"/>
                  </a:lnTo>
                  <a:lnTo>
                    <a:pt x="27179" y="126954"/>
                  </a:lnTo>
                  <a:lnTo>
                    <a:pt x="0" y="126954"/>
                  </a:lnTo>
                  <a:close/>
                  <a:moveTo>
                    <a:pt x="210736" y="6526"/>
                  </a:moveTo>
                  <a:lnTo>
                    <a:pt x="236078" y="6526"/>
                  </a:lnTo>
                  <a:lnTo>
                    <a:pt x="236078" y="126955"/>
                  </a:lnTo>
                  <a:lnTo>
                    <a:pt x="210736" y="126955"/>
                  </a:lnTo>
                  <a:close/>
                  <a:moveTo>
                    <a:pt x="166619" y="6526"/>
                  </a:moveTo>
                  <a:lnTo>
                    <a:pt x="192093" y="6526"/>
                  </a:lnTo>
                  <a:lnTo>
                    <a:pt x="192093" y="126955"/>
                  </a:lnTo>
                  <a:lnTo>
                    <a:pt x="166619" y="126955"/>
                  </a:lnTo>
                  <a:close/>
                  <a:moveTo>
                    <a:pt x="134188" y="66"/>
                  </a:moveTo>
                  <a:cubicBezTo>
                    <a:pt x="134276" y="65"/>
                    <a:pt x="134364" y="65"/>
                    <a:pt x="134452" y="66"/>
                  </a:cubicBezTo>
                  <a:cubicBezTo>
                    <a:pt x="142828" y="-702"/>
                    <a:pt x="150250" y="5357"/>
                    <a:pt x="151030" y="13600"/>
                  </a:cubicBezTo>
                  <a:cubicBezTo>
                    <a:pt x="151810" y="21842"/>
                    <a:pt x="145653" y="29148"/>
                    <a:pt x="137277" y="29915"/>
                  </a:cubicBezTo>
                  <a:cubicBezTo>
                    <a:pt x="136338" y="30002"/>
                    <a:pt x="135392" y="30002"/>
                    <a:pt x="134452" y="29915"/>
                  </a:cubicBezTo>
                  <a:cubicBezTo>
                    <a:pt x="126185" y="29988"/>
                    <a:pt x="119424" y="23451"/>
                    <a:pt x="119350" y="15316"/>
                  </a:cubicBezTo>
                  <a:cubicBezTo>
                    <a:pt x="119349" y="15186"/>
                    <a:pt x="119349" y="15056"/>
                    <a:pt x="119352" y="14926"/>
                  </a:cubicBezTo>
                  <a:cubicBezTo>
                    <a:pt x="119279" y="6790"/>
                    <a:pt x="125921" y="137"/>
                    <a:pt x="134188" y="66"/>
                  </a:cubicBezTo>
                  <a:close/>
                </a:path>
              </a:pathLst>
            </a:custGeom>
            <a:solidFill>
              <a:srgbClr val="000839"/>
            </a:solidFill>
            <a:ln w="9525" cap="flat">
              <a:noFill/>
              <a:prstDash val="solid"/>
              <a:miter/>
            </a:ln>
          </p:spPr>
          <p:txBody>
            <a:bodyPr wrap="square" rtlCol="0" anchor="ctr">
              <a:noAutofit/>
            </a:bodyPr>
            <a:lstStyle/>
            <a:p>
              <a:endParaRPr lang="en-US"/>
            </a:p>
          </p:txBody>
        </p:sp>
      </p:grpSp>
    </p:spTree>
    <p:extLst>
      <p:ext uri="{BB962C8B-B14F-4D97-AF65-F5344CB8AC3E}">
        <p14:creationId xmlns:p14="http://schemas.microsoft.com/office/powerpoint/2010/main" val="25958099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F9F4B91-9F4F-FE46-AF95-3151DC7AECA2}"/>
              </a:ext>
            </a:extLst>
          </p:cNvPr>
          <p:cNvSpPr/>
          <p:nvPr/>
        </p:nvSpPr>
        <p:spPr>
          <a:xfrm>
            <a:off x="5987845" y="398206"/>
            <a:ext cx="5810864" cy="268420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7213087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Lst>
  <p:txStyles>
    <p:titleStyle>
      <a:lvl1pPr algn="l" defTabSz="914400" rtl="0" eaLnBrk="1" latinLnBrk="0" hangingPunct="1">
        <a:lnSpc>
          <a:spcPts val="3200"/>
        </a:lnSpc>
        <a:spcBef>
          <a:spcPct val="0"/>
        </a:spcBef>
        <a:buNone/>
        <a:defRPr sz="3200" b="1" i="0" kern="1200" cap="all" spc="50" baseline="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Layout" Target="../slideLayouts/slideLayout3.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68.png"/><Relationship Id="rId7" Type="http://schemas.openxmlformats.org/officeDocument/2006/relationships/image" Target="../media/image69.png"/><Relationship Id="rId2" Type="http://schemas.openxmlformats.org/officeDocument/2006/relationships/notesSlide" Target="../notesSlides/notesSlide4.xml"/><Relationship Id="rId1" Type="http://schemas.openxmlformats.org/officeDocument/2006/relationships/slideLayout" Target="../slideLayouts/slideLayout24.xml"/><Relationship Id="rId6" Type="http://schemas.microsoft.com/office/2007/relationships/hdphoto" Target="../media/hdphoto4.wdp"/><Relationship Id="rId11" Type="http://schemas.openxmlformats.org/officeDocument/2006/relationships/image" Target="../media/image73.png"/><Relationship Id="rId5" Type="http://schemas.openxmlformats.org/officeDocument/2006/relationships/image" Target="../media/image64.png"/><Relationship Id="rId10" Type="http://schemas.openxmlformats.org/officeDocument/2006/relationships/image" Target="../media/image72.JPG"/><Relationship Id="rId4" Type="http://schemas.microsoft.com/office/2007/relationships/hdphoto" Target="../media/hdphoto6.wdp"/><Relationship Id="rId9" Type="http://schemas.openxmlformats.org/officeDocument/2006/relationships/image" Target="../media/image71.JPG"/></Relationships>
</file>

<file path=ppt/slides/_rels/slide11.xml.rels><?xml version="1.0" encoding="UTF-8" standalone="yes"?>
<Relationships xmlns="http://schemas.openxmlformats.org/package/2006/relationships"><Relationship Id="rId3" Type="http://schemas.openxmlformats.org/officeDocument/2006/relationships/image" Target="../media/image74.emf"/><Relationship Id="rId2" Type="http://schemas.openxmlformats.org/officeDocument/2006/relationships/slideLayout" Target="../slideLayouts/slideLayout23.xml"/><Relationship Id="rId1" Type="http://schemas.openxmlformats.org/officeDocument/2006/relationships/tags" Target="../tags/tag2.xml"/></Relationships>
</file>

<file path=ppt/slides/_rels/slide12.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emf"/><Relationship Id="rId1" Type="http://schemas.openxmlformats.org/officeDocument/2006/relationships/slideLayout" Target="../slideLayouts/slideLayout7.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8" Type="http://schemas.openxmlformats.org/officeDocument/2006/relationships/image" Target="../media/image87.png"/><Relationship Id="rId13" Type="http://schemas.openxmlformats.org/officeDocument/2006/relationships/image" Target="../media/image92.png"/><Relationship Id="rId18" Type="http://schemas.openxmlformats.org/officeDocument/2006/relationships/image" Target="../media/image97.jpeg"/><Relationship Id="rId3" Type="http://schemas.openxmlformats.org/officeDocument/2006/relationships/image" Target="../media/image82.png"/><Relationship Id="rId7" Type="http://schemas.openxmlformats.org/officeDocument/2006/relationships/image" Target="../media/image86.jpeg"/><Relationship Id="rId12" Type="http://schemas.openxmlformats.org/officeDocument/2006/relationships/image" Target="../media/image91.jpeg"/><Relationship Id="rId17" Type="http://schemas.openxmlformats.org/officeDocument/2006/relationships/image" Target="../media/image96.jpeg"/><Relationship Id="rId2" Type="http://schemas.openxmlformats.org/officeDocument/2006/relationships/notesSlide" Target="../notesSlides/notesSlide6.xml"/><Relationship Id="rId16" Type="http://schemas.openxmlformats.org/officeDocument/2006/relationships/image" Target="../media/image95.jpeg"/><Relationship Id="rId1" Type="http://schemas.openxmlformats.org/officeDocument/2006/relationships/slideLayout" Target="../slideLayouts/slideLayout7.xml"/><Relationship Id="rId6" Type="http://schemas.openxmlformats.org/officeDocument/2006/relationships/image" Target="../media/image85.jpeg"/><Relationship Id="rId11" Type="http://schemas.openxmlformats.org/officeDocument/2006/relationships/image" Target="../media/image90.jpeg"/><Relationship Id="rId5" Type="http://schemas.openxmlformats.org/officeDocument/2006/relationships/image" Target="../media/image84.jpeg"/><Relationship Id="rId15" Type="http://schemas.openxmlformats.org/officeDocument/2006/relationships/image" Target="../media/image94.png"/><Relationship Id="rId10" Type="http://schemas.openxmlformats.org/officeDocument/2006/relationships/image" Target="../media/image89.png"/><Relationship Id="rId19" Type="http://schemas.openxmlformats.org/officeDocument/2006/relationships/image" Target="../media/image98.png"/><Relationship Id="rId4" Type="http://schemas.openxmlformats.org/officeDocument/2006/relationships/image" Target="../media/image83.jpeg"/><Relationship Id="rId9" Type="http://schemas.openxmlformats.org/officeDocument/2006/relationships/image" Target="../media/image88.png"/><Relationship Id="rId14" Type="http://schemas.openxmlformats.org/officeDocument/2006/relationships/image" Target="../media/image93.png"/></Relationships>
</file>

<file path=ppt/slides/_rels/slide18.xml.rels><?xml version="1.0" encoding="UTF-8" standalone="yes"?>
<Relationships xmlns="http://schemas.openxmlformats.org/package/2006/relationships"><Relationship Id="rId2" Type="http://schemas.openxmlformats.org/officeDocument/2006/relationships/image" Target="../media/image99.emf"/><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Layout" Target="../slideLayouts/slideLayout6.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4.xml"/><Relationship Id="rId7" Type="http://schemas.openxmlformats.org/officeDocument/2006/relationships/image" Target="../media/image100.emf"/><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7.xml"/><Relationship Id="rId4" Type="http://schemas.openxmlformats.org/officeDocument/2006/relationships/slideLayout" Target="../slideLayouts/slideLayout23.xml"/></Relationships>
</file>

<file path=ppt/slides/_rels/slide22.xml.rels><?xml version="1.0" encoding="UTF-8" standalone="yes"?>
<Relationships xmlns="http://schemas.openxmlformats.org/package/2006/relationships"><Relationship Id="rId3" Type="http://schemas.openxmlformats.org/officeDocument/2006/relationships/image" Target="../media/image74.emf"/><Relationship Id="rId2" Type="http://schemas.openxmlformats.org/officeDocument/2006/relationships/notesSlide" Target="../notesSlides/notesSlide8.xml"/><Relationship Id="rId1" Type="http://schemas.openxmlformats.org/officeDocument/2006/relationships/slideLayout" Target="../slideLayouts/slideLayout23.xml"/><Relationship Id="rId6" Type="http://schemas.openxmlformats.org/officeDocument/2006/relationships/image" Target="../media/image103.png"/><Relationship Id="rId5" Type="http://schemas.openxmlformats.org/officeDocument/2006/relationships/image" Target="../media/image102.png"/><Relationship Id="rId4" Type="http://schemas.openxmlformats.org/officeDocument/2006/relationships/image" Target="../media/image101.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8" Type="http://schemas.openxmlformats.org/officeDocument/2006/relationships/image" Target="../media/image17.jpeg"/><Relationship Id="rId13" Type="http://schemas.openxmlformats.org/officeDocument/2006/relationships/image" Target="../media/image22.png"/><Relationship Id="rId18" Type="http://schemas.openxmlformats.org/officeDocument/2006/relationships/image" Target="../media/image26.png"/><Relationship Id="rId3" Type="http://schemas.openxmlformats.org/officeDocument/2006/relationships/image" Target="../media/image13.png"/><Relationship Id="rId21" Type="http://schemas.openxmlformats.org/officeDocument/2006/relationships/image" Target="../media/image29.jpeg"/><Relationship Id="rId7" Type="http://schemas.microsoft.com/office/2007/relationships/hdphoto" Target="../media/hdphoto1.wdp"/><Relationship Id="rId12" Type="http://schemas.openxmlformats.org/officeDocument/2006/relationships/image" Target="../media/image21.png"/><Relationship Id="rId17" Type="http://schemas.microsoft.com/office/2007/relationships/hdphoto" Target="../media/hdphoto2.wdp"/><Relationship Id="rId2" Type="http://schemas.openxmlformats.org/officeDocument/2006/relationships/notesSlide" Target="../notesSlides/notesSlide1.xml"/><Relationship Id="rId16" Type="http://schemas.openxmlformats.org/officeDocument/2006/relationships/image" Target="../media/image25.png"/><Relationship Id="rId20" Type="http://schemas.openxmlformats.org/officeDocument/2006/relationships/image" Target="../media/image28.jpg"/><Relationship Id="rId1" Type="http://schemas.openxmlformats.org/officeDocument/2006/relationships/slideLayout" Target="../slideLayouts/slideLayout23.xml"/><Relationship Id="rId6" Type="http://schemas.openxmlformats.org/officeDocument/2006/relationships/image" Target="../media/image16.png"/><Relationship Id="rId11" Type="http://schemas.openxmlformats.org/officeDocument/2006/relationships/image" Target="../media/image20.png"/><Relationship Id="rId24" Type="http://schemas.openxmlformats.org/officeDocument/2006/relationships/image" Target="../media/image31.png"/><Relationship Id="rId5" Type="http://schemas.openxmlformats.org/officeDocument/2006/relationships/image" Target="../media/image15.png"/><Relationship Id="rId15" Type="http://schemas.openxmlformats.org/officeDocument/2006/relationships/image" Target="../media/image24.jpeg"/><Relationship Id="rId23" Type="http://schemas.microsoft.com/office/2007/relationships/hdphoto" Target="../media/hdphoto3.wdp"/><Relationship Id="rId10" Type="http://schemas.openxmlformats.org/officeDocument/2006/relationships/image" Target="../media/image19.jpeg"/><Relationship Id="rId19" Type="http://schemas.openxmlformats.org/officeDocument/2006/relationships/image" Target="../media/image27.png"/><Relationship Id="rId4" Type="http://schemas.openxmlformats.org/officeDocument/2006/relationships/image" Target="../media/image14.png"/><Relationship Id="rId9" Type="http://schemas.openxmlformats.org/officeDocument/2006/relationships/image" Target="../media/image18.jpeg"/><Relationship Id="rId14" Type="http://schemas.openxmlformats.org/officeDocument/2006/relationships/image" Target="../media/image23.png"/><Relationship Id="rId22" Type="http://schemas.openxmlformats.org/officeDocument/2006/relationships/image" Target="../media/image30.png"/></Relationships>
</file>

<file path=ppt/slides/_rels/slide30.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image" Target="../media/image32.png"/><Relationship Id="rId1" Type="http://schemas.openxmlformats.org/officeDocument/2006/relationships/slideLayout" Target="../slideLayouts/slideLayout23.xml"/><Relationship Id="rId6" Type="http://schemas.openxmlformats.org/officeDocument/2006/relationships/image" Target="../media/image36.png"/><Relationship Id="rId5" Type="http://schemas.openxmlformats.org/officeDocument/2006/relationships/image" Target="../media/image35.png"/><Relationship Id="rId10" Type="http://schemas.openxmlformats.org/officeDocument/2006/relationships/image" Target="../media/image40.png"/><Relationship Id="rId4" Type="http://schemas.openxmlformats.org/officeDocument/2006/relationships/image" Target="../media/image34.png"/><Relationship Id="rId9" Type="http://schemas.openxmlformats.org/officeDocument/2006/relationships/image" Target="../media/image39.png"/></Relationships>
</file>

<file path=ppt/slides/_rels/slide5.xml.rels><?xml version="1.0" encoding="UTF-8" standalone="yes"?>
<Relationships xmlns="http://schemas.openxmlformats.org/package/2006/relationships"><Relationship Id="rId8" Type="http://schemas.openxmlformats.org/officeDocument/2006/relationships/image" Target="../media/image47.jpg"/><Relationship Id="rId13" Type="http://schemas.openxmlformats.org/officeDocument/2006/relationships/image" Target="../media/image52.png"/><Relationship Id="rId3" Type="http://schemas.openxmlformats.org/officeDocument/2006/relationships/image" Target="../media/image42.png"/><Relationship Id="rId7" Type="http://schemas.openxmlformats.org/officeDocument/2006/relationships/image" Target="../media/image46.png"/><Relationship Id="rId12" Type="http://schemas.openxmlformats.org/officeDocument/2006/relationships/image" Target="../media/image51.png"/><Relationship Id="rId17" Type="http://schemas.openxmlformats.org/officeDocument/2006/relationships/image" Target="../media/image56.png"/><Relationship Id="rId2" Type="http://schemas.openxmlformats.org/officeDocument/2006/relationships/image" Target="../media/image41.png"/><Relationship Id="rId16" Type="http://schemas.openxmlformats.org/officeDocument/2006/relationships/image" Target="../media/image55.png"/><Relationship Id="rId1" Type="http://schemas.openxmlformats.org/officeDocument/2006/relationships/slideLayout" Target="../slideLayouts/slideLayout7.xml"/><Relationship Id="rId6" Type="http://schemas.openxmlformats.org/officeDocument/2006/relationships/image" Target="../media/image45.png"/><Relationship Id="rId11" Type="http://schemas.openxmlformats.org/officeDocument/2006/relationships/image" Target="../media/image50.png"/><Relationship Id="rId5" Type="http://schemas.openxmlformats.org/officeDocument/2006/relationships/image" Target="../media/image44.png"/><Relationship Id="rId15" Type="http://schemas.openxmlformats.org/officeDocument/2006/relationships/image" Target="../media/image54.png"/><Relationship Id="rId10" Type="http://schemas.openxmlformats.org/officeDocument/2006/relationships/image" Target="../media/image49.png"/><Relationship Id="rId4" Type="http://schemas.openxmlformats.org/officeDocument/2006/relationships/image" Target="../media/image43.png"/><Relationship Id="rId9" Type="http://schemas.openxmlformats.org/officeDocument/2006/relationships/image" Target="../media/image48.png"/><Relationship Id="rId14" Type="http://schemas.openxmlformats.org/officeDocument/2006/relationships/image" Target="../media/image53.png"/></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23.xml"/><Relationship Id="rId1" Type="http://schemas.openxmlformats.org/officeDocument/2006/relationships/tags" Target="../tags/tag1.xml"/></Relationships>
</file>

<file path=ppt/slides/_rels/slide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23.xml"/><Relationship Id="rId4" Type="http://schemas.openxmlformats.org/officeDocument/2006/relationships/image" Target="../media/image59.png"/></Relationships>
</file>

<file path=ppt/slides/_rels/slide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image" Target="../media/image61.png"/><Relationship Id="rId7" Type="http://schemas.microsoft.com/office/2007/relationships/hdphoto" Target="../media/hdphoto4.wdp"/><Relationship Id="rId2" Type="http://schemas.openxmlformats.org/officeDocument/2006/relationships/notesSlide" Target="../notesSlides/notesSlide3.xml"/><Relationship Id="rId1" Type="http://schemas.openxmlformats.org/officeDocument/2006/relationships/slideLayout" Target="../slideLayouts/slideLayout25.xml"/><Relationship Id="rId6" Type="http://schemas.openxmlformats.org/officeDocument/2006/relationships/image" Target="../media/image64.png"/><Relationship Id="rId11" Type="http://schemas.openxmlformats.org/officeDocument/2006/relationships/image" Target="../media/image67.png"/><Relationship Id="rId5" Type="http://schemas.openxmlformats.org/officeDocument/2006/relationships/image" Target="../media/image63.png"/><Relationship Id="rId10" Type="http://schemas.openxmlformats.org/officeDocument/2006/relationships/image" Target="../media/image66.png"/><Relationship Id="rId4" Type="http://schemas.openxmlformats.org/officeDocument/2006/relationships/image" Target="../media/image62.png"/><Relationship Id="rId9" Type="http://schemas.microsoft.com/office/2007/relationships/hdphoto" Target="../media/hdphoto5.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580C260-E80B-4B43-99A3-70614ECA7E43}"/>
              </a:ext>
            </a:extLst>
          </p:cNvPr>
          <p:cNvSpPr>
            <a:spLocks noGrp="1"/>
          </p:cNvSpPr>
          <p:nvPr>
            <p:ph type="subTitle" idx="1"/>
          </p:nvPr>
        </p:nvSpPr>
        <p:spPr>
          <a:xfrm>
            <a:off x="6895714" y="4484914"/>
            <a:ext cx="3868615" cy="502418"/>
          </a:xfrm>
        </p:spPr>
        <p:txBody>
          <a:bodyPr anchor="t"/>
          <a:lstStyle/>
          <a:p>
            <a:r>
              <a:rPr lang="en-US" sz="2800" dirty="0">
                <a:latin typeface="Century Gothic"/>
              </a:rPr>
              <a:t>August 2020</a:t>
            </a:r>
          </a:p>
          <a:p>
            <a:endParaRPr lang="en-US" sz="2800" dirty="0">
              <a:latin typeface="Century Gothic"/>
            </a:endParaRPr>
          </a:p>
          <a:p>
            <a:endParaRPr lang="en-US" dirty="0"/>
          </a:p>
        </p:txBody>
      </p:sp>
      <p:sp>
        <p:nvSpPr>
          <p:cNvPr id="2" name="Title 1">
            <a:extLst>
              <a:ext uri="{FF2B5EF4-FFF2-40B4-BE49-F238E27FC236}">
                <a16:creationId xmlns:a16="http://schemas.microsoft.com/office/drawing/2014/main" id="{5FB4C972-031D-4E59-8D19-BB839F3F974E}"/>
              </a:ext>
            </a:extLst>
          </p:cNvPr>
          <p:cNvSpPr>
            <a:spLocks noGrp="1"/>
          </p:cNvSpPr>
          <p:nvPr>
            <p:ph type="title"/>
          </p:nvPr>
        </p:nvSpPr>
        <p:spPr>
          <a:xfrm>
            <a:off x="6850744" y="1939720"/>
            <a:ext cx="4354286" cy="1489280"/>
          </a:xfrm>
        </p:spPr>
        <p:txBody>
          <a:bodyPr/>
          <a:lstStyle/>
          <a:p>
            <a:r>
              <a:rPr lang="en-US" sz="4000" cap="none" dirty="0"/>
              <a:t>Executive Overview Enhance Launch EMEA</a:t>
            </a:r>
          </a:p>
        </p:txBody>
      </p:sp>
      <p:sp>
        <p:nvSpPr>
          <p:cNvPr id="4" name="Slide Number Placeholder 3">
            <a:extLst>
              <a:ext uri="{FF2B5EF4-FFF2-40B4-BE49-F238E27FC236}">
                <a16:creationId xmlns:a16="http://schemas.microsoft.com/office/drawing/2014/main" id="{6D75BBE2-E239-4106-84D6-F0C8F9942136}"/>
              </a:ext>
            </a:extLst>
          </p:cNvPr>
          <p:cNvSpPr>
            <a:spLocks noGrp="1"/>
          </p:cNvSpPr>
          <p:nvPr>
            <p:ph type="sldNum" sz="quarter" idx="4294967295"/>
          </p:nvPr>
        </p:nvSpPr>
        <p:spPr>
          <a:xfrm>
            <a:off x="11820525" y="6326188"/>
            <a:ext cx="371475"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82D468C-8F71-314C-A979-931A6F21B3BB}" type="slidenum">
              <a:rPr kumimoji="0" lang="en-US" sz="1800" b="0" i="0" u="none" strike="noStrike" kern="1200" cap="none" spc="0" normalizeH="0" baseline="0" noProof="0" smtClean="0">
                <a:ln>
                  <a:noFill/>
                </a:ln>
                <a:solidFill>
                  <a:prstClr val="black"/>
                </a:solidFill>
                <a:effectLst/>
                <a:uLnTx/>
                <a:uFillTx/>
                <a:latin typeface="Century Gothic" panose="020F03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1200" cap="none" spc="0" normalizeH="0" baseline="0" noProof="0">
              <a:ln>
                <a:noFill/>
              </a:ln>
              <a:solidFill>
                <a:prstClr val="black"/>
              </a:solidFill>
              <a:effectLst/>
              <a:uLnTx/>
              <a:uFillTx/>
              <a:latin typeface="Century Gothic" panose="020F0302020204030204"/>
              <a:ea typeface="+mn-ea"/>
              <a:cs typeface="+mn-cs"/>
            </a:endParaRPr>
          </a:p>
        </p:txBody>
      </p:sp>
      <p:pic>
        <p:nvPicPr>
          <p:cNvPr id="5" name="Picture 4">
            <a:extLst>
              <a:ext uri="{FF2B5EF4-FFF2-40B4-BE49-F238E27FC236}">
                <a16:creationId xmlns:a16="http://schemas.microsoft.com/office/drawing/2014/main" id="{968E9CF4-E781-49BD-8A70-100D1A6C0D8E}"/>
              </a:ext>
            </a:extLst>
          </p:cNvPr>
          <p:cNvPicPr>
            <a:picLocks noChangeAspect="1"/>
          </p:cNvPicPr>
          <p:nvPr/>
        </p:nvPicPr>
        <p:blipFill>
          <a:blip r:embed="rId2"/>
          <a:stretch>
            <a:fillRect/>
          </a:stretch>
        </p:blipFill>
        <p:spPr>
          <a:xfrm>
            <a:off x="9826887" y="496366"/>
            <a:ext cx="1710992" cy="812053"/>
          </a:xfrm>
          <a:prstGeom prst="rect">
            <a:avLst/>
          </a:prstGeom>
          <a:ln>
            <a:noFill/>
          </a:ln>
          <a:effectLst/>
        </p:spPr>
      </p:pic>
      <p:pic>
        <p:nvPicPr>
          <p:cNvPr id="3" name="Grafik 2">
            <a:extLst>
              <a:ext uri="{FF2B5EF4-FFF2-40B4-BE49-F238E27FC236}">
                <a16:creationId xmlns:a16="http://schemas.microsoft.com/office/drawing/2014/main" id="{FCC8F0F3-2591-43A0-AB5A-3B54BB739942}"/>
              </a:ext>
            </a:extLst>
          </p:cNvPr>
          <p:cNvPicPr>
            <a:picLocks noChangeAspect="1"/>
          </p:cNvPicPr>
          <p:nvPr/>
        </p:nvPicPr>
        <p:blipFill>
          <a:blip r:embed="rId3"/>
          <a:stretch>
            <a:fillRect/>
          </a:stretch>
        </p:blipFill>
        <p:spPr>
          <a:xfrm>
            <a:off x="737409" y="1163464"/>
            <a:ext cx="2950720" cy="1847248"/>
          </a:xfrm>
          <a:prstGeom prst="rect">
            <a:avLst/>
          </a:prstGeom>
        </p:spPr>
      </p:pic>
      <p:pic>
        <p:nvPicPr>
          <p:cNvPr id="7" name="Grafik 6">
            <a:extLst>
              <a:ext uri="{FF2B5EF4-FFF2-40B4-BE49-F238E27FC236}">
                <a16:creationId xmlns:a16="http://schemas.microsoft.com/office/drawing/2014/main" id="{3703BA35-270A-4556-8D2D-301E1E85F470}"/>
              </a:ext>
            </a:extLst>
          </p:cNvPr>
          <p:cNvPicPr>
            <a:picLocks noChangeAspect="1"/>
          </p:cNvPicPr>
          <p:nvPr/>
        </p:nvPicPr>
        <p:blipFill>
          <a:blip r:embed="rId4"/>
          <a:stretch>
            <a:fillRect/>
          </a:stretch>
        </p:blipFill>
        <p:spPr>
          <a:xfrm>
            <a:off x="2327278" y="3429000"/>
            <a:ext cx="2969009" cy="1920406"/>
          </a:xfrm>
          <a:prstGeom prst="rect">
            <a:avLst/>
          </a:prstGeom>
        </p:spPr>
      </p:pic>
    </p:spTree>
    <p:extLst>
      <p:ext uri="{BB962C8B-B14F-4D97-AF65-F5344CB8AC3E}">
        <p14:creationId xmlns:p14="http://schemas.microsoft.com/office/powerpoint/2010/main" val="7190613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782674-71DC-45E1-AA74-3612517F0908}"/>
              </a:ext>
            </a:extLst>
          </p:cNvPr>
          <p:cNvSpPr>
            <a:spLocks noGrp="1"/>
          </p:cNvSpPr>
          <p:nvPr>
            <p:ph type="title"/>
          </p:nvPr>
        </p:nvSpPr>
        <p:spPr/>
        <p:txBody>
          <a:bodyPr/>
          <a:lstStyle/>
          <a:p>
            <a:pPr algn="ctr"/>
            <a:r>
              <a:rPr lang="en-US" dirty="0"/>
              <a:t>Traditional Scopes with Incredible Views &amp; Quick Digitization</a:t>
            </a:r>
            <a:br>
              <a:rPr lang="en-US" dirty="0"/>
            </a:br>
            <a:endParaRPr lang="en-US" dirty="0"/>
          </a:p>
        </p:txBody>
      </p:sp>
      <p:sp>
        <p:nvSpPr>
          <p:cNvPr id="4" name="Text Placeholder 3">
            <a:extLst>
              <a:ext uri="{FF2B5EF4-FFF2-40B4-BE49-F238E27FC236}">
                <a16:creationId xmlns:a16="http://schemas.microsoft.com/office/drawing/2014/main" id="{E1746185-893A-4373-AD2A-45BA9C9CD9D7}"/>
              </a:ext>
            </a:extLst>
          </p:cNvPr>
          <p:cNvSpPr>
            <a:spLocks noGrp="1"/>
          </p:cNvSpPr>
          <p:nvPr>
            <p:ph type="body" sz="quarter" idx="13"/>
          </p:nvPr>
        </p:nvSpPr>
        <p:spPr>
          <a:xfrm>
            <a:off x="2189514" y="73598"/>
            <a:ext cx="2430602" cy="237757"/>
          </a:xfrm>
        </p:spPr>
        <p:txBody>
          <a:bodyPr/>
          <a:lstStyle/>
          <a:p>
            <a:r>
              <a:rPr lang="en-US" dirty="0"/>
              <a:t>Physical exam &amp; diagnostics</a:t>
            </a:r>
          </a:p>
        </p:txBody>
      </p:sp>
      <p:sp>
        <p:nvSpPr>
          <p:cNvPr id="8" name="TextBox 7">
            <a:extLst>
              <a:ext uri="{FF2B5EF4-FFF2-40B4-BE49-F238E27FC236}">
                <a16:creationId xmlns:a16="http://schemas.microsoft.com/office/drawing/2014/main" id="{03A8FB2B-B16E-473B-B3A3-2237F5A58ABE}"/>
              </a:ext>
            </a:extLst>
          </p:cNvPr>
          <p:cNvSpPr txBox="1"/>
          <p:nvPr/>
        </p:nvSpPr>
        <p:spPr>
          <a:xfrm>
            <a:off x="5304372" y="3736517"/>
            <a:ext cx="3732076" cy="1921080"/>
          </a:xfrm>
          <a:prstGeom prst="rect">
            <a:avLst/>
          </a:prstGeom>
          <a:solidFill>
            <a:schemeClr val="bg2"/>
          </a:solidFill>
        </p:spPr>
        <p:txBody>
          <a:bodyPr wrap="square" rtlCol="0">
            <a:no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entury Gothic" panose="020F0302020204030204"/>
                <a:ea typeface="+mn-ea"/>
                <a:cs typeface="+mn-cs"/>
              </a:rPr>
              <a:t>The </a:t>
            </a:r>
            <a:r>
              <a:rPr kumimoji="0" lang="en-US" sz="1200" b="1" i="0" u="none" strike="noStrike" kern="1200" cap="none" spc="0" normalizeH="0" baseline="0" noProof="0">
                <a:ln>
                  <a:noFill/>
                </a:ln>
                <a:solidFill>
                  <a:srgbClr val="000000"/>
                </a:solidFill>
                <a:effectLst/>
                <a:uLnTx/>
                <a:uFillTx/>
                <a:latin typeface="Century Gothic" panose="020F0302020204030204"/>
                <a:ea typeface="+mn-ea"/>
                <a:cs typeface="+mn-cs"/>
              </a:rPr>
              <a:t>NEW MacroView Plus </a:t>
            </a:r>
            <a:r>
              <a:rPr kumimoji="0" lang="en-US" sz="1200" b="0" i="0" u="none" strike="noStrike" kern="1200" cap="none" spc="0" normalizeH="0" baseline="0" noProof="0">
                <a:ln>
                  <a:noFill/>
                </a:ln>
                <a:solidFill>
                  <a:srgbClr val="000000"/>
                </a:solidFill>
                <a:effectLst/>
                <a:uLnTx/>
                <a:uFillTx/>
                <a:latin typeface="Century Gothic" panose="020F0302020204030204"/>
                <a:ea typeface="+mn-ea"/>
                <a:cs typeface="+mn-cs"/>
              </a:rPr>
              <a:t>digital otoscope, with the NEW clear ear specula, will transform the way doctors examine the ears with 3X the field of view and 3X the light for larger, clearer ear exams.  </a:t>
            </a:r>
          </a:p>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entury Gothic" panose="020F0302020204030204"/>
              <a:ea typeface="+mn-ea"/>
              <a:cs typeface="+mn-cs"/>
            </a:endParaRPr>
          </a:p>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entury Gothic" panose="020F0302020204030204"/>
                <a:ea typeface="+mn-ea"/>
                <a:cs typeface="+mn-cs"/>
              </a:rPr>
              <a:t>And, by attaching a smart device, images can be saved and shared for improved assessments.</a:t>
            </a:r>
          </a:p>
        </p:txBody>
      </p:sp>
      <p:grpSp>
        <p:nvGrpSpPr>
          <p:cNvPr id="9" name="Group 8">
            <a:extLst>
              <a:ext uri="{FF2B5EF4-FFF2-40B4-BE49-F238E27FC236}">
                <a16:creationId xmlns:a16="http://schemas.microsoft.com/office/drawing/2014/main" id="{139C3945-8E58-4845-9575-FF29398DEED3}"/>
              </a:ext>
            </a:extLst>
          </p:cNvPr>
          <p:cNvGrpSpPr/>
          <p:nvPr/>
        </p:nvGrpSpPr>
        <p:grpSpPr>
          <a:xfrm>
            <a:off x="9067524" y="4224327"/>
            <a:ext cx="1344048" cy="1052137"/>
            <a:chOff x="1579820" y="4233255"/>
            <a:chExt cx="3168954" cy="2314381"/>
          </a:xfrm>
        </p:grpSpPr>
        <p:pic>
          <p:nvPicPr>
            <p:cNvPr id="10" name="Picture 9">
              <a:extLst>
                <a:ext uri="{FF2B5EF4-FFF2-40B4-BE49-F238E27FC236}">
                  <a16:creationId xmlns:a16="http://schemas.microsoft.com/office/drawing/2014/main" id="{41749F7D-21B4-4380-9F1B-CFE8EDD2F6C2}"/>
                </a:ext>
              </a:extLst>
            </p:cNvPr>
            <p:cNvPicPr>
              <a:picLocks noChangeAspect="1"/>
            </p:cNvPicPr>
            <p:nvPr/>
          </p:nvPicPr>
          <p:blipFill rotWithShape="1">
            <a:blip r:embed="rId3">
              <a:extLst>
                <a:ext uri="{BEBA8EAE-BF5A-486C-A8C5-ECC9F3942E4B}">
                  <a14:imgProps xmlns:a14="http://schemas.microsoft.com/office/drawing/2010/main">
                    <a14:imgLayer r:embed="rId4">
                      <a14:imgEffect>
                        <a14:backgroundRemoval t="204" b="99346" l="9988" r="86489"/>
                      </a14:imgEffect>
                    </a14:imgLayer>
                  </a14:imgProps>
                </a:ext>
              </a:extLst>
            </a:blip>
            <a:srcRect l="11871" r="17485"/>
            <a:stretch/>
          </p:blipFill>
          <p:spPr>
            <a:xfrm rot="10800000">
              <a:off x="3150704" y="4233255"/>
              <a:ext cx="1598070" cy="1696624"/>
            </a:xfrm>
            <a:prstGeom prst="rect">
              <a:avLst/>
            </a:prstGeom>
          </p:spPr>
        </p:pic>
        <p:grpSp>
          <p:nvGrpSpPr>
            <p:cNvPr id="11" name="Group 10">
              <a:extLst>
                <a:ext uri="{FF2B5EF4-FFF2-40B4-BE49-F238E27FC236}">
                  <a16:creationId xmlns:a16="http://schemas.microsoft.com/office/drawing/2014/main" id="{18CD14BF-3848-49C5-A13D-B4233A8DE808}"/>
                </a:ext>
              </a:extLst>
            </p:cNvPr>
            <p:cNvGrpSpPr/>
            <p:nvPr/>
          </p:nvGrpSpPr>
          <p:grpSpPr>
            <a:xfrm>
              <a:off x="1579820" y="4374140"/>
              <a:ext cx="1519159" cy="1519159"/>
              <a:chOff x="-115276" y="1414596"/>
              <a:chExt cx="2952027" cy="2952027"/>
            </a:xfrm>
          </p:grpSpPr>
          <p:sp>
            <p:nvSpPr>
              <p:cNvPr id="13" name="Oval 12">
                <a:extLst>
                  <a:ext uri="{FF2B5EF4-FFF2-40B4-BE49-F238E27FC236}">
                    <a16:creationId xmlns:a16="http://schemas.microsoft.com/office/drawing/2014/main" id="{517E5650-4C16-4C10-A872-312A35C5F6F0}"/>
                  </a:ext>
                </a:extLst>
              </p:cNvPr>
              <p:cNvSpPr/>
              <p:nvPr/>
            </p:nvSpPr>
            <p:spPr>
              <a:xfrm>
                <a:off x="-115276" y="1414596"/>
                <a:ext cx="2952027" cy="2952027"/>
              </a:xfrm>
              <a:prstGeom prst="ellipse">
                <a:avLst/>
              </a:prstGeom>
              <a:gradFill flip="none" rotWithShape="1">
                <a:gsLst>
                  <a:gs pos="0">
                    <a:srgbClr val="969696">
                      <a:shade val="30000"/>
                      <a:satMod val="115000"/>
                    </a:srgbClr>
                  </a:gs>
                  <a:gs pos="50000">
                    <a:srgbClr val="969696">
                      <a:shade val="67500"/>
                      <a:satMod val="115000"/>
                    </a:srgbClr>
                  </a:gs>
                  <a:gs pos="100000">
                    <a:srgbClr val="969696">
                      <a:shade val="100000"/>
                      <a:satMod val="115000"/>
                    </a:srgbClr>
                  </a:gs>
                </a:gsLst>
                <a:path path="circle">
                  <a:fillToRect l="100000" t="100000"/>
                </a:path>
                <a:tileRect r="-100000" b="-10000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pic>
            <p:nvPicPr>
              <p:cNvPr id="14" name="Shape 300">
                <a:extLst>
                  <a:ext uri="{FF2B5EF4-FFF2-40B4-BE49-F238E27FC236}">
                    <a16:creationId xmlns:a16="http://schemas.microsoft.com/office/drawing/2014/main" id="{E0D96AB2-85EA-4960-A0FD-6F4878131EFA}"/>
                  </a:ext>
                </a:extLst>
              </p:cNvPr>
              <p:cNvPicPr preferRelativeResize="0"/>
              <p:nvPr/>
            </p:nvPicPr>
            <p:blipFill rotWithShape="1">
              <a:blip r:embed="rId5">
                <a:alphaModFix/>
                <a:extLst>
                  <a:ext uri="{BEBA8EAE-BF5A-486C-A8C5-ECC9F3942E4B}">
                    <a14:imgProps xmlns:a14="http://schemas.microsoft.com/office/drawing/2010/main">
                      <a14:imgLayer r:embed="rId6">
                        <a14:imgEffect>
                          <a14:backgroundRemoval t="27445" b="60883" l="16613" r="35000"/>
                        </a14:imgEffect>
                      </a14:imgLayer>
                    </a14:imgProps>
                  </a:ext>
                </a:extLst>
              </a:blip>
              <a:srcRect l="14729" t="24147" r="63568" b="36962"/>
              <a:stretch/>
            </p:blipFill>
            <p:spPr>
              <a:xfrm>
                <a:off x="-28432" y="1600058"/>
                <a:ext cx="2528234" cy="2347254"/>
              </a:xfrm>
              <a:prstGeom prst="rect">
                <a:avLst/>
              </a:prstGeom>
              <a:noFill/>
              <a:ln>
                <a:noFill/>
              </a:ln>
            </p:spPr>
          </p:pic>
        </p:grpSp>
        <p:sp>
          <p:nvSpPr>
            <p:cNvPr id="12" name="Shape 249">
              <a:extLst>
                <a:ext uri="{FF2B5EF4-FFF2-40B4-BE49-F238E27FC236}">
                  <a16:creationId xmlns:a16="http://schemas.microsoft.com/office/drawing/2014/main" id="{8E7429E7-4E7F-4E6B-8A7A-24213794A9B0}"/>
                </a:ext>
              </a:extLst>
            </p:cNvPr>
            <p:cNvSpPr txBox="1"/>
            <p:nvPr/>
          </p:nvSpPr>
          <p:spPr>
            <a:xfrm>
              <a:off x="2803642" y="5682717"/>
              <a:ext cx="1143011" cy="864919"/>
            </a:xfrm>
            <a:prstGeom prst="rect">
              <a:avLst/>
            </a:prstGeom>
            <a:noFill/>
            <a:ln>
              <a:noFill/>
            </a:ln>
          </p:spPr>
          <p:txBody>
            <a:bodyPr lIns="42510" tIns="21249" rIns="42510" bIns="21249" anchor="t" anchorCtr="0">
              <a:noAutofit/>
            </a:bodyPr>
            <a:lstStyle/>
            <a:p>
              <a:pPr marL="0" marR="0" lvl="0" indent="-32480" algn="l" defTabSz="914378" rtl="0" eaLnBrk="1" fontAlgn="auto" latinLnBrk="0" hangingPunct="1">
                <a:lnSpc>
                  <a:spcPct val="100000"/>
                </a:lnSpc>
                <a:spcBef>
                  <a:spcPts val="0"/>
                </a:spcBef>
                <a:spcAft>
                  <a:spcPts val="0"/>
                </a:spcAft>
                <a:buClr>
                  <a:srgbClr val="000000"/>
                </a:buClr>
                <a:buSzTx/>
                <a:buFontTx/>
                <a:buNone/>
                <a:tabLst/>
                <a:defRPr/>
              </a:pPr>
              <a:r>
                <a:rPr kumimoji="0" lang="en-US" sz="2232" b="0" i="0" u="none" strike="noStrike" kern="1200" cap="none" spc="0" normalizeH="0" baseline="0" noProof="0">
                  <a:ln>
                    <a:noFill/>
                  </a:ln>
                  <a:solidFill>
                    <a:srgbClr val="7030A0"/>
                  </a:solidFill>
                  <a:effectLst/>
                  <a:uLnTx/>
                  <a:uFillTx/>
                  <a:latin typeface="Century Gothic" panose="020F0302020204030204"/>
                  <a:ea typeface="+mn-ea"/>
                  <a:cs typeface="+mn-cs"/>
                </a:rPr>
                <a:t>3x</a:t>
              </a:r>
            </a:p>
          </p:txBody>
        </p:sp>
      </p:grpSp>
      <p:sp>
        <p:nvSpPr>
          <p:cNvPr id="15" name="TextBox 14">
            <a:extLst>
              <a:ext uri="{FF2B5EF4-FFF2-40B4-BE49-F238E27FC236}">
                <a16:creationId xmlns:a16="http://schemas.microsoft.com/office/drawing/2014/main" id="{175FC2A5-25C2-4568-97F7-6D23F2D4D4BD}"/>
              </a:ext>
            </a:extLst>
          </p:cNvPr>
          <p:cNvSpPr txBox="1"/>
          <p:nvPr/>
        </p:nvSpPr>
        <p:spPr>
          <a:xfrm>
            <a:off x="5244816" y="1703484"/>
            <a:ext cx="3753436" cy="1843892"/>
          </a:xfrm>
          <a:prstGeom prst="rect">
            <a:avLst/>
          </a:prstGeom>
          <a:solidFill>
            <a:schemeClr val="accent2">
              <a:lumMod val="20000"/>
              <a:lumOff val="80000"/>
            </a:schemeClr>
          </a:solidFill>
        </p:spPr>
        <p:txBody>
          <a:bodyPr wrap="square" rtlCol="0">
            <a:no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entury Gothic" panose="020F0302020204030204"/>
                <a:ea typeface="+mn-ea"/>
                <a:cs typeface="+mn-cs"/>
              </a:rPr>
              <a:t>The </a:t>
            </a:r>
            <a:r>
              <a:rPr kumimoji="0" lang="en-US" sz="1200" b="1" i="0" u="none" strike="noStrike" kern="1200" cap="none" spc="0" normalizeH="0" baseline="0" noProof="0">
                <a:ln>
                  <a:noFill/>
                </a:ln>
                <a:solidFill>
                  <a:srgbClr val="000000"/>
                </a:solidFill>
                <a:effectLst/>
                <a:uLnTx/>
                <a:uFillTx/>
                <a:latin typeface="Century Gothic" panose="020F0302020204030204"/>
                <a:ea typeface="+mn-ea"/>
                <a:cs typeface="+mn-cs"/>
              </a:rPr>
              <a:t>NEW PanOptic Plus </a:t>
            </a:r>
            <a:r>
              <a:rPr kumimoji="0" lang="en-US" sz="1200" b="0" i="0" u="none" strike="noStrike" kern="1200" cap="none" spc="0" normalizeH="0" baseline="0" noProof="0">
                <a:ln>
                  <a:noFill/>
                </a:ln>
                <a:solidFill>
                  <a:srgbClr val="000000"/>
                </a:solidFill>
                <a:effectLst/>
                <a:uLnTx/>
                <a:uFillTx/>
                <a:latin typeface="Century Gothic" panose="020F0302020204030204"/>
                <a:ea typeface="+mn-ea"/>
                <a:cs typeface="+mn-cs"/>
              </a:rPr>
              <a:t>digital ophthalmoscope will transform the way doctors do an eye examine.  </a:t>
            </a:r>
          </a:p>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entury Gothic" panose="020F0302020204030204"/>
              <a:ea typeface="+mn-ea"/>
              <a:cs typeface="+mn-cs"/>
            </a:endParaRPr>
          </a:p>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entury Gothic" panose="020F0302020204030204"/>
                <a:ea typeface="+mn-ea"/>
                <a:cs typeface="+mn-cs"/>
              </a:rPr>
              <a:t>Instead of a fleeting image, they will be able to see 20X more than they do today, all while capturing an image using a smart device for further review and consult with a specialists. </a:t>
            </a:r>
          </a:p>
        </p:txBody>
      </p:sp>
      <p:grpSp>
        <p:nvGrpSpPr>
          <p:cNvPr id="16" name="Group 15">
            <a:extLst>
              <a:ext uri="{FF2B5EF4-FFF2-40B4-BE49-F238E27FC236}">
                <a16:creationId xmlns:a16="http://schemas.microsoft.com/office/drawing/2014/main" id="{11AE611E-5544-45F0-BCB0-8278EDA44543}"/>
              </a:ext>
            </a:extLst>
          </p:cNvPr>
          <p:cNvGrpSpPr/>
          <p:nvPr/>
        </p:nvGrpSpPr>
        <p:grpSpPr>
          <a:xfrm>
            <a:off x="9101328" y="2131847"/>
            <a:ext cx="1227573" cy="1077191"/>
            <a:chOff x="0" y="1457319"/>
            <a:chExt cx="3336753" cy="2755652"/>
          </a:xfrm>
        </p:grpSpPr>
        <p:pic>
          <p:nvPicPr>
            <p:cNvPr id="17" name="Shape 248">
              <a:extLst>
                <a:ext uri="{FF2B5EF4-FFF2-40B4-BE49-F238E27FC236}">
                  <a16:creationId xmlns:a16="http://schemas.microsoft.com/office/drawing/2014/main" id="{BB4B5A79-DEC3-4198-9CF0-A3456752EBD2}"/>
                </a:ext>
              </a:extLst>
            </p:cNvPr>
            <p:cNvPicPr preferRelativeResize="0"/>
            <p:nvPr/>
          </p:nvPicPr>
          <p:blipFill rotWithShape="1">
            <a:blip r:embed="rId7">
              <a:alphaModFix/>
            </a:blip>
            <a:srcRect l="13217" t="32741" r="66330" b="42927"/>
            <a:stretch/>
          </p:blipFill>
          <p:spPr>
            <a:xfrm>
              <a:off x="0" y="2343188"/>
              <a:ext cx="977200" cy="796800"/>
            </a:xfrm>
            <a:prstGeom prst="rect">
              <a:avLst/>
            </a:prstGeom>
            <a:noFill/>
            <a:ln>
              <a:noFill/>
            </a:ln>
          </p:spPr>
        </p:pic>
        <p:grpSp>
          <p:nvGrpSpPr>
            <p:cNvPr id="18" name="Group 17">
              <a:extLst>
                <a:ext uri="{FF2B5EF4-FFF2-40B4-BE49-F238E27FC236}">
                  <a16:creationId xmlns:a16="http://schemas.microsoft.com/office/drawing/2014/main" id="{9FC72BBA-EDCA-4B71-BBA5-31A549CCD81E}"/>
                </a:ext>
              </a:extLst>
            </p:cNvPr>
            <p:cNvGrpSpPr/>
            <p:nvPr/>
          </p:nvGrpSpPr>
          <p:grpSpPr>
            <a:xfrm>
              <a:off x="1097045" y="1457319"/>
              <a:ext cx="2239708" cy="2282112"/>
              <a:chOff x="5256006" y="46909"/>
              <a:chExt cx="1679781" cy="1711584"/>
            </a:xfrm>
          </p:grpSpPr>
          <p:sp>
            <p:nvSpPr>
              <p:cNvPr id="20" name="Oval 19">
                <a:extLst>
                  <a:ext uri="{FF2B5EF4-FFF2-40B4-BE49-F238E27FC236}">
                    <a16:creationId xmlns:a16="http://schemas.microsoft.com/office/drawing/2014/main" id="{BED809FD-14C4-4703-81E2-452295ED9F68}"/>
                  </a:ext>
                </a:extLst>
              </p:cNvPr>
              <p:cNvSpPr/>
              <p:nvPr/>
            </p:nvSpPr>
            <p:spPr>
              <a:xfrm>
                <a:off x="5256006" y="82113"/>
                <a:ext cx="1676380" cy="1676380"/>
              </a:xfrm>
              <a:prstGeom prst="ellipse">
                <a:avLst/>
              </a:prstGeom>
              <a:solidFill>
                <a:schemeClr val="tx1">
                  <a:lumMod val="85000"/>
                  <a:lumOff val="15000"/>
                </a:schemeClr>
              </a:solidFill>
              <a:ln>
                <a:noFill/>
              </a:ln>
              <a:effectLst>
                <a:outerShdw blurRad="50800" dist="38100" dir="5400000" algn="t" rotWithShape="0">
                  <a:schemeClr val="tx1">
                    <a:lumMod val="85000"/>
                    <a:lumOff val="1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837"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pic>
            <p:nvPicPr>
              <p:cNvPr id="21" name="Shape 247">
                <a:extLst>
                  <a:ext uri="{FF2B5EF4-FFF2-40B4-BE49-F238E27FC236}">
                    <a16:creationId xmlns:a16="http://schemas.microsoft.com/office/drawing/2014/main" id="{900E7C68-769C-4423-A858-BA2908F60A0D}"/>
                  </a:ext>
                </a:extLst>
              </p:cNvPr>
              <p:cNvPicPr preferRelativeResize="0"/>
              <p:nvPr/>
            </p:nvPicPr>
            <p:blipFill rotWithShape="1">
              <a:blip r:embed="rId8">
                <a:alphaModFix/>
              </a:blip>
              <a:srcRect l="54143" t="8650" b="23076"/>
              <a:stretch/>
            </p:blipFill>
            <p:spPr>
              <a:xfrm>
                <a:off x="5292436" y="46909"/>
                <a:ext cx="1643351" cy="1676380"/>
              </a:xfrm>
              <a:prstGeom prst="rect">
                <a:avLst/>
              </a:prstGeom>
              <a:noFill/>
              <a:ln>
                <a:noFill/>
              </a:ln>
            </p:spPr>
          </p:pic>
        </p:grpSp>
        <p:sp>
          <p:nvSpPr>
            <p:cNvPr id="19" name="Shape 249">
              <a:extLst>
                <a:ext uri="{FF2B5EF4-FFF2-40B4-BE49-F238E27FC236}">
                  <a16:creationId xmlns:a16="http://schemas.microsoft.com/office/drawing/2014/main" id="{5A6A3097-0639-42FB-9FD1-5E5F266D70C6}"/>
                </a:ext>
              </a:extLst>
            </p:cNvPr>
            <p:cNvSpPr txBox="1"/>
            <p:nvPr/>
          </p:nvSpPr>
          <p:spPr>
            <a:xfrm>
              <a:off x="2820" y="2884704"/>
              <a:ext cx="1853200" cy="1328267"/>
            </a:xfrm>
            <a:prstGeom prst="rect">
              <a:avLst/>
            </a:prstGeom>
            <a:noFill/>
            <a:ln>
              <a:noFill/>
            </a:ln>
          </p:spPr>
          <p:txBody>
            <a:bodyPr lIns="42510" tIns="21249" rIns="42510" bIns="21249" anchor="t" anchorCtr="0">
              <a:noAutofit/>
            </a:bodyPr>
            <a:lstStyle/>
            <a:p>
              <a:pPr marL="0" marR="0" lvl="0" indent="-32480" algn="l" defTabSz="914378" rtl="0" eaLnBrk="1" fontAlgn="auto" latinLnBrk="0" hangingPunct="1">
                <a:lnSpc>
                  <a:spcPct val="100000"/>
                </a:lnSpc>
                <a:spcBef>
                  <a:spcPts val="0"/>
                </a:spcBef>
                <a:spcAft>
                  <a:spcPts val="0"/>
                </a:spcAft>
                <a:buClr>
                  <a:srgbClr val="000000"/>
                </a:buClr>
                <a:buSzTx/>
                <a:buFontTx/>
                <a:buNone/>
                <a:tabLst/>
                <a:defRPr/>
              </a:pPr>
              <a:r>
                <a:rPr kumimoji="0" lang="en-US" sz="2232" b="0" i="0" u="none" strike="noStrike" kern="1200" cap="none" spc="0" normalizeH="0" baseline="0" noProof="0">
                  <a:ln>
                    <a:noFill/>
                  </a:ln>
                  <a:solidFill>
                    <a:srgbClr val="7030A0"/>
                  </a:solidFill>
                  <a:effectLst/>
                  <a:uLnTx/>
                  <a:uFillTx/>
                  <a:latin typeface="Century Gothic" panose="020F0302020204030204"/>
                  <a:ea typeface="+mn-ea"/>
                  <a:cs typeface="+mn-cs"/>
                </a:rPr>
                <a:t>20x</a:t>
              </a:r>
            </a:p>
          </p:txBody>
        </p:sp>
      </p:grpSp>
      <p:pic>
        <p:nvPicPr>
          <p:cNvPr id="22" name="Content Placeholder 5" descr="A picture containing person, holding, man, cellphone&#10;&#10;Description automatically generated">
            <a:extLst>
              <a:ext uri="{FF2B5EF4-FFF2-40B4-BE49-F238E27FC236}">
                <a16:creationId xmlns:a16="http://schemas.microsoft.com/office/drawing/2014/main" id="{10A47696-CA41-4909-A0B8-52A5D821D447}"/>
              </a:ext>
            </a:extLst>
          </p:cNvPr>
          <p:cNvPicPr>
            <a:picLocks noChangeAspect="1"/>
          </p:cNvPicPr>
          <p:nvPr/>
        </p:nvPicPr>
        <p:blipFill>
          <a:blip r:embed="rId9"/>
          <a:stretch>
            <a:fillRect/>
          </a:stretch>
        </p:blipFill>
        <p:spPr>
          <a:xfrm>
            <a:off x="2189514" y="1703484"/>
            <a:ext cx="2947574" cy="1843892"/>
          </a:xfrm>
          <a:prstGeom prst="rect">
            <a:avLst/>
          </a:prstGeom>
        </p:spPr>
      </p:pic>
      <p:pic>
        <p:nvPicPr>
          <p:cNvPr id="23" name="Picture 22" descr="A couple of people that are talking to each other&#10;&#10;Description automatically generated">
            <a:extLst>
              <a:ext uri="{FF2B5EF4-FFF2-40B4-BE49-F238E27FC236}">
                <a16:creationId xmlns:a16="http://schemas.microsoft.com/office/drawing/2014/main" id="{5087D648-E61C-4F65-B42E-BD5F1790F9F5}"/>
              </a:ext>
            </a:extLst>
          </p:cNvPr>
          <p:cNvPicPr>
            <a:picLocks noGrp="1" noChangeAspect="1"/>
          </p:cNvPicPr>
          <p:nvPr/>
        </p:nvPicPr>
        <p:blipFill rotWithShape="1">
          <a:blip r:embed="rId10"/>
          <a:srcRect l="1317" t="525" r="4201" b="-525"/>
          <a:stretch/>
        </p:blipFill>
        <p:spPr>
          <a:xfrm>
            <a:off x="2189515" y="3736519"/>
            <a:ext cx="2967659" cy="1921079"/>
          </a:xfrm>
          <a:prstGeom prst="rect">
            <a:avLst/>
          </a:prstGeom>
          <a:solidFill>
            <a:schemeClr val="accent6">
              <a:lumMod val="20000"/>
              <a:lumOff val="80000"/>
            </a:schemeClr>
          </a:solidFill>
        </p:spPr>
      </p:pic>
      <p:pic>
        <p:nvPicPr>
          <p:cNvPr id="26" name="Picture 25" descr="A picture containing electronics, monitor, device&#10;&#10;Description automatically generated">
            <a:extLst>
              <a:ext uri="{FF2B5EF4-FFF2-40B4-BE49-F238E27FC236}">
                <a16:creationId xmlns:a16="http://schemas.microsoft.com/office/drawing/2014/main" id="{4C760EF7-3EBB-49EF-8876-D5E752EAA212}"/>
              </a:ext>
            </a:extLst>
          </p:cNvPr>
          <p:cNvPicPr>
            <a:picLocks noChangeAspect="1"/>
          </p:cNvPicPr>
          <p:nvPr/>
        </p:nvPicPr>
        <p:blipFill>
          <a:blip r:embed="rId11"/>
          <a:stretch>
            <a:fillRect/>
          </a:stretch>
        </p:blipFill>
        <p:spPr>
          <a:xfrm flipH="1">
            <a:off x="3461208" y="2397525"/>
            <a:ext cx="212135" cy="515658"/>
          </a:xfrm>
          <a:prstGeom prst="rect">
            <a:avLst/>
          </a:prstGeom>
        </p:spPr>
      </p:pic>
    </p:spTree>
    <p:extLst>
      <p:ext uri="{BB962C8B-B14F-4D97-AF65-F5344CB8AC3E}">
        <p14:creationId xmlns:p14="http://schemas.microsoft.com/office/powerpoint/2010/main" val="19839407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99865C-12E6-479D-B464-51AD1D003EA9}"/>
              </a:ext>
            </a:extLst>
          </p:cNvPr>
          <p:cNvSpPr>
            <a:spLocks noGrp="1"/>
          </p:cNvSpPr>
          <p:nvPr>
            <p:ph type="title"/>
          </p:nvPr>
        </p:nvSpPr>
        <p:spPr/>
        <p:txBody>
          <a:bodyPr/>
          <a:lstStyle/>
          <a:p>
            <a:r>
              <a:rPr lang="en-US"/>
              <a:t>Competitive Product/Service Benefit Ladder</a:t>
            </a:r>
          </a:p>
        </p:txBody>
      </p:sp>
      <p:sp>
        <p:nvSpPr>
          <p:cNvPr id="4" name="Slide Number Placeholder 3">
            <a:extLst>
              <a:ext uri="{FF2B5EF4-FFF2-40B4-BE49-F238E27FC236}">
                <a16:creationId xmlns:a16="http://schemas.microsoft.com/office/drawing/2014/main" id="{B658655E-915C-45E3-B52B-166635837C96}"/>
              </a:ext>
            </a:extLst>
          </p:cNvPr>
          <p:cNvSpPr>
            <a:spLocks noGrp="1"/>
          </p:cNvSpPr>
          <p:nvPr>
            <p:ph type="sldNum" sz="quarter" idx="4"/>
          </p:nvPr>
        </p:nvSpPr>
        <p:spPr/>
        <p:txBody>
          <a:bodyPr/>
          <a:lstStyle/>
          <a:p>
            <a:fld id="{982D468C-8F71-314C-A979-931A6F21B3BB}" type="slidenum">
              <a:rPr lang="en-US" smtClean="0"/>
              <a:pPr/>
              <a:t>11</a:t>
            </a:fld>
            <a:endParaRPr lang="en-US"/>
          </a:p>
        </p:txBody>
      </p:sp>
      <p:graphicFrame>
        <p:nvGraphicFramePr>
          <p:cNvPr id="14" name="Table 13">
            <a:extLst>
              <a:ext uri="{FF2B5EF4-FFF2-40B4-BE49-F238E27FC236}">
                <a16:creationId xmlns:a16="http://schemas.microsoft.com/office/drawing/2014/main" id="{E704C856-0D66-4775-A05D-B975EEFC26F7}"/>
              </a:ext>
            </a:extLst>
          </p:cNvPr>
          <p:cNvGraphicFramePr>
            <a:graphicFrameLocks noGrp="1"/>
          </p:cNvGraphicFramePr>
          <p:nvPr>
            <p:custDataLst>
              <p:tags r:id="rId1"/>
            </p:custDataLst>
          </p:nvPr>
        </p:nvGraphicFramePr>
        <p:xfrm>
          <a:off x="3362784" y="1797165"/>
          <a:ext cx="8234404" cy="4526649"/>
        </p:xfrm>
        <a:graphic>
          <a:graphicData uri="http://schemas.openxmlformats.org/drawingml/2006/table">
            <a:tbl>
              <a:tblPr firstRow="1" bandRow="1">
                <a:tableStyleId>{68D230F3-CF80-4859-8CE7-A43EE81993B5}</a:tableStyleId>
              </a:tblPr>
              <a:tblGrid>
                <a:gridCol w="5826936">
                  <a:extLst>
                    <a:ext uri="{9D8B030D-6E8A-4147-A177-3AD203B41FA5}">
                      <a16:colId xmlns:a16="http://schemas.microsoft.com/office/drawing/2014/main" val="2927356291"/>
                    </a:ext>
                  </a:extLst>
                </a:gridCol>
                <a:gridCol w="2407468">
                  <a:extLst>
                    <a:ext uri="{9D8B030D-6E8A-4147-A177-3AD203B41FA5}">
                      <a16:colId xmlns:a16="http://schemas.microsoft.com/office/drawing/2014/main" val="3132206428"/>
                    </a:ext>
                  </a:extLst>
                </a:gridCol>
              </a:tblGrid>
              <a:tr h="218437">
                <a:tc>
                  <a:txBody>
                    <a:bodyPr/>
                    <a:lstStyle/>
                    <a:p>
                      <a:pPr algn="ctr"/>
                      <a:r>
                        <a:rPr lang="en-US" sz="1400" spc="100" baseline="0"/>
                        <a:t>PanOptic-3 and MacroView-3</a:t>
                      </a:r>
                      <a:endParaRPr lang="en-US" sz="1400" spc="100" baseline="0">
                        <a:solidFill>
                          <a:schemeClr val="accent3"/>
                        </a:solidFill>
                      </a:endParaRPr>
                    </a:p>
                  </a:txBody>
                  <a:tcPr anchor="b"/>
                </a:tc>
                <a:tc>
                  <a:txBody>
                    <a:bodyPr/>
                    <a:lstStyle/>
                    <a:p>
                      <a:pPr algn="ctr"/>
                      <a:r>
                        <a:rPr lang="en-US" sz="1400" spc="100" baseline="0"/>
                        <a:t>Do-nothing/117</a:t>
                      </a:r>
                      <a:endParaRPr lang="en-US" sz="1400" spc="100" baseline="0">
                        <a:solidFill>
                          <a:schemeClr val="accent3"/>
                        </a:solidFill>
                      </a:endParaRPr>
                    </a:p>
                  </a:txBody>
                  <a:tcPr anchor="b"/>
                </a:tc>
                <a:extLst>
                  <a:ext uri="{0D108BD9-81ED-4DB2-BD59-A6C34878D82A}">
                    <a16:rowId xmlns:a16="http://schemas.microsoft.com/office/drawing/2014/main" val="10000"/>
                  </a:ext>
                </a:extLst>
              </a:tr>
              <a:tr h="1265289">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latin typeface="Arial"/>
                          <a:cs typeface="Arial"/>
                        </a:rPr>
                        <a:t>Increased confidence as a clinician with additional diagnostic power</a:t>
                      </a:r>
                    </a:p>
                    <a:p>
                      <a:pPr marL="285750" indent="-285750" algn="l">
                        <a:buFont typeface="Arial" panose="020B0604020202020204" pitchFamily="34" charset="0"/>
                        <a:buChar char="•"/>
                      </a:pPr>
                      <a:r>
                        <a:rPr lang="en-US" sz="1400">
                          <a:latin typeface="Arial"/>
                          <a:cs typeface="Arial"/>
                        </a:rPr>
                        <a:t>Better patient outcomes/experience to detect problems earlier without expensive tests</a:t>
                      </a:r>
                    </a:p>
                    <a:p>
                      <a:pPr marL="285750" indent="-285750" algn="l">
                        <a:buFont typeface="Arial" panose="020B0604020202020204" pitchFamily="34" charset="0"/>
                        <a:buChar char="•"/>
                      </a:pPr>
                      <a:r>
                        <a:rPr lang="en-US" sz="1400">
                          <a:latin typeface="Arial"/>
                          <a:cs typeface="Arial"/>
                        </a:rPr>
                        <a:t>Advanced: more connected and innovative</a:t>
                      </a:r>
                    </a:p>
                    <a:p>
                      <a:pPr marL="285750" indent="-285750" algn="l">
                        <a:buFont typeface="Arial" panose="020B0604020202020204" pitchFamily="34" charset="0"/>
                        <a:buChar char="•"/>
                      </a:pPr>
                      <a:r>
                        <a:rPr lang="en-US" sz="1400">
                          <a:latin typeface="Arial"/>
                          <a:cs typeface="Arial"/>
                        </a:rPr>
                        <a:t>Exciting and interesting to use compared to old device</a:t>
                      </a:r>
                    </a:p>
                  </a:txBody>
                  <a:tcPr/>
                </a:tc>
                <a:tc>
                  <a:txBody>
                    <a:bodyPr/>
                    <a:lstStyle/>
                    <a:p>
                      <a:pPr marL="285750" indent="-285750" algn="l">
                        <a:buFont typeface="Arial" panose="020B0604020202020204" pitchFamily="34" charset="0"/>
                        <a:buChar char="•"/>
                      </a:pPr>
                      <a:r>
                        <a:rPr lang="en-US" sz="1400">
                          <a:latin typeface="Arial"/>
                          <a:cs typeface="Arial"/>
                        </a:rPr>
                        <a:t>Comfortable</a:t>
                      </a:r>
                    </a:p>
                    <a:p>
                      <a:pPr marL="285750" indent="-285750" algn="l">
                        <a:buFont typeface="Arial" panose="020B0604020202020204" pitchFamily="34" charset="0"/>
                        <a:buChar char="•"/>
                      </a:pPr>
                      <a:r>
                        <a:rPr lang="en-US" sz="1400">
                          <a:latin typeface="Arial"/>
                          <a:cs typeface="Arial"/>
                        </a:rPr>
                        <a:t>Familiar</a:t>
                      </a:r>
                    </a:p>
                    <a:p>
                      <a:pPr marL="285750" indent="-285750" algn="l">
                        <a:buFont typeface="Arial" panose="020B0604020202020204" pitchFamily="34" charset="0"/>
                        <a:buChar char="•"/>
                      </a:pPr>
                      <a:r>
                        <a:rPr lang="en-US" sz="1400">
                          <a:latin typeface="Arial"/>
                          <a:cs typeface="Arial"/>
                        </a:rPr>
                        <a:t>Costs less</a:t>
                      </a:r>
                    </a:p>
                    <a:p>
                      <a:pPr marL="285750" indent="-285750" algn="l">
                        <a:buFont typeface="Arial" panose="020B0604020202020204" pitchFamily="34" charset="0"/>
                        <a:buChar char="•"/>
                      </a:pPr>
                      <a:r>
                        <a:rPr lang="en-US" sz="1400">
                          <a:latin typeface="Arial"/>
                          <a:cs typeface="Arial"/>
                        </a:rPr>
                        <a:t>Maintaining status quo</a:t>
                      </a:r>
                    </a:p>
                  </a:txBody>
                  <a:tcPr/>
                </a:tc>
                <a:extLst>
                  <a:ext uri="{0D108BD9-81ED-4DB2-BD59-A6C34878D82A}">
                    <a16:rowId xmlns:a16="http://schemas.microsoft.com/office/drawing/2014/main" val="10001"/>
                  </a:ext>
                </a:extLst>
              </a:tr>
              <a:tr h="1265289">
                <a:tc>
                  <a:txBody>
                    <a:bodyPr/>
                    <a:lstStyle/>
                    <a:p>
                      <a:pPr marL="285750" indent="-285750" algn="l">
                        <a:buFont typeface="Arial" panose="020B0604020202020204" pitchFamily="34" charset="0"/>
                        <a:buChar char="•"/>
                      </a:pPr>
                      <a:r>
                        <a:rPr lang="en-US" sz="1400">
                          <a:latin typeface="Arial"/>
                          <a:cs typeface="Arial"/>
                        </a:rPr>
                        <a:t>Efficient exam</a:t>
                      </a:r>
                    </a:p>
                    <a:p>
                      <a:pPr marL="285750" indent="-285750" algn="l">
                        <a:buFont typeface="Arial" panose="020B0604020202020204" pitchFamily="34" charset="0"/>
                        <a:buChar char="•"/>
                      </a:pPr>
                      <a:r>
                        <a:rPr lang="en-US" sz="1400">
                          <a:latin typeface="Arial"/>
                          <a:cs typeface="Arial"/>
                        </a:rPr>
                        <a:t>More accurate diagnosis and referrals</a:t>
                      </a:r>
                    </a:p>
                    <a:p>
                      <a:pPr marL="285750" indent="-285750" algn="l">
                        <a:buFont typeface="Arial" panose="020B0604020202020204" pitchFamily="34" charset="0"/>
                        <a:buChar char="•"/>
                      </a:pPr>
                      <a:r>
                        <a:rPr lang="en-US" sz="1400">
                          <a:latin typeface="Arial"/>
                          <a:cs typeface="Arial"/>
                        </a:rPr>
                        <a:t>Easy-to-use devices</a:t>
                      </a:r>
                    </a:p>
                    <a:p>
                      <a:pPr marL="285750" indent="-285750" algn="l">
                        <a:buFont typeface="Arial" panose="020B0604020202020204" pitchFamily="34" charset="0"/>
                        <a:buChar char="•"/>
                      </a:pPr>
                      <a:r>
                        <a:rPr lang="en-US" sz="1400">
                          <a:latin typeface="Arial"/>
                          <a:cs typeface="Arial"/>
                        </a:rPr>
                        <a:t>Ability to share/upload imag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latin typeface="Arial"/>
                          <a:cs typeface="Arial"/>
                        </a:rPr>
                        <a:t>Compare and contrast exam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latin typeface="Arial"/>
                          <a:cs typeface="Arial"/>
                        </a:rPr>
                        <a:t>Improved patient interaction with images</a:t>
                      </a:r>
                    </a:p>
                  </a:txBody>
                  <a:tcPr/>
                </a:tc>
                <a:tc>
                  <a:txBody>
                    <a:bodyPr/>
                    <a:lstStyle/>
                    <a:p>
                      <a:pPr marL="285750" indent="-285750" algn="l">
                        <a:buFont typeface="Arial" panose="020B0604020202020204" pitchFamily="34" charset="0"/>
                        <a:buChar char="•"/>
                      </a:pPr>
                      <a:r>
                        <a:rPr lang="en-US" sz="1400">
                          <a:latin typeface="Arial"/>
                          <a:cs typeface="Arial"/>
                        </a:rPr>
                        <a:t>No budget required </a:t>
                      </a:r>
                    </a:p>
                    <a:p>
                      <a:pPr marL="285750" indent="-285750" algn="l">
                        <a:buFont typeface="Arial" panose="020B0604020202020204" pitchFamily="34" charset="0"/>
                        <a:buChar char="•"/>
                      </a:pPr>
                      <a:endParaRPr lang="en-US" sz="1400">
                        <a:latin typeface="Arial"/>
                        <a:cs typeface="Arial"/>
                      </a:endParaRPr>
                    </a:p>
                  </a:txBody>
                  <a:tcPr/>
                </a:tc>
                <a:extLst>
                  <a:ext uri="{0D108BD9-81ED-4DB2-BD59-A6C34878D82A}">
                    <a16:rowId xmlns:a16="http://schemas.microsoft.com/office/drawing/2014/main" val="2789981402"/>
                  </a:ext>
                </a:extLst>
              </a:tr>
              <a:tr h="1265289">
                <a:tc>
                  <a:txBody>
                    <a:bodyPr/>
                    <a:lstStyle/>
                    <a:p>
                      <a:pPr marL="285750" indent="-285750" algn="l">
                        <a:buFont typeface="Arial" panose="020B0604020202020204" pitchFamily="34" charset="0"/>
                        <a:buChar char="•"/>
                      </a:pPr>
                      <a:r>
                        <a:rPr lang="en-US" sz="1400">
                          <a:latin typeface="Arial"/>
                          <a:cs typeface="Arial"/>
                        </a:rPr>
                        <a:t>Digitally compatible with side range of smart devices</a:t>
                      </a:r>
                    </a:p>
                    <a:p>
                      <a:pPr marL="285750" indent="-285750" algn="l">
                        <a:buFont typeface="Arial" panose="020B0604020202020204" pitchFamily="34" charset="0"/>
                        <a:buChar char="•"/>
                      </a:pPr>
                      <a:r>
                        <a:rPr lang="en-US" sz="1400">
                          <a:latin typeface="Arial"/>
                          <a:cs typeface="Arial"/>
                        </a:rPr>
                        <a:t>Increased views of eye/ear</a:t>
                      </a:r>
                    </a:p>
                    <a:p>
                      <a:pPr marL="285750" indent="-285750" algn="l">
                        <a:buFont typeface="Arial" panose="020B0604020202020204" pitchFamily="34" charset="0"/>
                        <a:buChar char="•"/>
                      </a:pPr>
                      <a:r>
                        <a:rPr lang="en-US" sz="1400">
                          <a:latin typeface="Arial"/>
                          <a:cs typeface="Arial"/>
                        </a:rPr>
                        <a:t>Quick Eye Alignment (target optic disc)</a:t>
                      </a:r>
                    </a:p>
                    <a:p>
                      <a:pPr marL="285750" indent="-285750" algn="l">
                        <a:buFont typeface="Arial" panose="020B0604020202020204" pitchFamily="34" charset="0"/>
                        <a:buChar char="•"/>
                      </a:pPr>
                      <a:r>
                        <a:rPr lang="en-US" sz="1400">
                          <a:latin typeface="Arial"/>
                          <a:cs typeface="Arial"/>
                        </a:rPr>
                        <a:t>Brighter otoscope exams</a:t>
                      </a:r>
                    </a:p>
                    <a:p>
                      <a:pPr marL="285750" indent="-285750" algn="l">
                        <a:buFont typeface="Arial" panose="020B0604020202020204" pitchFamily="34" charset="0"/>
                        <a:buChar char="•"/>
                      </a:pPr>
                      <a:r>
                        <a:rPr lang="en-US" sz="1400">
                          <a:latin typeface="Arial"/>
                          <a:cs typeface="Arial"/>
                        </a:rPr>
                        <a:t>Better ergonomics/form factor</a:t>
                      </a:r>
                    </a:p>
                    <a:p>
                      <a:pPr marL="285750" indent="-285750" algn="l">
                        <a:buFont typeface="Arial" panose="020B0604020202020204" pitchFamily="34" charset="0"/>
                        <a:buChar char="•"/>
                      </a:pPr>
                      <a:r>
                        <a:rPr lang="en-US" sz="1400">
                          <a:latin typeface="Arial"/>
                          <a:cs typeface="Arial"/>
                        </a:rPr>
                        <a:t>Better durability</a:t>
                      </a:r>
                    </a:p>
                    <a:p>
                      <a:pPr marL="285750" indent="-285750" algn="l">
                        <a:buFont typeface="Arial" panose="020B0604020202020204" pitchFamily="34" charset="0"/>
                        <a:buChar char="•"/>
                      </a:pPr>
                      <a:r>
                        <a:rPr lang="en-US" sz="1400">
                          <a:latin typeface="Arial"/>
                          <a:cs typeface="Arial"/>
                        </a:rPr>
                        <a:t>LED lamps for longer life</a:t>
                      </a:r>
                    </a:p>
                  </a:txBody>
                  <a:tcPr/>
                </a:tc>
                <a:tc>
                  <a:txBody>
                    <a:bodyPr/>
                    <a:lstStyle/>
                    <a:p>
                      <a:pPr marL="285750" indent="-285750" algn="l">
                        <a:buFont typeface="Arial" panose="020B0604020202020204" pitchFamily="34" charset="0"/>
                        <a:buChar char="•"/>
                      </a:pPr>
                      <a:r>
                        <a:rPr lang="en-US" sz="1400">
                          <a:latin typeface="Arial"/>
                          <a:cs typeface="Arial"/>
                        </a:rPr>
                        <a:t>Free</a:t>
                      </a:r>
                    </a:p>
                    <a:p>
                      <a:pPr marL="285750" indent="-285750" algn="l">
                        <a:buFont typeface="Arial" panose="020B0604020202020204" pitchFamily="34" charset="0"/>
                        <a:buChar char="•"/>
                      </a:pPr>
                      <a:r>
                        <a:rPr lang="en-US" sz="1400">
                          <a:latin typeface="Arial"/>
                          <a:cs typeface="Arial"/>
                        </a:rPr>
                        <a:t>Durable and reliable product</a:t>
                      </a:r>
                    </a:p>
                  </a:txBody>
                  <a:tcPr/>
                </a:tc>
                <a:extLst>
                  <a:ext uri="{0D108BD9-81ED-4DB2-BD59-A6C34878D82A}">
                    <a16:rowId xmlns:a16="http://schemas.microsoft.com/office/drawing/2014/main" val="330151547"/>
                  </a:ext>
                </a:extLst>
              </a:tr>
            </a:tbl>
          </a:graphicData>
        </a:graphic>
      </p:graphicFrame>
      <p:grpSp>
        <p:nvGrpSpPr>
          <p:cNvPr id="15" name="Group 14">
            <a:extLst>
              <a:ext uri="{FF2B5EF4-FFF2-40B4-BE49-F238E27FC236}">
                <a16:creationId xmlns:a16="http://schemas.microsoft.com/office/drawing/2014/main" id="{9C780261-4C8F-47DA-A3BC-4054F1C38A10}"/>
              </a:ext>
            </a:extLst>
          </p:cNvPr>
          <p:cNvGrpSpPr/>
          <p:nvPr/>
        </p:nvGrpSpPr>
        <p:grpSpPr>
          <a:xfrm>
            <a:off x="1354967" y="2142699"/>
            <a:ext cx="1574800" cy="3657599"/>
            <a:chOff x="781761" y="2142699"/>
            <a:chExt cx="1574800" cy="3657599"/>
          </a:xfrm>
        </p:grpSpPr>
        <p:sp>
          <p:nvSpPr>
            <p:cNvPr id="16" name="TextBox 15">
              <a:extLst>
                <a:ext uri="{FF2B5EF4-FFF2-40B4-BE49-F238E27FC236}">
                  <a16:creationId xmlns:a16="http://schemas.microsoft.com/office/drawing/2014/main" id="{CE117890-77BB-4DA2-A898-51B81C10C9E1}"/>
                </a:ext>
              </a:extLst>
            </p:cNvPr>
            <p:cNvSpPr txBox="1"/>
            <p:nvPr/>
          </p:nvSpPr>
          <p:spPr>
            <a:xfrm>
              <a:off x="1029008" y="2389973"/>
              <a:ext cx="1080306" cy="523220"/>
            </a:xfrm>
            <a:prstGeom prst="rect">
              <a:avLst/>
            </a:prstGeom>
            <a:noFill/>
          </p:spPr>
          <p:txBody>
            <a:bodyPr wrap="square" rtlCol="0">
              <a:spAutoFit/>
            </a:bodyPr>
            <a:lstStyle/>
            <a:p>
              <a:pPr algn="ctr"/>
              <a:r>
                <a:rPr lang="en-US" sz="1400" b="1">
                  <a:solidFill>
                    <a:schemeClr val="tx1">
                      <a:lumMod val="50000"/>
                    </a:schemeClr>
                  </a:solidFill>
                </a:rPr>
                <a:t>Emotional Benefit</a:t>
              </a:r>
            </a:p>
          </p:txBody>
        </p:sp>
        <p:sp>
          <p:nvSpPr>
            <p:cNvPr id="17" name="TextBox 16">
              <a:extLst>
                <a:ext uri="{FF2B5EF4-FFF2-40B4-BE49-F238E27FC236}">
                  <a16:creationId xmlns:a16="http://schemas.microsoft.com/office/drawing/2014/main" id="{619C8E54-89E5-4231-BB67-D61A8972F98E}"/>
                </a:ext>
              </a:extLst>
            </p:cNvPr>
            <p:cNvSpPr txBox="1"/>
            <p:nvPr/>
          </p:nvSpPr>
          <p:spPr>
            <a:xfrm>
              <a:off x="1029008" y="3672145"/>
              <a:ext cx="1080306" cy="523220"/>
            </a:xfrm>
            <a:prstGeom prst="rect">
              <a:avLst/>
            </a:prstGeom>
            <a:noFill/>
          </p:spPr>
          <p:txBody>
            <a:bodyPr wrap="square" rtlCol="0">
              <a:spAutoFit/>
            </a:bodyPr>
            <a:lstStyle/>
            <a:p>
              <a:pPr algn="ctr"/>
              <a:r>
                <a:rPr lang="en-US" sz="1400" b="1">
                  <a:solidFill>
                    <a:schemeClr val="tx1">
                      <a:lumMod val="50000"/>
                    </a:schemeClr>
                  </a:solidFill>
                </a:rPr>
                <a:t>Functional Benefits</a:t>
              </a:r>
            </a:p>
          </p:txBody>
        </p:sp>
        <p:sp>
          <p:nvSpPr>
            <p:cNvPr id="18" name="TextBox 17">
              <a:extLst>
                <a:ext uri="{FF2B5EF4-FFF2-40B4-BE49-F238E27FC236}">
                  <a16:creationId xmlns:a16="http://schemas.microsoft.com/office/drawing/2014/main" id="{6A7372CB-C35A-4D34-9566-EE9FCB11DF6A}"/>
                </a:ext>
              </a:extLst>
            </p:cNvPr>
            <p:cNvSpPr txBox="1"/>
            <p:nvPr/>
          </p:nvSpPr>
          <p:spPr>
            <a:xfrm>
              <a:off x="1029008" y="4821864"/>
              <a:ext cx="1080306" cy="738664"/>
            </a:xfrm>
            <a:prstGeom prst="rect">
              <a:avLst/>
            </a:prstGeom>
            <a:noFill/>
          </p:spPr>
          <p:txBody>
            <a:bodyPr wrap="square" rtlCol="0">
              <a:spAutoFit/>
            </a:bodyPr>
            <a:lstStyle/>
            <a:p>
              <a:pPr algn="ctr"/>
              <a:r>
                <a:rPr lang="en-US" sz="1400" b="1">
                  <a:solidFill>
                    <a:schemeClr val="tx1">
                      <a:lumMod val="50000"/>
                    </a:schemeClr>
                  </a:solidFill>
                </a:rPr>
                <a:t>Technical or Product Attributes</a:t>
              </a:r>
            </a:p>
          </p:txBody>
        </p:sp>
        <p:grpSp>
          <p:nvGrpSpPr>
            <p:cNvPr id="19" name="Group 18">
              <a:extLst>
                <a:ext uri="{FF2B5EF4-FFF2-40B4-BE49-F238E27FC236}">
                  <a16:creationId xmlns:a16="http://schemas.microsoft.com/office/drawing/2014/main" id="{68E0B992-3089-4731-859C-A33BE618AD83}"/>
                </a:ext>
              </a:extLst>
            </p:cNvPr>
            <p:cNvGrpSpPr/>
            <p:nvPr/>
          </p:nvGrpSpPr>
          <p:grpSpPr>
            <a:xfrm>
              <a:off x="781761" y="2142699"/>
              <a:ext cx="1574800" cy="3657599"/>
              <a:chOff x="2032000" y="2794000"/>
              <a:chExt cx="1574800" cy="3004967"/>
            </a:xfrm>
          </p:grpSpPr>
          <p:grpSp>
            <p:nvGrpSpPr>
              <p:cNvPr id="20" name="Group 19">
                <a:extLst>
                  <a:ext uri="{FF2B5EF4-FFF2-40B4-BE49-F238E27FC236}">
                    <a16:creationId xmlns:a16="http://schemas.microsoft.com/office/drawing/2014/main" id="{F332E772-AA94-4FD8-A638-16789CC795FF}"/>
                  </a:ext>
                </a:extLst>
              </p:cNvPr>
              <p:cNvGrpSpPr/>
              <p:nvPr/>
            </p:nvGrpSpPr>
            <p:grpSpPr>
              <a:xfrm>
                <a:off x="2032000" y="2794000"/>
                <a:ext cx="1574800" cy="3004967"/>
                <a:chOff x="2032000" y="2794000"/>
                <a:chExt cx="1574800" cy="3004967"/>
              </a:xfrm>
            </p:grpSpPr>
            <p:cxnSp>
              <p:nvCxnSpPr>
                <p:cNvPr id="23" name="Straight Connector 22">
                  <a:extLst>
                    <a:ext uri="{FF2B5EF4-FFF2-40B4-BE49-F238E27FC236}">
                      <a16:creationId xmlns:a16="http://schemas.microsoft.com/office/drawing/2014/main" id="{A6E37DC8-E202-4A44-8678-F53432B9D1A5}"/>
                    </a:ext>
                  </a:extLst>
                </p:cNvPr>
                <p:cNvCxnSpPr/>
                <p:nvPr/>
              </p:nvCxnSpPr>
              <p:spPr>
                <a:xfrm>
                  <a:off x="3606800" y="2794000"/>
                  <a:ext cx="0" cy="3004967"/>
                </a:xfrm>
                <a:prstGeom prst="line">
                  <a:avLst/>
                </a:prstGeom>
                <a:ln w="152400" cap="rnd">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3AF052AC-62D9-4974-A44A-6700A4F65582}"/>
                    </a:ext>
                  </a:extLst>
                </p:cNvPr>
                <p:cNvCxnSpPr/>
                <p:nvPr/>
              </p:nvCxnSpPr>
              <p:spPr>
                <a:xfrm>
                  <a:off x="2032000" y="2794000"/>
                  <a:ext cx="0" cy="3004967"/>
                </a:xfrm>
                <a:prstGeom prst="line">
                  <a:avLst/>
                </a:prstGeom>
                <a:ln w="152400" cap="rnd">
                  <a:solidFill>
                    <a:schemeClr val="accent6"/>
                  </a:solidFill>
                </a:ln>
              </p:spPr>
              <p:style>
                <a:lnRef idx="1">
                  <a:schemeClr val="accent1"/>
                </a:lnRef>
                <a:fillRef idx="0">
                  <a:schemeClr val="accent1"/>
                </a:fillRef>
                <a:effectRef idx="0">
                  <a:schemeClr val="accent1"/>
                </a:effectRef>
                <a:fontRef idx="minor">
                  <a:schemeClr val="tx1"/>
                </a:fontRef>
              </p:style>
            </p:cxnSp>
          </p:grpSp>
          <p:cxnSp>
            <p:nvCxnSpPr>
              <p:cNvPr id="21" name="Straight Connector 20">
                <a:extLst>
                  <a:ext uri="{FF2B5EF4-FFF2-40B4-BE49-F238E27FC236}">
                    <a16:creationId xmlns:a16="http://schemas.microsoft.com/office/drawing/2014/main" id="{BD351621-2880-40F4-BEBD-B56625409113}"/>
                  </a:ext>
                </a:extLst>
              </p:cNvPr>
              <p:cNvCxnSpPr/>
              <p:nvPr/>
            </p:nvCxnSpPr>
            <p:spPr>
              <a:xfrm>
                <a:off x="2032000" y="3726329"/>
                <a:ext cx="1574800" cy="0"/>
              </a:xfrm>
              <a:prstGeom prst="line">
                <a:avLst/>
              </a:prstGeom>
              <a:ln w="762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BCE34FF-B03C-4FD5-A3CD-A44BFCD8960A}"/>
                  </a:ext>
                </a:extLst>
              </p:cNvPr>
              <p:cNvCxnSpPr/>
              <p:nvPr/>
            </p:nvCxnSpPr>
            <p:spPr>
              <a:xfrm>
                <a:off x="2032000" y="4781174"/>
                <a:ext cx="1574800" cy="0"/>
              </a:xfrm>
              <a:prstGeom prst="line">
                <a:avLst/>
              </a:prstGeom>
              <a:ln w="76200">
                <a:solidFill>
                  <a:schemeClr val="accent6"/>
                </a:solidFill>
              </a:ln>
            </p:spPr>
            <p:style>
              <a:lnRef idx="1">
                <a:schemeClr val="accent1"/>
              </a:lnRef>
              <a:fillRef idx="0">
                <a:schemeClr val="accent1"/>
              </a:fillRef>
              <a:effectRef idx="0">
                <a:schemeClr val="accent1"/>
              </a:effectRef>
              <a:fontRef idx="minor">
                <a:schemeClr val="tx1"/>
              </a:fontRef>
            </p:style>
          </p:cxnSp>
        </p:grpSp>
      </p:grpSp>
      <p:grpSp>
        <p:nvGrpSpPr>
          <p:cNvPr id="25" name="Group 24">
            <a:extLst>
              <a:ext uri="{FF2B5EF4-FFF2-40B4-BE49-F238E27FC236}">
                <a16:creationId xmlns:a16="http://schemas.microsoft.com/office/drawing/2014/main" id="{B811A9D6-83FC-4FCC-8482-8BE41A2BCD7E}"/>
              </a:ext>
            </a:extLst>
          </p:cNvPr>
          <p:cNvGrpSpPr/>
          <p:nvPr/>
        </p:nvGrpSpPr>
        <p:grpSpPr>
          <a:xfrm>
            <a:off x="10569191" y="-4922"/>
            <a:ext cx="1622809" cy="949673"/>
            <a:chOff x="10569191" y="-4922"/>
            <a:chExt cx="1622809" cy="949673"/>
          </a:xfrm>
        </p:grpSpPr>
        <p:sp>
          <p:nvSpPr>
            <p:cNvPr id="26" name="Round Single Corner Rectangle 23">
              <a:extLst>
                <a:ext uri="{FF2B5EF4-FFF2-40B4-BE49-F238E27FC236}">
                  <a16:creationId xmlns:a16="http://schemas.microsoft.com/office/drawing/2014/main" id="{F65BFBEA-36F4-4350-964E-7B5D91D42940}"/>
                </a:ext>
              </a:extLst>
            </p:cNvPr>
            <p:cNvSpPr/>
            <p:nvPr/>
          </p:nvSpPr>
          <p:spPr>
            <a:xfrm rot="10800000">
              <a:off x="10569191" y="-4922"/>
              <a:ext cx="1622809" cy="949673"/>
            </a:xfrm>
            <a:prstGeom prst="round1Rect">
              <a:avLst>
                <a:gd name="adj" fmla="val 10114"/>
              </a:avLst>
            </a:prstGeom>
            <a:solidFill>
              <a:schemeClr val="tx2">
                <a:lumMod val="20000"/>
                <a:lumOff val="80000"/>
                <a:alpha val="80000"/>
              </a:schemeClr>
            </a:solidFill>
            <a:ln w="9525">
              <a:solidFill>
                <a:schemeClr val="tx2">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7" name="Group 26">
              <a:extLst>
                <a:ext uri="{FF2B5EF4-FFF2-40B4-BE49-F238E27FC236}">
                  <a16:creationId xmlns:a16="http://schemas.microsoft.com/office/drawing/2014/main" id="{CE372C9D-3901-4707-91DC-99790884E156}"/>
                </a:ext>
              </a:extLst>
            </p:cNvPr>
            <p:cNvGrpSpPr/>
            <p:nvPr/>
          </p:nvGrpSpPr>
          <p:grpSpPr>
            <a:xfrm>
              <a:off x="11438780" y="199937"/>
              <a:ext cx="578123" cy="630936"/>
              <a:chOff x="8564651" y="2299084"/>
              <a:chExt cx="578123" cy="630936"/>
            </a:xfrm>
          </p:grpSpPr>
          <p:sp>
            <p:nvSpPr>
              <p:cNvPr id="29" name="Trapezoid 28">
                <a:extLst>
                  <a:ext uri="{FF2B5EF4-FFF2-40B4-BE49-F238E27FC236}">
                    <a16:creationId xmlns:a16="http://schemas.microsoft.com/office/drawing/2014/main" id="{C7B30630-4B03-46FE-B02B-9328F3D9C738}"/>
                  </a:ext>
                </a:extLst>
              </p:cNvPr>
              <p:cNvSpPr/>
              <p:nvPr/>
            </p:nvSpPr>
            <p:spPr>
              <a:xfrm flipV="1">
                <a:off x="8656093" y="2497821"/>
                <a:ext cx="395189" cy="188853"/>
              </a:xfrm>
              <a:prstGeom prst="trapezoid">
                <a:avLst>
                  <a:gd name="adj" fmla="val 4574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30" name="Trapezoid 29">
                <a:extLst>
                  <a:ext uri="{FF2B5EF4-FFF2-40B4-BE49-F238E27FC236}">
                    <a16:creationId xmlns:a16="http://schemas.microsoft.com/office/drawing/2014/main" id="{EBE9E900-4083-461D-8443-D341BD221D94}"/>
                  </a:ext>
                </a:extLst>
              </p:cNvPr>
              <p:cNvSpPr/>
              <p:nvPr/>
            </p:nvSpPr>
            <p:spPr>
              <a:xfrm flipV="1">
                <a:off x="8564651" y="2299084"/>
                <a:ext cx="578123" cy="188964"/>
              </a:xfrm>
              <a:prstGeom prst="trapezoid">
                <a:avLst>
                  <a:gd name="adj" fmla="val 47237"/>
                </a:avLst>
              </a:prstGeom>
              <a:solidFill>
                <a:srgbClr val="1426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31" name="Triangle 27">
                <a:extLst>
                  <a:ext uri="{FF2B5EF4-FFF2-40B4-BE49-F238E27FC236}">
                    <a16:creationId xmlns:a16="http://schemas.microsoft.com/office/drawing/2014/main" id="{5EEB22AE-5173-44BD-A485-B9BCDDB434FB}"/>
                  </a:ext>
                </a:extLst>
              </p:cNvPr>
              <p:cNvSpPr/>
              <p:nvPr/>
            </p:nvSpPr>
            <p:spPr>
              <a:xfrm flipV="1">
                <a:off x="8746604" y="2696448"/>
                <a:ext cx="214167" cy="233572"/>
              </a:xfrm>
              <a:prstGeom prst="triangle">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32" name="Rectangle 31">
                <a:extLst>
                  <a:ext uri="{FF2B5EF4-FFF2-40B4-BE49-F238E27FC236}">
                    <a16:creationId xmlns:a16="http://schemas.microsoft.com/office/drawing/2014/main" id="{CE5BA880-CDAE-4FC6-8426-815A707630C4}"/>
                  </a:ext>
                </a:extLst>
              </p:cNvPr>
              <p:cNvSpPr/>
              <p:nvPr/>
            </p:nvSpPr>
            <p:spPr>
              <a:xfrm>
                <a:off x="8712062" y="2304231"/>
                <a:ext cx="283301" cy="184666"/>
              </a:xfrm>
              <a:prstGeom prst="rect">
                <a:avLst/>
              </a:prstGeom>
              <a:noFill/>
            </p:spPr>
            <p:txBody>
              <a:bodyPr wrap="square">
                <a:spAutoFit/>
              </a:bodyPr>
              <a:lstStyle/>
              <a:p>
                <a:pPr marR="0" lvl="0" algn="ctr" defTabSz="457200" rtl="0" eaLnBrk="1" fontAlgn="auto" latinLnBrk="0" hangingPunct="1">
                  <a:lnSpc>
                    <a:spcPct val="100000"/>
                  </a:lnSpc>
                  <a:spcBef>
                    <a:spcPts val="0"/>
                  </a:spcBef>
                  <a:spcAft>
                    <a:spcPts val="600"/>
                  </a:spcAft>
                  <a:buClrTx/>
                  <a:buSzTx/>
                  <a:tabLst/>
                  <a:defRPr/>
                </a:pPr>
                <a:r>
                  <a:rPr lang="en-US" sz="600">
                    <a:solidFill>
                      <a:schemeClr val="bg1"/>
                    </a:solidFill>
                  </a:rPr>
                  <a:t>T1</a:t>
                </a:r>
              </a:p>
            </p:txBody>
          </p:sp>
          <p:sp>
            <p:nvSpPr>
              <p:cNvPr id="33" name="Rectangle 32">
                <a:extLst>
                  <a:ext uri="{FF2B5EF4-FFF2-40B4-BE49-F238E27FC236}">
                    <a16:creationId xmlns:a16="http://schemas.microsoft.com/office/drawing/2014/main" id="{FC052E43-CF61-4B2E-AE71-452E48BE3BB9}"/>
                  </a:ext>
                </a:extLst>
              </p:cNvPr>
              <p:cNvSpPr/>
              <p:nvPr/>
            </p:nvSpPr>
            <p:spPr>
              <a:xfrm>
                <a:off x="8712062" y="2498960"/>
                <a:ext cx="283301" cy="184666"/>
              </a:xfrm>
              <a:prstGeom prst="rect">
                <a:avLst/>
              </a:prstGeom>
              <a:noFill/>
            </p:spPr>
            <p:txBody>
              <a:bodyPr wrap="square">
                <a:spAutoFit/>
              </a:bodyPr>
              <a:lstStyle/>
              <a:p>
                <a:pPr marR="0" lvl="0" algn="ctr" defTabSz="457200" rtl="0" eaLnBrk="1" fontAlgn="auto" latinLnBrk="0" hangingPunct="1">
                  <a:lnSpc>
                    <a:spcPct val="100000"/>
                  </a:lnSpc>
                  <a:spcBef>
                    <a:spcPts val="0"/>
                  </a:spcBef>
                  <a:spcAft>
                    <a:spcPts val="600"/>
                  </a:spcAft>
                  <a:buClrTx/>
                  <a:buSzTx/>
                  <a:tabLst/>
                  <a:defRPr/>
                </a:pPr>
                <a:r>
                  <a:rPr lang="en-US" sz="600">
                    <a:solidFill>
                      <a:schemeClr val="bg1"/>
                    </a:solidFill>
                  </a:rPr>
                  <a:t>T2</a:t>
                </a:r>
              </a:p>
            </p:txBody>
          </p:sp>
        </p:grpSp>
        <p:pic>
          <p:nvPicPr>
            <p:cNvPr id="28" name="Picture 27">
              <a:extLst>
                <a:ext uri="{FF2B5EF4-FFF2-40B4-BE49-F238E27FC236}">
                  <a16:creationId xmlns:a16="http://schemas.microsoft.com/office/drawing/2014/main" id="{F6849FC3-E95A-47BD-B5CA-B3D923FAFC25}"/>
                </a:ext>
              </a:extLst>
            </p:cNvPr>
            <p:cNvPicPr>
              <a:picLocks noChangeAspect="1"/>
            </p:cNvPicPr>
            <p:nvPr/>
          </p:nvPicPr>
          <p:blipFill>
            <a:blip r:embed="rId3">
              <a:duotone>
                <a:schemeClr val="accent1">
                  <a:shade val="45000"/>
                  <a:satMod val="135000"/>
                </a:schemeClr>
                <a:prstClr val="white"/>
              </a:duotone>
            </a:blip>
            <a:stretch>
              <a:fillRect/>
            </a:stretch>
          </p:blipFill>
          <p:spPr>
            <a:xfrm>
              <a:off x="10798566" y="178326"/>
              <a:ext cx="419348" cy="621792"/>
            </a:xfrm>
            <a:prstGeom prst="rect">
              <a:avLst/>
            </a:prstGeom>
          </p:spPr>
        </p:pic>
      </p:grpSp>
    </p:spTree>
    <p:extLst>
      <p:ext uri="{BB962C8B-B14F-4D97-AF65-F5344CB8AC3E}">
        <p14:creationId xmlns:p14="http://schemas.microsoft.com/office/powerpoint/2010/main" val="400624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D6B0AAF-C128-48C6-AE23-AFA19D7293E7}"/>
              </a:ext>
            </a:extLst>
          </p:cNvPr>
          <p:cNvSpPr>
            <a:spLocks noGrp="1"/>
          </p:cNvSpPr>
          <p:nvPr>
            <p:ph type="title"/>
          </p:nvPr>
        </p:nvSpPr>
        <p:spPr/>
        <p:txBody>
          <a:bodyPr/>
          <a:lstStyle/>
          <a:p>
            <a:r>
              <a:rPr lang="en-US" dirty="0"/>
              <a:t>10 reasons why ENHANCE is so exciting for us!</a:t>
            </a:r>
          </a:p>
        </p:txBody>
      </p:sp>
      <p:sp>
        <p:nvSpPr>
          <p:cNvPr id="3" name="Inhaltsplatzhalter 2">
            <a:extLst>
              <a:ext uri="{FF2B5EF4-FFF2-40B4-BE49-F238E27FC236}">
                <a16:creationId xmlns:a16="http://schemas.microsoft.com/office/drawing/2014/main" id="{E208B7D0-CD8B-4363-B6C0-DCF95B90C4D0}"/>
              </a:ext>
            </a:extLst>
          </p:cNvPr>
          <p:cNvSpPr>
            <a:spLocks noGrp="1"/>
          </p:cNvSpPr>
          <p:nvPr>
            <p:ph sz="quarter" idx="11"/>
          </p:nvPr>
        </p:nvSpPr>
        <p:spPr/>
        <p:txBody>
          <a:bodyPr anchor="t"/>
          <a:lstStyle/>
          <a:p>
            <a:r>
              <a:rPr lang="en-US" dirty="0"/>
              <a:t>Time for something new( Last significant innovation within the PA segment was MacroView in 2003) </a:t>
            </a:r>
          </a:p>
          <a:p>
            <a:r>
              <a:rPr lang="en-US" dirty="0"/>
              <a:t>Margins for PA still 55% ( 2</a:t>
            </a:r>
            <a:r>
              <a:rPr lang="en-US" baseline="30000" dirty="0"/>
              <a:t>nd </a:t>
            </a:r>
            <a:r>
              <a:rPr lang="en-US" dirty="0"/>
              <a:t>highest after Vision Care)</a:t>
            </a:r>
          </a:p>
          <a:p>
            <a:r>
              <a:rPr lang="en-US" dirty="0"/>
              <a:t>~95% indirect business</a:t>
            </a:r>
          </a:p>
          <a:p>
            <a:r>
              <a:rPr lang="en-US" dirty="0" err="1"/>
              <a:t>PanOptic</a:t>
            </a:r>
            <a:r>
              <a:rPr lang="en-US" dirty="0"/>
              <a:t>&amp; MacroView still leading technology</a:t>
            </a:r>
          </a:p>
          <a:p>
            <a:r>
              <a:rPr lang="en-US" dirty="0"/>
              <a:t>Analog/ Hybrid Offer (fully Digital to follow) </a:t>
            </a:r>
          </a:p>
          <a:p>
            <a:r>
              <a:rPr lang="en-US" dirty="0"/>
              <a:t>New handles</a:t>
            </a:r>
          </a:p>
          <a:p>
            <a:r>
              <a:rPr lang="en-US" dirty="0"/>
              <a:t>New Clear specula</a:t>
            </a:r>
          </a:p>
          <a:p>
            <a:r>
              <a:rPr lang="en-US" dirty="0"/>
              <a:t>Opportunity to implement ophthalmoscopy as a standard examination</a:t>
            </a:r>
          </a:p>
          <a:p>
            <a:endParaRPr lang="en-US" dirty="0"/>
          </a:p>
          <a:p>
            <a:r>
              <a:rPr lang="en-US" dirty="0"/>
              <a:t>Excellent customer feedback</a:t>
            </a:r>
          </a:p>
        </p:txBody>
      </p:sp>
      <p:sp>
        <p:nvSpPr>
          <p:cNvPr id="4" name="Foliennummernplatzhalter 3">
            <a:extLst>
              <a:ext uri="{FF2B5EF4-FFF2-40B4-BE49-F238E27FC236}">
                <a16:creationId xmlns:a16="http://schemas.microsoft.com/office/drawing/2014/main" id="{479E8EDC-A83D-4EF3-8739-E554169D4112}"/>
              </a:ext>
            </a:extLst>
          </p:cNvPr>
          <p:cNvSpPr>
            <a:spLocks noGrp="1"/>
          </p:cNvSpPr>
          <p:nvPr>
            <p:ph type="sldNum" sz="quarter" idx="4"/>
          </p:nvPr>
        </p:nvSpPr>
        <p:spPr/>
        <p:txBody>
          <a:bodyPr/>
          <a:lstStyle/>
          <a:p>
            <a:fld id="{982D468C-8F71-314C-A979-931A6F21B3BB}" type="slidenum">
              <a:rPr lang="en-US" smtClean="0"/>
              <a:pPr/>
              <a:t>12</a:t>
            </a:fld>
            <a:endParaRPr lang="en-US"/>
          </a:p>
        </p:txBody>
      </p:sp>
      <p:pic>
        <p:nvPicPr>
          <p:cNvPr id="5" name="Grafik 4">
            <a:extLst>
              <a:ext uri="{FF2B5EF4-FFF2-40B4-BE49-F238E27FC236}">
                <a16:creationId xmlns:a16="http://schemas.microsoft.com/office/drawing/2014/main" id="{70C6EEF1-6495-41C1-AFF8-EC2BBC79A537}"/>
              </a:ext>
            </a:extLst>
          </p:cNvPr>
          <p:cNvPicPr>
            <a:picLocks noChangeAspect="1"/>
          </p:cNvPicPr>
          <p:nvPr/>
        </p:nvPicPr>
        <p:blipFill>
          <a:blip r:embed="rId2"/>
          <a:stretch>
            <a:fillRect/>
          </a:stretch>
        </p:blipFill>
        <p:spPr>
          <a:xfrm>
            <a:off x="8859740" y="2142830"/>
            <a:ext cx="3158683" cy="2369012"/>
          </a:xfrm>
          <a:prstGeom prst="rect">
            <a:avLst/>
          </a:prstGeom>
        </p:spPr>
      </p:pic>
    </p:spTree>
    <p:extLst>
      <p:ext uri="{BB962C8B-B14F-4D97-AF65-F5344CB8AC3E}">
        <p14:creationId xmlns:p14="http://schemas.microsoft.com/office/powerpoint/2010/main" val="19854598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DE84BD3C-2831-42F2-A3AB-6B3A6F120E05}"/>
              </a:ext>
            </a:extLst>
          </p:cNvPr>
          <p:cNvSpPr>
            <a:spLocks noGrp="1"/>
          </p:cNvSpPr>
          <p:nvPr>
            <p:ph type="sldNum" sz="quarter" idx="4"/>
          </p:nvPr>
        </p:nvSpPr>
        <p:spPr/>
        <p:txBody>
          <a:bodyPr/>
          <a:lstStyle/>
          <a:p>
            <a:fld id="{982D468C-8F71-314C-A979-931A6F21B3BB}" type="slidenum">
              <a:rPr lang="en-US" smtClean="0"/>
              <a:pPr/>
              <a:t>13</a:t>
            </a:fld>
            <a:endParaRPr lang="en-US"/>
          </a:p>
        </p:txBody>
      </p:sp>
      <p:sp>
        <p:nvSpPr>
          <p:cNvPr id="5" name="Rechteck 4">
            <a:extLst>
              <a:ext uri="{FF2B5EF4-FFF2-40B4-BE49-F238E27FC236}">
                <a16:creationId xmlns:a16="http://schemas.microsoft.com/office/drawing/2014/main" id="{14589C73-9C04-4B70-83F7-9B68CC302310}"/>
              </a:ext>
            </a:extLst>
          </p:cNvPr>
          <p:cNvSpPr/>
          <p:nvPr/>
        </p:nvSpPr>
        <p:spPr>
          <a:xfrm>
            <a:off x="7898281" y="1906342"/>
            <a:ext cx="2719450" cy="15437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OW, I have never seen such type of detail before</a:t>
            </a:r>
          </a:p>
        </p:txBody>
      </p:sp>
      <p:sp>
        <p:nvSpPr>
          <p:cNvPr id="6" name="Ellipse 5">
            <a:extLst>
              <a:ext uri="{FF2B5EF4-FFF2-40B4-BE49-F238E27FC236}">
                <a16:creationId xmlns:a16="http://schemas.microsoft.com/office/drawing/2014/main" id="{E3852486-CE88-4104-AD9C-1E41FC194F5B}"/>
              </a:ext>
            </a:extLst>
          </p:cNvPr>
          <p:cNvSpPr/>
          <p:nvPr/>
        </p:nvSpPr>
        <p:spPr>
          <a:xfrm>
            <a:off x="1577530" y="3747102"/>
            <a:ext cx="3752603" cy="167798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ith such a type of device I would use an ophthalmoscope regularly</a:t>
            </a:r>
          </a:p>
        </p:txBody>
      </p:sp>
      <p:sp>
        <p:nvSpPr>
          <p:cNvPr id="7" name="Rechteck: abgerundete Ecken 6">
            <a:extLst>
              <a:ext uri="{FF2B5EF4-FFF2-40B4-BE49-F238E27FC236}">
                <a16:creationId xmlns:a16="http://schemas.microsoft.com/office/drawing/2014/main" id="{22A93CBA-40DD-460D-A5A2-A246CB504798}"/>
              </a:ext>
            </a:extLst>
          </p:cNvPr>
          <p:cNvSpPr/>
          <p:nvPr/>
        </p:nvSpPr>
        <p:spPr>
          <a:xfrm>
            <a:off x="4820239" y="1241006"/>
            <a:ext cx="1769424" cy="154379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t>I could check for papilledema myself the first time</a:t>
            </a:r>
            <a:endParaRPr lang="en-US" dirty="0"/>
          </a:p>
        </p:txBody>
      </p:sp>
      <p:sp>
        <p:nvSpPr>
          <p:cNvPr id="8" name="Rechteck 7">
            <a:extLst>
              <a:ext uri="{FF2B5EF4-FFF2-40B4-BE49-F238E27FC236}">
                <a16:creationId xmlns:a16="http://schemas.microsoft.com/office/drawing/2014/main" id="{1047F061-93DA-491C-8B64-91EB5DEF2429}"/>
              </a:ext>
            </a:extLst>
          </p:cNvPr>
          <p:cNvSpPr/>
          <p:nvPr/>
        </p:nvSpPr>
        <p:spPr>
          <a:xfrm>
            <a:off x="6682855" y="3671360"/>
            <a:ext cx="2017759" cy="15437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Such a  great result using this device the first time</a:t>
            </a:r>
            <a:endParaRPr lang="en-US" dirty="0"/>
          </a:p>
          <a:p>
            <a:pPr algn="ctr"/>
            <a:endParaRPr lang="en-US" dirty="0"/>
          </a:p>
        </p:txBody>
      </p:sp>
      <p:sp>
        <p:nvSpPr>
          <p:cNvPr id="16" name="Rechteck 15">
            <a:extLst>
              <a:ext uri="{FF2B5EF4-FFF2-40B4-BE49-F238E27FC236}">
                <a16:creationId xmlns:a16="http://schemas.microsoft.com/office/drawing/2014/main" id="{73E648BF-9C9E-46E2-998A-0EF0035E16DA}"/>
              </a:ext>
            </a:extLst>
          </p:cNvPr>
          <p:cNvSpPr/>
          <p:nvPr/>
        </p:nvSpPr>
        <p:spPr>
          <a:xfrm>
            <a:off x="572043" y="1871683"/>
            <a:ext cx="2719450" cy="15437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First time I see the background of the eye like this.</a:t>
            </a:r>
          </a:p>
        </p:txBody>
      </p:sp>
      <p:sp>
        <p:nvSpPr>
          <p:cNvPr id="18" name="Rounded Rectangular Callout 3">
            <a:extLst>
              <a:ext uri="{FF2B5EF4-FFF2-40B4-BE49-F238E27FC236}">
                <a16:creationId xmlns:a16="http://schemas.microsoft.com/office/drawing/2014/main" id="{5AED12CD-EA53-4E54-BA18-50338370FF58}"/>
              </a:ext>
            </a:extLst>
          </p:cNvPr>
          <p:cNvSpPr/>
          <p:nvPr/>
        </p:nvSpPr>
        <p:spPr>
          <a:xfrm>
            <a:off x="7305780" y="469761"/>
            <a:ext cx="1467465" cy="1173087"/>
          </a:xfrm>
          <a:prstGeom prst="wedgeRoundRectCallou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9728"/>
            <a:r>
              <a:rPr lang="en-US" sz="1400" dirty="0">
                <a:solidFill>
                  <a:prstClr val="white"/>
                </a:solidFill>
              </a:rPr>
              <a:t>“This is text book, text book – this is perfect” </a:t>
            </a:r>
          </a:p>
        </p:txBody>
      </p:sp>
      <p:sp>
        <p:nvSpPr>
          <p:cNvPr id="19" name="Rounded Rectangular Callout 4">
            <a:extLst>
              <a:ext uri="{FF2B5EF4-FFF2-40B4-BE49-F238E27FC236}">
                <a16:creationId xmlns:a16="http://schemas.microsoft.com/office/drawing/2014/main" id="{E3E5E398-0EF7-4BFF-BE0E-29CC30CF06E3}"/>
              </a:ext>
            </a:extLst>
          </p:cNvPr>
          <p:cNvSpPr/>
          <p:nvPr/>
        </p:nvSpPr>
        <p:spPr>
          <a:xfrm>
            <a:off x="9349968" y="3677280"/>
            <a:ext cx="2337620" cy="1258529"/>
          </a:xfrm>
          <a:prstGeom prst="wedgeRoundRectCallou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prstClr val="white"/>
                </a:solidFill>
              </a:rPr>
              <a:t>“This would make it more fun…get the view right away, then you get your pathology”</a:t>
            </a:r>
          </a:p>
        </p:txBody>
      </p:sp>
      <p:sp>
        <p:nvSpPr>
          <p:cNvPr id="20" name="Rounded Rectangular Callout 5">
            <a:extLst>
              <a:ext uri="{FF2B5EF4-FFF2-40B4-BE49-F238E27FC236}">
                <a16:creationId xmlns:a16="http://schemas.microsoft.com/office/drawing/2014/main" id="{610490E1-F268-4C1A-B002-7782347BF174}"/>
              </a:ext>
            </a:extLst>
          </p:cNvPr>
          <p:cNvSpPr/>
          <p:nvPr/>
        </p:nvSpPr>
        <p:spPr>
          <a:xfrm>
            <a:off x="8168188" y="5449666"/>
            <a:ext cx="3429000" cy="521110"/>
          </a:xfrm>
          <a:prstGeom prst="wedgeRoundRectCallou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prstClr val="white"/>
                </a:solidFill>
              </a:rPr>
              <a:t>“I can see the pathology better and feel more confident in my diagnosis”</a:t>
            </a:r>
          </a:p>
        </p:txBody>
      </p:sp>
      <p:sp>
        <p:nvSpPr>
          <p:cNvPr id="21" name="Rounded Rectangular Callout 6">
            <a:extLst>
              <a:ext uri="{FF2B5EF4-FFF2-40B4-BE49-F238E27FC236}">
                <a16:creationId xmlns:a16="http://schemas.microsoft.com/office/drawing/2014/main" id="{AE72C7FE-CD8B-420B-8BAE-AB07AC27E715}"/>
              </a:ext>
            </a:extLst>
          </p:cNvPr>
          <p:cNvSpPr/>
          <p:nvPr/>
        </p:nvSpPr>
        <p:spPr>
          <a:xfrm>
            <a:off x="572044" y="252291"/>
            <a:ext cx="2904722" cy="1124716"/>
          </a:xfrm>
          <a:prstGeom prst="wedgeRoundRectCallou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prstClr val="white"/>
                </a:solidFill>
              </a:rPr>
              <a:t>“What isn’t there to like” – my interest goes up 4x just like the image”</a:t>
            </a:r>
          </a:p>
        </p:txBody>
      </p:sp>
      <p:sp>
        <p:nvSpPr>
          <p:cNvPr id="22" name="Rounded Rectangular Callout 7">
            <a:extLst>
              <a:ext uri="{FF2B5EF4-FFF2-40B4-BE49-F238E27FC236}">
                <a16:creationId xmlns:a16="http://schemas.microsoft.com/office/drawing/2014/main" id="{F50631D7-8395-4562-A76C-5035D77579D4}"/>
              </a:ext>
            </a:extLst>
          </p:cNvPr>
          <p:cNvSpPr/>
          <p:nvPr/>
        </p:nvSpPr>
        <p:spPr>
          <a:xfrm>
            <a:off x="3616170" y="2865606"/>
            <a:ext cx="3101305" cy="1015771"/>
          </a:xfrm>
          <a:prstGeom prst="wedgeRoundRectCallou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prstClr val="white"/>
                </a:solidFill>
              </a:rPr>
              <a:t>“(with this)…I would not think twice about using an Ophthalmoscope, I would just pull it out and use it”</a:t>
            </a:r>
          </a:p>
        </p:txBody>
      </p:sp>
      <p:sp>
        <p:nvSpPr>
          <p:cNvPr id="23" name="Rounded Rectangular Callout 8">
            <a:extLst>
              <a:ext uri="{FF2B5EF4-FFF2-40B4-BE49-F238E27FC236}">
                <a16:creationId xmlns:a16="http://schemas.microsoft.com/office/drawing/2014/main" id="{F326A7A6-09F8-4E5D-9B8D-58D264FC043E}"/>
              </a:ext>
            </a:extLst>
          </p:cNvPr>
          <p:cNvSpPr/>
          <p:nvPr/>
        </p:nvSpPr>
        <p:spPr>
          <a:xfrm>
            <a:off x="9258006" y="428733"/>
            <a:ext cx="2009468" cy="771831"/>
          </a:xfrm>
          <a:prstGeom prst="wedgeRoundRectCallou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prstClr val="white"/>
                </a:solidFill>
              </a:rPr>
              <a:t>“That large I can make a diagnosis myself”</a:t>
            </a:r>
          </a:p>
        </p:txBody>
      </p:sp>
      <p:sp>
        <p:nvSpPr>
          <p:cNvPr id="24" name="Rounded Rectangular Callout 10">
            <a:extLst>
              <a:ext uri="{FF2B5EF4-FFF2-40B4-BE49-F238E27FC236}">
                <a16:creationId xmlns:a16="http://schemas.microsoft.com/office/drawing/2014/main" id="{A31D5B70-5AA4-4511-8570-94E5E57BE7C7}"/>
              </a:ext>
            </a:extLst>
          </p:cNvPr>
          <p:cNvSpPr/>
          <p:nvPr/>
        </p:nvSpPr>
        <p:spPr>
          <a:xfrm>
            <a:off x="4536770" y="5609202"/>
            <a:ext cx="3502742" cy="570271"/>
          </a:xfrm>
          <a:prstGeom prst="wedgeRoundRectCallou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prstClr val="white"/>
                </a:solidFill>
              </a:rPr>
              <a:t>“Huge improvement on blood vessels – a gazillion times better”</a:t>
            </a:r>
          </a:p>
        </p:txBody>
      </p:sp>
      <p:sp>
        <p:nvSpPr>
          <p:cNvPr id="25" name="Rounded Rectangular Callout 11">
            <a:extLst>
              <a:ext uri="{FF2B5EF4-FFF2-40B4-BE49-F238E27FC236}">
                <a16:creationId xmlns:a16="http://schemas.microsoft.com/office/drawing/2014/main" id="{3C11384D-4C5F-4251-A239-5FDD777C7E51}"/>
              </a:ext>
            </a:extLst>
          </p:cNvPr>
          <p:cNvSpPr/>
          <p:nvPr/>
        </p:nvSpPr>
        <p:spPr>
          <a:xfrm>
            <a:off x="4926616" y="298094"/>
            <a:ext cx="1467465" cy="669774"/>
          </a:xfrm>
          <a:prstGeom prst="wedgeRoundRectCallou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prstClr val="white"/>
                </a:solidFill>
              </a:rPr>
              <a:t>“Dramatically improved”</a:t>
            </a:r>
            <a:endParaRPr lang="en-US" sz="1400" dirty="0">
              <a:solidFill>
                <a:prstClr val="white"/>
              </a:solidFill>
            </a:endParaRPr>
          </a:p>
        </p:txBody>
      </p:sp>
      <p:sp>
        <p:nvSpPr>
          <p:cNvPr id="26" name="Rounded Rectangular Callout 12">
            <a:extLst>
              <a:ext uri="{FF2B5EF4-FFF2-40B4-BE49-F238E27FC236}">
                <a16:creationId xmlns:a16="http://schemas.microsoft.com/office/drawing/2014/main" id="{109D18EC-0091-4574-AFB8-6FDD4AD5CC63}"/>
              </a:ext>
            </a:extLst>
          </p:cNvPr>
          <p:cNvSpPr/>
          <p:nvPr/>
        </p:nvSpPr>
        <p:spPr>
          <a:xfrm>
            <a:off x="1432086" y="5374887"/>
            <a:ext cx="1708832" cy="950640"/>
          </a:xfrm>
          <a:prstGeom prst="wedgeRoundRectCallou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prstClr val="white"/>
                </a:solidFill>
              </a:rPr>
              <a:t>“To me, this (eye) is more dramatic than other image”</a:t>
            </a:r>
          </a:p>
        </p:txBody>
      </p:sp>
      <p:sp>
        <p:nvSpPr>
          <p:cNvPr id="27" name="Rounded Rectangular Callout 9">
            <a:extLst>
              <a:ext uri="{FF2B5EF4-FFF2-40B4-BE49-F238E27FC236}">
                <a16:creationId xmlns:a16="http://schemas.microsoft.com/office/drawing/2014/main" id="{FABD81A4-0853-483F-A8B0-2F95707AE446}"/>
              </a:ext>
            </a:extLst>
          </p:cNvPr>
          <p:cNvSpPr/>
          <p:nvPr/>
        </p:nvSpPr>
        <p:spPr>
          <a:xfrm>
            <a:off x="94504" y="4064635"/>
            <a:ext cx="1252489" cy="612648"/>
          </a:xfrm>
          <a:prstGeom prst="wedgeRoundRectCallou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white"/>
                </a:solidFill>
              </a:rPr>
              <a:t>“Beautiful”</a:t>
            </a:r>
          </a:p>
        </p:txBody>
      </p:sp>
    </p:spTree>
    <p:extLst>
      <p:ext uri="{BB962C8B-B14F-4D97-AF65-F5344CB8AC3E}">
        <p14:creationId xmlns:p14="http://schemas.microsoft.com/office/powerpoint/2010/main" val="28941634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755BE8D-9AF4-402C-98C5-6104879F3942}"/>
              </a:ext>
            </a:extLst>
          </p:cNvPr>
          <p:cNvSpPr>
            <a:spLocks noGrp="1"/>
          </p:cNvSpPr>
          <p:nvPr>
            <p:ph type="title"/>
          </p:nvPr>
        </p:nvSpPr>
        <p:spPr/>
        <p:txBody>
          <a:bodyPr/>
          <a:lstStyle/>
          <a:p>
            <a:r>
              <a:rPr lang="en-US" dirty="0"/>
              <a:t>EMEA Financials /Portfolio Overview/Impact</a:t>
            </a:r>
          </a:p>
        </p:txBody>
      </p:sp>
      <p:sp>
        <p:nvSpPr>
          <p:cNvPr id="4" name="Foliennummernplatzhalter 3">
            <a:extLst>
              <a:ext uri="{FF2B5EF4-FFF2-40B4-BE49-F238E27FC236}">
                <a16:creationId xmlns:a16="http://schemas.microsoft.com/office/drawing/2014/main" id="{22C834B8-E991-42BD-83CF-1EE1E103EE7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2D468C-8F71-314C-A979-931A6F21B3BB}" type="slidenum">
              <a:rPr kumimoji="0" lang="en-US" sz="800" b="1" i="0" u="none" strike="noStrike" kern="1200" cap="none" spc="0" normalizeH="0" baseline="0" noProof="0" smtClean="0">
                <a:ln>
                  <a:noFill/>
                </a:ln>
                <a:solidFill>
                  <a:prstClr val="black">
                    <a:tint val="75000"/>
                  </a:prstClr>
                </a:solidFill>
                <a:effectLst/>
                <a:uLnTx/>
                <a:uFillTx/>
                <a:latin typeface="Century Gothic" panose="020F03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800" b="1" i="0" u="none" strike="noStrike" kern="1200" cap="none" spc="0" normalizeH="0" baseline="0" noProof="0">
              <a:ln>
                <a:noFill/>
              </a:ln>
              <a:solidFill>
                <a:prstClr val="black">
                  <a:tint val="75000"/>
                </a:prstClr>
              </a:solidFill>
              <a:effectLst/>
              <a:uLnTx/>
              <a:uFillTx/>
              <a:latin typeface="Century Gothic" panose="020F0302020204030204"/>
              <a:ea typeface="+mn-ea"/>
              <a:cs typeface="+mn-cs"/>
            </a:endParaRPr>
          </a:p>
        </p:txBody>
      </p:sp>
      <p:pic>
        <p:nvPicPr>
          <p:cNvPr id="10" name="Inhaltsplatzhalter 9">
            <a:extLst>
              <a:ext uri="{FF2B5EF4-FFF2-40B4-BE49-F238E27FC236}">
                <a16:creationId xmlns:a16="http://schemas.microsoft.com/office/drawing/2014/main" id="{C4F3E0C0-600B-4D8F-BCEB-5800A4465F58}"/>
              </a:ext>
            </a:extLst>
          </p:cNvPr>
          <p:cNvPicPr>
            <a:picLocks noGrp="1" noChangeAspect="1"/>
          </p:cNvPicPr>
          <p:nvPr>
            <p:ph sz="quarter" idx="16"/>
          </p:nvPr>
        </p:nvPicPr>
        <p:blipFill>
          <a:blip r:embed="rId2"/>
          <a:stretch>
            <a:fillRect/>
          </a:stretch>
        </p:blipFill>
        <p:spPr>
          <a:xfrm>
            <a:off x="564945" y="2037850"/>
            <a:ext cx="6315801" cy="3076591"/>
          </a:xfrm>
          <a:prstGeom prst="rect">
            <a:avLst/>
          </a:prstGeom>
        </p:spPr>
      </p:pic>
      <p:sp>
        <p:nvSpPr>
          <p:cNvPr id="11" name="Textfeld 10">
            <a:extLst>
              <a:ext uri="{FF2B5EF4-FFF2-40B4-BE49-F238E27FC236}">
                <a16:creationId xmlns:a16="http://schemas.microsoft.com/office/drawing/2014/main" id="{B0B34825-B775-4C50-9ACD-E579116C22D3}"/>
              </a:ext>
            </a:extLst>
          </p:cNvPr>
          <p:cNvSpPr txBox="1"/>
          <p:nvPr/>
        </p:nvSpPr>
        <p:spPr>
          <a:xfrm>
            <a:off x="887351" y="5114441"/>
            <a:ext cx="910452" cy="369332"/>
          </a:xfrm>
          <a:prstGeom prst="rect">
            <a:avLst/>
          </a:prstGeom>
          <a:solidFill>
            <a:srgbClr val="FFFF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entury Gothic" panose="020F0302020204030204"/>
              <a:ea typeface="+mn-ea"/>
              <a:cs typeface="+mn-cs"/>
            </a:endParaRPr>
          </a:p>
        </p:txBody>
      </p:sp>
      <p:sp>
        <p:nvSpPr>
          <p:cNvPr id="12" name="Textfeld 11">
            <a:extLst>
              <a:ext uri="{FF2B5EF4-FFF2-40B4-BE49-F238E27FC236}">
                <a16:creationId xmlns:a16="http://schemas.microsoft.com/office/drawing/2014/main" id="{99FEADA5-4005-43CE-A504-D8AC1D133151}"/>
              </a:ext>
            </a:extLst>
          </p:cNvPr>
          <p:cNvSpPr txBox="1"/>
          <p:nvPr/>
        </p:nvSpPr>
        <p:spPr>
          <a:xfrm>
            <a:off x="887351" y="5636173"/>
            <a:ext cx="910452" cy="369332"/>
          </a:xfrm>
          <a:prstGeom prst="rect">
            <a:avLst/>
          </a:prstGeom>
          <a:solidFill>
            <a:srgbClr val="62D9D7"/>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entury Gothic" panose="020F0302020204030204"/>
              <a:ea typeface="+mn-ea"/>
              <a:cs typeface="+mn-cs"/>
            </a:endParaRPr>
          </a:p>
        </p:txBody>
      </p:sp>
      <p:sp>
        <p:nvSpPr>
          <p:cNvPr id="14" name="Textfeld 13">
            <a:extLst>
              <a:ext uri="{FF2B5EF4-FFF2-40B4-BE49-F238E27FC236}">
                <a16:creationId xmlns:a16="http://schemas.microsoft.com/office/drawing/2014/main" id="{8F47B771-4D44-431A-9DCC-1E464A5BB126}"/>
              </a:ext>
            </a:extLst>
          </p:cNvPr>
          <p:cNvSpPr txBox="1"/>
          <p:nvPr/>
        </p:nvSpPr>
        <p:spPr>
          <a:xfrm>
            <a:off x="1813982" y="5114441"/>
            <a:ext cx="4800573"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entury Gothic" panose="020F0302020204030204"/>
                <a:ea typeface="+mn-ea"/>
                <a:cs typeface="+mn-cs"/>
              </a:rPr>
              <a:t>Partial replace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entury Gothic" panose="020F03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entury Gothic" panose="020F0302020204030204"/>
                <a:ea typeface="+mn-ea"/>
                <a:cs typeface="+mn-cs"/>
              </a:rPr>
              <a:t>Significant  Substitute with new ENHANCE series</a:t>
            </a:r>
          </a:p>
        </p:txBody>
      </p:sp>
      <p:pic>
        <p:nvPicPr>
          <p:cNvPr id="15" name="Grafik 14">
            <a:extLst>
              <a:ext uri="{FF2B5EF4-FFF2-40B4-BE49-F238E27FC236}">
                <a16:creationId xmlns:a16="http://schemas.microsoft.com/office/drawing/2014/main" id="{9622FC9F-81D1-470E-8B77-EA9F273B55F7}"/>
              </a:ext>
            </a:extLst>
          </p:cNvPr>
          <p:cNvPicPr>
            <a:picLocks noChangeAspect="1"/>
          </p:cNvPicPr>
          <p:nvPr/>
        </p:nvPicPr>
        <p:blipFill>
          <a:blip r:embed="rId3"/>
          <a:stretch>
            <a:fillRect/>
          </a:stretch>
        </p:blipFill>
        <p:spPr>
          <a:xfrm>
            <a:off x="7793677" y="4061470"/>
            <a:ext cx="1825861" cy="1814589"/>
          </a:xfrm>
          <a:prstGeom prst="rect">
            <a:avLst/>
          </a:prstGeom>
        </p:spPr>
      </p:pic>
      <p:pic>
        <p:nvPicPr>
          <p:cNvPr id="16" name="Grafik 15">
            <a:extLst>
              <a:ext uri="{FF2B5EF4-FFF2-40B4-BE49-F238E27FC236}">
                <a16:creationId xmlns:a16="http://schemas.microsoft.com/office/drawing/2014/main" id="{E859AD9B-B28F-4100-9AE8-D4DCD2F077FC}"/>
              </a:ext>
            </a:extLst>
          </p:cNvPr>
          <p:cNvPicPr>
            <a:picLocks noChangeAspect="1"/>
          </p:cNvPicPr>
          <p:nvPr/>
        </p:nvPicPr>
        <p:blipFill rotWithShape="1">
          <a:blip r:embed="rId4"/>
          <a:srcRect t="32900" b="29524"/>
          <a:stretch/>
        </p:blipFill>
        <p:spPr>
          <a:xfrm>
            <a:off x="7711659" y="2939202"/>
            <a:ext cx="1453331" cy="546100"/>
          </a:xfrm>
          <a:prstGeom prst="rect">
            <a:avLst/>
          </a:prstGeom>
        </p:spPr>
      </p:pic>
      <p:pic>
        <p:nvPicPr>
          <p:cNvPr id="17" name="Grafik 16">
            <a:extLst>
              <a:ext uri="{FF2B5EF4-FFF2-40B4-BE49-F238E27FC236}">
                <a16:creationId xmlns:a16="http://schemas.microsoft.com/office/drawing/2014/main" id="{4A72D8A2-67EA-4692-8CAB-69870287F922}"/>
              </a:ext>
            </a:extLst>
          </p:cNvPr>
          <p:cNvPicPr>
            <a:picLocks noChangeAspect="1"/>
          </p:cNvPicPr>
          <p:nvPr/>
        </p:nvPicPr>
        <p:blipFill rotWithShape="1">
          <a:blip r:embed="rId5"/>
          <a:srcRect t="20466" b="21117"/>
          <a:stretch/>
        </p:blipFill>
        <p:spPr>
          <a:xfrm>
            <a:off x="7711659" y="2082230"/>
            <a:ext cx="961376" cy="561608"/>
          </a:xfrm>
          <a:prstGeom prst="rect">
            <a:avLst/>
          </a:prstGeom>
        </p:spPr>
      </p:pic>
      <p:pic>
        <p:nvPicPr>
          <p:cNvPr id="18" name="Grafik 17">
            <a:extLst>
              <a:ext uri="{FF2B5EF4-FFF2-40B4-BE49-F238E27FC236}">
                <a16:creationId xmlns:a16="http://schemas.microsoft.com/office/drawing/2014/main" id="{04FCA6D8-F636-4381-8526-9F1216AF5927}"/>
              </a:ext>
            </a:extLst>
          </p:cNvPr>
          <p:cNvPicPr>
            <a:picLocks noChangeAspect="1"/>
          </p:cNvPicPr>
          <p:nvPr/>
        </p:nvPicPr>
        <p:blipFill>
          <a:blip r:embed="rId6"/>
          <a:stretch>
            <a:fillRect/>
          </a:stretch>
        </p:blipFill>
        <p:spPr>
          <a:xfrm>
            <a:off x="8706607" y="1785662"/>
            <a:ext cx="961376" cy="961376"/>
          </a:xfrm>
          <a:prstGeom prst="rect">
            <a:avLst/>
          </a:prstGeom>
        </p:spPr>
      </p:pic>
      <p:sp>
        <p:nvSpPr>
          <p:cNvPr id="19" name="Textfeld 18">
            <a:extLst>
              <a:ext uri="{FF2B5EF4-FFF2-40B4-BE49-F238E27FC236}">
                <a16:creationId xmlns:a16="http://schemas.microsoft.com/office/drawing/2014/main" id="{CD74A710-8E7B-40BA-8960-BC0EA6349B5A}"/>
              </a:ext>
            </a:extLst>
          </p:cNvPr>
          <p:cNvSpPr txBox="1"/>
          <p:nvPr/>
        </p:nvSpPr>
        <p:spPr>
          <a:xfrm>
            <a:off x="9619538" y="4468110"/>
            <a:ext cx="206977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entury Gothic" panose="020F0302020204030204"/>
                <a:ea typeface="+mn-ea"/>
                <a:cs typeface="+mn-cs"/>
              </a:rPr>
              <a:t>New heads only</a:t>
            </a:r>
          </a:p>
        </p:txBody>
      </p:sp>
      <p:sp>
        <p:nvSpPr>
          <p:cNvPr id="20" name="Textfeld 19">
            <a:extLst>
              <a:ext uri="{FF2B5EF4-FFF2-40B4-BE49-F238E27FC236}">
                <a16:creationId xmlns:a16="http://schemas.microsoft.com/office/drawing/2014/main" id="{F0B0EEE6-39BA-4611-809D-62797AF3CC40}"/>
              </a:ext>
            </a:extLst>
          </p:cNvPr>
          <p:cNvSpPr txBox="1"/>
          <p:nvPr/>
        </p:nvSpPr>
        <p:spPr>
          <a:xfrm>
            <a:off x="9619538" y="2877405"/>
            <a:ext cx="2069771"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entury Gothic" panose="020F0302020204030204"/>
                <a:ea typeface="+mn-ea"/>
                <a:cs typeface="+mn-cs"/>
              </a:rPr>
              <a:t>New transparent specs as an additional offer</a:t>
            </a:r>
          </a:p>
        </p:txBody>
      </p:sp>
      <p:sp>
        <p:nvSpPr>
          <p:cNvPr id="21" name="Textfeld 20">
            <a:extLst>
              <a:ext uri="{FF2B5EF4-FFF2-40B4-BE49-F238E27FC236}">
                <a16:creationId xmlns:a16="http://schemas.microsoft.com/office/drawing/2014/main" id="{E37D2B95-4A8A-4A74-BBF8-DB7C5773A826}"/>
              </a:ext>
            </a:extLst>
          </p:cNvPr>
          <p:cNvSpPr txBox="1"/>
          <p:nvPr/>
        </p:nvSpPr>
        <p:spPr>
          <a:xfrm>
            <a:off x="9715620" y="1915302"/>
            <a:ext cx="1885455"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entury Gothic" panose="020F0302020204030204"/>
                <a:ea typeface="+mn-ea"/>
                <a:cs typeface="+mn-cs"/>
              </a:rPr>
              <a:t>Still required for installed base</a:t>
            </a:r>
          </a:p>
        </p:txBody>
      </p:sp>
    </p:spTree>
    <p:extLst>
      <p:ext uri="{BB962C8B-B14F-4D97-AF65-F5344CB8AC3E}">
        <p14:creationId xmlns:p14="http://schemas.microsoft.com/office/powerpoint/2010/main" val="35162455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2E12B0-E66C-4767-B82E-DFA4D8CD2DE0}"/>
              </a:ext>
            </a:extLst>
          </p:cNvPr>
          <p:cNvSpPr>
            <a:spLocks noGrp="1"/>
          </p:cNvSpPr>
          <p:nvPr>
            <p:ph type="title"/>
          </p:nvPr>
        </p:nvSpPr>
        <p:spPr>
          <a:xfrm>
            <a:off x="668121" y="320966"/>
            <a:ext cx="10857364" cy="848492"/>
          </a:xfrm>
        </p:spPr>
        <p:txBody>
          <a:bodyPr/>
          <a:lstStyle/>
          <a:p>
            <a:r>
              <a:rPr lang="en-US" dirty="0"/>
              <a:t>Enhance Executive Summary – EMEA</a:t>
            </a:r>
          </a:p>
        </p:txBody>
      </p:sp>
      <p:sp>
        <p:nvSpPr>
          <p:cNvPr id="4" name="Text Placeholder 3">
            <a:extLst>
              <a:ext uri="{FF2B5EF4-FFF2-40B4-BE49-F238E27FC236}">
                <a16:creationId xmlns:a16="http://schemas.microsoft.com/office/drawing/2014/main" id="{15CE121D-B18D-4F13-9EFB-66699B5B00A5}"/>
              </a:ext>
            </a:extLst>
          </p:cNvPr>
          <p:cNvSpPr>
            <a:spLocks noGrp="1"/>
          </p:cNvSpPr>
          <p:nvPr>
            <p:ph type="body" sz="quarter" idx="13"/>
          </p:nvPr>
        </p:nvSpPr>
        <p:spPr>
          <a:xfrm>
            <a:off x="887351" y="4404"/>
            <a:ext cx="2427139" cy="237886"/>
          </a:xfrm>
        </p:spPr>
        <p:txBody>
          <a:bodyPr/>
          <a:lstStyle/>
          <a:p>
            <a:r>
              <a:rPr lang="en-US"/>
              <a:t>Physical exam &amp; diagnostics</a:t>
            </a:r>
          </a:p>
        </p:txBody>
      </p:sp>
      <p:graphicFrame>
        <p:nvGraphicFramePr>
          <p:cNvPr id="6" name="Content Placeholder 17">
            <a:extLst>
              <a:ext uri="{FF2B5EF4-FFF2-40B4-BE49-F238E27FC236}">
                <a16:creationId xmlns:a16="http://schemas.microsoft.com/office/drawing/2014/main" id="{628C930E-0519-4D37-9DCA-2D5A5B6D9A75}"/>
              </a:ext>
            </a:extLst>
          </p:cNvPr>
          <p:cNvGraphicFramePr>
            <a:graphicFrameLocks/>
          </p:cNvGraphicFramePr>
          <p:nvPr>
            <p:extLst>
              <p:ext uri="{D42A27DB-BD31-4B8C-83A1-F6EECF244321}">
                <p14:modId xmlns:p14="http://schemas.microsoft.com/office/powerpoint/2010/main" val="623762308"/>
              </p:ext>
            </p:extLst>
          </p:nvPr>
        </p:nvGraphicFramePr>
        <p:xfrm>
          <a:off x="667318" y="913542"/>
          <a:ext cx="10857364" cy="5612842"/>
        </p:xfrm>
        <a:graphic>
          <a:graphicData uri="http://schemas.openxmlformats.org/drawingml/2006/table">
            <a:tbl>
              <a:tblPr>
                <a:tableStyleId>{3B4B98B0-60AC-42C2-AFA5-B58CD77FA1E5}</a:tableStyleId>
              </a:tblPr>
              <a:tblGrid>
                <a:gridCol w="1061365">
                  <a:extLst>
                    <a:ext uri="{9D8B030D-6E8A-4147-A177-3AD203B41FA5}">
                      <a16:colId xmlns:a16="http://schemas.microsoft.com/office/drawing/2014/main" val="2932932501"/>
                    </a:ext>
                  </a:extLst>
                </a:gridCol>
                <a:gridCol w="1537472">
                  <a:extLst>
                    <a:ext uri="{9D8B030D-6E8A-4147-A177-3AD203B41FA5}">
                      <a16:colId xmlns:a16="http://schemas.microsoft.com/office/drawing/2014/main" val="3740234626"/>
                    </a:ext>
                  </a:extLst>
                </a:gridCol>
                <a:gridCol w="1352904">
                  <a:extLst>
                    <a:ext uri="{9D8B030D-6E8A-4147-A177-3AD203B41FA5}">
                      <a16:colId xmlns:a16="http://schemas.microsoft.com/office/drawing/2014/main" val="4026910171"/>
                    </a:ext>
                  </a:extLst>
                </a:gridCol>
                <a:gridCol w="1820863">
                  <a:extLst>
                    <a:ext uri="{9D8B030D-6E8A-4147-A177-3AD203B41FA5}">
                      <a16:colId xmlns:a16="http://schemas.microsoft.com/office/drawing/2014/main" val="2184633559"/>
                    </a:ext>
                  </a:extLst>
                </a:gridCol>
                <a:gridCol w="1746703">
                  <a:extLst>
                    <a:ext uri="{9D8B030D-6E8A-4147-A177-3AD203B41FA5}">
                      <a16:colId xmlns:a16="http://schemas.microsoft.com/office/drawing/2014/main" val="3756614265"/>
                    </a:ext>
                  </a:extLst>
                </a:gridCol>
                <a:gridCol w="1807190">
                  <a:extLst>
                    <a:ext uri="{9D8B030D-6E8A-4147-A177-3AD203B41FA5}">
                      <a16:colId xmlns:a16="http://schemas.microsoft.com/office/drawing/2014/main" val="2044140242"/>
                    </a:ext>
                  </a:extLst>
                </a:gridCol>
                <a:gridCol w="1530867">
                  <a:extLst>
                    <a:ext uri="{9D8B030D-6E8A-4147-A177-3AD203B41FA5}">
                      <a16:colId xmlns:a16="http://schemas.microsoft.com/office/drawing/2014/main" val="102207198"/>
                    </a:ext>
                  </a:extLst>
                </a:gridCol>
              </a:tblGrid>
              <a:tr h="871716">
                <a:tc>
                  <a:txBody>
                    <a:bodyPr/>
                    <a:lstStyle/>
                    <a:p>
                      <a:pPr algn="r"/>
                      <a:r>
                        <a:rPr lang="en-US" sz="1200" b="1" kern="1200">
                          <a:solidFill>
                            <a:schemeClr val="accent1"/>
                          </a:solidFill>
                          <a:latin typeface="+mn-lt"/>
                          <a:ea typeface="+mn-ea"/>
                          <a:cs typeface="+mn-cs"/>
                        </a:rPr>
                        <a:t>OBJECTIVE</a:t>
                      </a:r>
                    </a:p>
                  </a:txBody>
                  <a:tcPr anchor="ctr">
                    <a:noFill/>
                  </a:tcPr>
                </a:tc>
                <a:tc gridSpan="6">
                  <a:txBody>
                    <a:bodyPr/>
                    <a:lstStyle/>
                    <a:p>
                      <a:r>
                        <a:rPr lang="en-US" sz="1100" dirty="0"/>
                        <a:t>Transition existing “analog” users to the new Standard of Care in Physical Assessment by using SMART Hybrid Tools  enabling exceptional views, digital image capture, and file sharing capabilities that empower clinicians to diagnose and treat patients earlier. With ENHANCE, users can rely on the familiarity of “Analog Devices “ but at the same time enjoy the benefit of digital technology.</a:t>
                      </a:r>
                    </a:p>
                  </a:txBody>
                  <a:tcPr anchor="ctr">
                    <a:lnB w="38100" cap="flat" cmpd="sng" algn="ctr">
                      <a:solidFill>
                        <a:schemeClr val="bg1"/>
                      </a:solidFill>
                      <a:prstDash val="solid"/>
                      <a:round/>
                      <a:headEnd type="none" w="med" len="med"/>
                      <a:tailEnd type="none" w="med" len="med"/>
                    </a:lnB>
                    <a:solidFill>
                      <a:schemeClr val="accent5">
                        <a:lumMod val="40000"/>
                        <a:lumOff val="60000"/>
                      </a:schemeClr>
                    </a:solidFill>
                  </a:tcPr>
                </a:tc>
                <a:tc hMerge="1">
                  <a:txBody>
                    <a:bodyPr/>
                    <a:lstStyle/>
                    <a:p>
                      <a:endParaRPr lang="en-US"/>
                    </a:p>
                  </a:txBody>
                  <a:tcPr/>
                </a:tc>
                <a:tc hMerge="1">
                  <a:txBody>
                    <a:bodyPr/>
                    <a:lstStyle/>
                    <a:p>
                      <a:endParaRPr lang="en-US"/>
                    </a:p>
                  </a:txBody>
                  <a:tcPr/>
                </a:tc>
                <a:tc hMerge="1">
                  <a:txBody>
                    <a:bodyPr/>
                    <a:lstStyle/>
                    <a:p>
                      <a:endParaRPr lang="en-US" sz="1200"/>
                    </a:p>
                  </a:txBody>
                  <a:tcPr/>
                </a:tc>
                <a:tc hMerge="1">
                  <a:txBody>
                    <a:bodyPr/>
                    <a:lstStyle/>
                    <a:p>
                      <a:endParaRPr lang="en-US"/>
                    </a:p>
                  </a:txBody>
                  <a:tcPr/>
                </a:tc>
                <a:tc hMerge="1">
                  <a:txBody>
                    <a:bodyPr/>
                    <a:lstStyle/>
                    <a:p>
                      <a:endParaRPr lang="en-US" sz="1400"/>
                    </a:p>
                  </a:txBody>
                  <a:tcPr anchor="ctr">
                    <a:lnB w="12700" cap="flat" cmpd="sng" algn="ctr">
                      <a:solidFill>
                        <a:schemeClr val="bg1"/>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974106155"/>
                  </a:ext>
                </a:extLst>
              </a:tr>
              <a:tr h="260225">
                <a:tc>
                  <a:txBody>
                    <a:bodyPr/>
                    <a:lstStyle/>
                    <a:p>
                      <a:pPr lvl="0" algn="r">
                        <a:buNone/>
                      </a:pPr>
                      <a:r>
                        <a:rPr lang="en-US" sz="1200" b="1" i="0" u="none" strike="noStrike" kern="1200" noProof="0">
                          <a:solidFill>
                            <a:schemeClr val="accent1"/>
                          </a:solidFill>
                          <a:latin typeface="Century Gothic"/>
                        </a:rPr>
                        <a:t>GOALS</a:t>
                      </a:r>
                      <a:endParaRPr lang="en-US"/>
                    </a:p>
                  </a:txBody>
                  <a:tcPr anchor="ctr">
                    <a:lnR w="38100" cap="flat" cmpd="sng" algn="ctr">
                      <a:solidFill>
                        <a:schemeClr val="bg1"/>
                      </a:solidFill>
                      <a:prstDash val="solid"/>
                      <a:round/>
                      <a:headEnd type="none" w="med" len="med"/>
                      <a:tailEnd type="none" w="med" len="med"/>
                    </a:lnR>
                    <a:noFill/>
                  </a:tcPr>
                </a:tc>
                <a:tc gridSpan="6">
                  <a:txBody>
                    <a:bodyPr/>
                    <a:lstStyle/>
                    <a:p>
                      <a:pPr lvl="0" algn="l">
                        <a:lnSpc>
                          <a:spcPct val="100000"/>
                        </a:lnSpc>
                        <a:spcBef>
                          <a:spcPts val="0"/>
                        </a:spcBef>
                        <a:spcAft>
                          <a:spcPts val="0"/>
                        </a:spcAft>
                        <a:buNone/>
                      </a:pPr>
                      <a:r>
                        <a:rPr lang="en-US" sz="1050" b="0" i="0" u="none" strike="noStrike" noProof="0" dirty="0" err="1">
                          <a:latin typeface="Century Gothic"/>
                        </a:rPr>
                        <a:t>Yr</a:t>
                      </a:r>
                      <a:r>
                        <a:rPr lang="en-US" sz="1050" b="0" i="0" u="none" strike="noStrike" noProof="0" dirty="0">
                          <a:latin typeface="Century Gothic"/>
                        </a:rPr>
                        <a:t> 1 Revenue: approx. 1.2 Mio, </a:t>
                      </a:r>
                      <a:r>
                        <a:rPr lang="en-US" sz="1050" b="0" i="0" u="none" strike="noStrike" noProof="0" dirty="0"/>
                        <a:t>CAGR:3%</a:t>
                      </a:r>
                      <a:endParaRPr lang="en-US" sz="1400" dirty="0"/>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hMerge="1">
                  <a:txBody>
                    <a:bodyPr/>
                    <a:lstStyle/>
                    <a:p>
                      <a:endParaRPr lang="en-US"/>
                    </a:p>
                  </a:txBody>
                  <a:tcPr/>
                </a:tc>
                <a:tc hMerge="1">
                  <a:txBody>
                    <a:bodyPr/>
                    <a:lstStyle/>
                    <a:p>
                      <a:pPr defTabSz="914400"/>
                      <a:endParaRPr lang="en-US"/>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108773201"/>
                  </a:ext>
                </a:extLst>
              </a:tr>
              <a:tr h="590517">
                <a:tc>
                  <a:txBody>
                    <a:bodyPr/>
                    <a:lstStyle/>
                    <a:p>
                      <a:pPr algn="r"/>
                      <a:endParaRPr lang="en-US" sz="1200" b="1" kern="1200" dirty="0">
                        <a:solidFill>
                          <a:schemeClr val="accent1"/>
                        </a:solidFill>
                        <a:latin typeface="+mn-lt"/>
                        <a:ea typeface="+mn-ea"/>
                        <a:cs typeface="+mn-cs"/>
                      </a:endParaRPr>
                    </a:p>
                  </a:txBody>
                  <a:tcPr anchor="ctr">
                    <a:lnR w="38100" cap="flat" cmpd="sng" algn="ctr">
                      <a:solidFill>
                        <a:schemeClr val="bg1"/>
                      </a:solidFill>
                      <a:prstDash val="solid"/>
                      <a:round/>
                      <a:headEnd type="none" w="med" len="med"/>
                      <a:tailEnd type="none" w="med" len="med"/>
                    </a:lnR>
                    <a:noFill/>
                  </a:tcPr>
                </a:tc>
                <a:tc gridSpan="2">
                  <a:txBody>
                    <a:bodyPr/>
                    <a:lstStyle/>
                    <a:p>
                      <a:pPr algn="ctr"/>
                      <a:r>
                        <a:rPr lang="en-US" sz="1050" b="1" u="none" dirty="0"/>
                        <a:t>Increase the Usage of Ophthalmoscopes within the Primary Care Market&amp; Specialty market</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hMerge="1">
                  <a:txBody>
                    <a:bodyPr/>
                    <a:lstStyle/>
                    <a:p>
                      <a:endParaRPr lang="en-US" sz="1200"/>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gridSpan="4">
                  <a:txBody>
                    <a:bodyPr/>
                    <a:lstStyle/>
                    <a:p>
                      <a:pPr marL="0" algn="ctr" defTabSz="914400" rtl="0" eaLnBrk="1" latinLnBrk="0" hangingPunct="1"/>
                      <a:r>
                        <a:rPr lang="en-US" sz="1050" b="1" kern="1200" dirty="0">
                          <a:solidFill>
                            <a:schemeClr val="tx1"/>
                          </a:solidFill>
                          <a:latin typeface="+mn-lt"/>
                          <a:ea typeface="+mn-ea"/>
                          <a:cs typeface="+mn-cs"/>
                        </a:rPr>
                        <a:t>Upgrade Installed Base (Own and Competitive Devices)</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hMerge="1">
                  <a:txBody>
                    <a:bodyPr/>
                    <a:lstStyle/>
                    <a:p>
                      <a:endParaRPr lang="en-US" sz="1200"/>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hMerge="1">
                  <a:txBody>
                    <a:bodyPr/>
                    <a:lstStyle/>
                    <a:p>
                      <a:endParaRPr lang="en-US" sz="1200"/>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hMerge="1">
                  <a:txBody>
                    <a:bodyPr/>
                    <a:lstStyle/>
                    <a:p>
                      <a:endParaRPr lang="en-US" sz="1200"/>
                    </a:p>
                  </a:txBody>
                  <a:tcPr anchor="ctr">
                    <a:lnL w="28575" cap="flat" cmpd="sng" algn="ctr">
                      <a:noFill/>
                      <a:prstDash val="solid"/>
                      <a:round/>
                      <a:headEnd type="none" w="med" len="med"/>
                      <a:tailEnd type="none" w="med" len="med"/>
                    </a:lnL>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43816405"/>
                  </a:ext>
                </a:extLst>
              </a:tr>
              <a:tr h="927955">
                <a:tc>
                  <a:txBody>
                    <a:bodyPr/>
                    <a:lstStyle/>
                    <a:p>
                      <a:pPr algn="r"/>
                      <a:r>
                        <a:rPr lang="en-US" sz="1200" b="1" kern="1200" dirty="0">
                          <a:solidFill>
                            <a:schemeClr val="accent1"/>
                          </a:solidFill>
                          <a:latin typeface="+mn-lt"/>
                          <a:ea typeface="+mn-ea"/>
                          <a:cs typeface="+mn-cs"/>
                        </a:rPr>
                        <a:t>KEY STRATEGIES</a:t>
                      </a:r>
                    </a:p>
                  </a:txBody>
                  <a:tcPr anchor="ctr">
                    <a:noFill/>
                  </a:tcPr>
                </a:tc>
                <a:tc gridSpan="2">
                  <a:txBody>
                    <a:bodyPr/>
                    <a:lstStyle/>
                    <a:p>
                      <a:pPr algn="ctr"/>
                      <a:r>
                        <a:rPr lang="en-US" sz="1050" b="1" dirty="0"/>
                        <a:t>Promote&amp; Educate</a:t>
                      </a:r>
                    </a:p>
                    <a:p>
                      <a:pPr algn="ctr"/>
                      <a:r>
                        <a:rPr lang="en-US" sz="1050" dirty="0"/>
                        <a:t>Create awareness around the simplicity of the ENAHNCE Ophthalmoscope   ( You can only treat what you see)</a:t>
                      </a:r>
                    </a:p>
                  </a:txBody>
                  <a:tcPr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tc hMerge="1">
                  <a:txBody>
                    <a:bodyPr/>
                    <a:lstStyle/>
                    <a:p>
                      <a:pPr algn="ctr"/>
                      <a:endParaRPr lang="en-US" sz="1200"/>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tc gridSpan="2">
                  <a:txBody>
                    <a:bodyPr/>
                    <a:lstStyle/>
                    <a:p>
                      <a:pPr algn="ctr"/>
                      <a:r>
                        <a:rPr lang="en-US" sz="1050" b="1" dirty="0"/>
                        <a:t>Upgrade Key Opinion Leader</a:t>
                      </a:r>
                    </a:p>
                    <a:p>
                      <a:pPr algn="ctr"/>
                      <a:r>
                        <a:rPr lang="en-US" sz="1050" dirty="0"/>
                        <a:t>Achieve speedy installation by focusing on superior quality combined with future ready technology within  high impact customer segment</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tc hMerge="1">
                  <a:txBody>
                    <a:bodyPr/>
                    <a:lstStyle/>
                    <a:p>
                      <a:endParaRPr lang="en-US" sz="1200"/>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tc gridSpan="2">
                  <a:txBody>
                    <a:bodyPr/>
                    <a:lstStyle/>
                    <a:p>
                      <a:pPr algn="ctr"/>
                      <a:r>
                        <a:rPr lang="en-US" sz="1050" b="1" dirty="0"/>
                        <a:t>Drive Broader Customer Awareness</a:t>
                      </a:r>
                    </a:p>
                    <a:p>
                      <a:pPr algn="ctr"/>
                      <a:r>
                        <a:rPr lang="en-US" sz="1050" dirty="0"/>
                        <a:t>Accelerate replacement through wide ranging integrated sales &amp; marketing communications esp. in the Digital segment</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tc hMerge="1">
                  <a:txBody>
                    <a:bodyPr/>
                    <a:lstStyle/>
                    <a:p>
                      <a:pPr algn="ctr"/>
                      <a:endParaRPr lang="en-US" sz="1200"/>
                    </a:p>
                  </a:txBody>
                  <a:tcPr anchor="ct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790123386"/>
                  </a:ext>
                </a:extLst>
              </a:tr>
              <a:tr h="1756516">
                <a:tc>
                  <a:txBody>
                    <a:bodyPr/>
                    <a:lstStyle/>
                    <a:p>
                      <a:pPr algn="r"/>
                      <a:r>
                        <a:rPr lang="en-US" sz="1200" b="1" kern="1200" dirty="0">
                          <a:solidFill>
                            <a:schemeClr val="accent1"/>
                          </a:solidFill>
                          <a:latin typeface="+mn-lt"/>
                          <a:ea typeface="+mn-ea"/>
                          <a:cs typeface="+mn-cs"/>
                        </a:rPr>
                        <a:t>CHANNEL &amp; PROGRAMS</a:t>
                      </a:r>
                    </a:p>
                  </a:txBody>
                  <a:tcPr anchor="ctr">
                    <a:noFill/>
                  </a:tcPr>
                </a:tc>
                <a:tc>
                  <a:txBody>
                    <a:bodyPr/>
                    <a:lstStyle/>
                    <a:p>
                      <a:pPr marL="0" indent="0">
                        <a:buFont typeface="Arial" panose="020B0604020202020204" pitchFamily="34" charset="0"/>
                        <a:buNone/>
                        <a:tabLst/>
                      </a:pPr>
                      <a:r>
                        <a:rPr lang="en-US" sz="1050" b="1" dirty="0"/>
                        <a:t>Digital Channel</a:t>
                      </a:r>
                    </a:p>
                    <a:p>
                      <a:pPr marL="117475" indent="-117475">
                        <a:buFont typeface="Arial" panose="020B0604020202020204" pitchFamily="34" charset="0"/>
                        <a:buChar char="•"/>
                        <a:tabLst/>
                      </a:pPr>
                      <a:r>
                        <a:rPr lang="en-US" sz="1050" b="0" dirty="0"/>
                        <a:t>Communicate benefits&amp; ease of use</a:t>
                      </a:r>
                    </a:p>
                    <a:p>
                      <a:pPr marL="117475" indent="-117475">
                        <a:buFont typeface="Arial" panose="020B0604020202020204" pitchFamily="34" charset="0"/>
                        <a:buChar char="•"/>
                        <a:tabLst/>
                      </a:pPr>
                      <a:r>
                        <a:rPr lang="en-US" sz="1050" b="0" dirty="0"/>
                        <a:t>Free trial program (See it to believe it) </a:t>
                      </a:r>
                    </a:p>
                    <a:p>
                      <a:pPr marL="117475" indent="-117475">
                        <a:buFont typeface="Arial" panose="020B0604020202020204" pitchFamily="34" charset="0"/>
                        <a:buChar char="•"/>
                        <a:tabLst/>
                      </a:pPr>
                      <a:r>
                        <a:rPr lang="en-US" sz="1050" b="0" dirty="0"/>
                        <a:t>Offer online/live symposium for certain cases </a:t>
                      </a:r>
                      <a:endParaRPr lang="en-US" sz="1050" b="1" dirty="0"/>
                    </a:p>
                    <a:p>
                      <a:pPr marL="0" indent="0">
                        <a:buFont typeface="Arial" panose="020B0604020202020204" pitchFamily="34" charset="0"/>
                        <a:buNone/>
                        <a:tabLst/>
                      </a:pPr>
                      <a:endParaRPr lang="en-US" sz="1050" b="0" dirty="0"/>
                    </a:p>
                  </a:txBody>
                  <a:tcP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indent="0">
                        <a:buFont typeface="Arial" panose="020B0604020202020204" pitchFamily="34" charset="0"/>
                        <a:buNone/>
                        <a:tabLst/>
                      </a:pPr>
                      <a:r>
                        <a:rPr lang="en-US" sz="1050" b="1" dirty="0"/>
                        <a:t>Key Opinion Leader/ Associations</a:t>
                      </a:r>
                    </a:p>
                    <a:p>
                      <a:pPr marL="117475" indent="-117475">
                        <a:buFont typeface="Arial" panose="020B0604020202020204" pitchFamily="34" charset="0"/>
                        <a:buChar char="•"/>
                        <a:tabLst/>
                      </a:pPr>
                      <a:r>
                        <a:rPr lang="en-US" sz="1050" dirty="0"/>
                        <a:t>Equip key Opinion leader</a:t>
                      </a:r>
                    </a:p>
                    <a:p>
                      <a:pPr marL="117475" indent="-117475">
                        <a:buFont typeface="Arial" panose="020B0604020202020204" pitchFamily="34" charset="0"/>
                        <a:buChar char="•"/>
                        <a:tabLst/>
                      </a:pPr>
                      <a:r>
                        <a:rPr lang="en-US" sz="1050" dirty="0"/>
                        <a:t>Program with dedicated physician Associations</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indent="0">
                        <a:buFont typeface="Arial" panose="020B0604020202020204" pitchFamily="34" charset="0"/>
                        <a:buNone/>
                        <a:tabLst/>
                      </a:pPr>
                      <a:r>
                        <a:rPr lang="en-US" sz="1050" b="1" dirty="0"/>
                        <a:t>Early Adopter &amp; Telehealth Leaders</a:t>
                      </a:r>
                    </a:p>
                    <a:p>
                      <a:pPr marL="117475" indent="-117475">
                        <a:buFont typeface="Arial" panose="020B0604020202020204" pitchFamily="34" charset="0"/>
                        <a:buChar char="•"/>
                        <a:tabLst/>
                      </a:pPr>
                      <a:r>
                        <a:rPr lang="en-US" sz="1050" dirty="0"/>
                        <a:t>Free trial program</a:t>
                      </a:r>
                    </a:p>
                    <a:p>
                      <a:pPr marL="117475" indent="-117475">
                        <a:buFont typeface="Arial" panose="020B0604020202020204" pitchFamily="34" charset="0"/>
                        <a:buChar char="•"/>
                        <a:tabLst/>
                      </a:pPr>
                      <a:r>
                        <a:rPr lang="en-US" sz="1050" dirty="0"/>
                        <a:t>Offer Trade-in Program</a:t>
                      </a:r>
                    </a:p>
                    <a:p>
                      <a:pPr marL="117475" indent="-117475">
                        <a:buFont typeface="Arial" panose="020B0604020202020204" pitchFamily="34" charset="0"/>
                        <a:buChar char="•"/>
                      </a:pPr>
                      <a:r>
                        <a:rPr lang="en-US" sz="1050" dirty="0"/>
                        <a:t>Establish EMR relation program </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indent="0">
                        <a:buFont typeface="Arial" panose="020B0604020202020204" pitchFamily="34" charset="0"/>
                        <a:buNone/>
                        <a:tabLst/>
                      </a:pPr>
                      <a:r>
                        <a:rPr lang="en-US" sz="1050" b="1" dirty="0"/>
                        <a:t>Medical Schools</a:t>
                      </a:r>
                    </a:p>
                    <a:p>
                      <a:pPr marL="117475" indent="-117475">
                        <a:buFont typeface="Arial" panose="020B0604020202020204" pitchFamily="34" charset="0"/>
                        <a:buChar char="•"/>
                        <a:tabLst/>
                      </a:pPr>
                      <a:r>
                        <a:rPr lang="en-US" sz="1050" dirty="0"/>
                        <a:t>Leverage Ophthalmology professors to gain entrance</a:t>
                      </a:r>
                    </a:p>
                    <a:p>
                      <a:pPr marL="117475" indent="-117475">
                        <a:buFont typeface="Arial" panose="020B0604020202020204" pitchFamily="34" charset="0"/>
                        <a:buChar char="•"/>
                        <a:tabLst/>
                      </a:pPr>
                      <a:r>
                        <a:rPr lang="en-US" sz="1050" dirty="0"/>
                        <a:t>Launch Student program</a:t>
                      </a:r>
                    </a:p>
                    <a:p>
                      <a:pPr marL="117475" indent="-117475">
                        <a:buFont typeface="Arial" panose="020B0604020202020204" pitchFamily="34" charset="0"/>
                        <a:buChar char="•"/>
                        <a:tabLst/>
                      </a:pPr>
                      <a:r>
                        <a:rPr lang="en-US" sz="1050" dirty="0"/>
                        <a:t>Promote Digital as the new Standard of Care</a:t>
                      </a:r>
                    </a:p>
                    <a:p>
                      <a:pPr marL="117475" indent="-117475">
                        <a:buFont typeface="Arial" panose="020B0604020202020204" pitchFamily="34" charset="0"/>
                        <a:buChar char="•"/>
                        <a:tabLst/>
                      </a:pPr>
                      <a:r>
                        <a:rPr lang="en-US" sz="1050" dirty="0"/>
                        <a:t>Past Covid-19 program</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indent="0">
                        <a:buFont typeface="Arial" panose="020B0604020202020204" pitchFamily="34" charset="0"/>
                        <a:buNone/>
                        <a:tabLst/>
                      </a:pPr>
                      <a:r>
                        <a:rPr lang="en-US" sz="1050" b="1" dirty="0"/>
                        <a:t>Multi-Media Presence</a:t>
                      </a:r>
                    </a:p>
                    <a:p>
                      <a:pPr marL="117475" indent="-117475">
                        <a:buFont typeface="Arial" panose="020B0604020202020204" pitchFamily="34" charset="0"/>
                        <a:buChar char="•"/>
                        <a:tabLst/>
                      </a:pPr>
                      <a:r>
                        <a:rPr lang="en-US" sz="1050" b="0" dirty="0"/>
                        <a:t>Always on Search (Google &amp; </a:t>
                      </a:r>
                      <a:r>
                        <a:rPr lang="en-US" sz="1050" b="0" dirty="0">
                          <a:highlight>
                            <a:srgbClr val="FFFF00"/>
                          </a:highlight>
                        </a:rPr>
                        <a:t>Amazon</a:t>
                      </a:r>
                      <a:r>
                        <a:rPr lang="en-US" sz="1050" b="0" dirty="0"/>
                        <a:t>)</a:t>
                      </a:r>
                    </a:p>
                    <a:p>
                      <a:pPr marL="117475" indent="-117475">
                        <a:buFont typeface="Arial" panose="020B0604020202020204" pitchFamily="34" charset="0"/>
                        <a:buChar char="•"/>
                        <a:tabLst/>
                      </a:pPr>
                      <a:r>
                        <a:rPr lang="en-US" sz="1050" dirty="0"/>
                        <a:t>Social Media </a:t>
                      </a:r>
                    </a:p>
                    <a:p>
                      <a:pPr marL="117475" indent="-117475">
                        <a:buFont typeface="Arial" panose="020B0604020202020204" pitchFamily="34" charset="0"/>
                        <a:buChar char="•"/>
                        <a:tabLst/>
                      </a:pPr>
                      <a:r>
                        <a:rPr lang="en-US" sz="1050" dirty="0"/>
                        <a:t>Online Videos</a:t>
                      </a:r>
                    </a:p>
                    <a:p>
                      <a:pPr marL="117475" indent="-117475">
                        <a:buFont typeface="Arial" panose="020B0604020202020204" pitchFamily="34" charset="0"/>
                        <a:buChar char="•"/>
                        <a:tabLst/>
                      </a:pPr>
                      <a:r>
                        <a:rPr lang="en-US" sz="1050" b="0" dirty="0"/>
                        <a:t>Promote clinical studies</a:t>
                      </a:r>
                    </a:p>
                    <a:p>
                      <a:pPr marL="117475" indent="-117475">
                        <a:buFont typeface="Arial" panose="020B0604020202020204" pitchFamily="34" charset="0"/>
                        <a:buChar char="•"/>
                        <a:tabLst/>
                      </a:pPr>
                      <a:r>
                        <a:rPr lang="en-US" sz="1050" b="0" dirty="0"/>
                        <a:t>Regular Symposium</a:t>
                      </a:r>
                    </a:p>
                    <a:p>
                      <a:pPr marL="117475" indent="-117475">
                        <a:buFont typeface="Arial" panose="020B0604020202020204" pitchFamily="34" charset="0"/>
                        <a:buChar char="•"/>
                        <a:tabLst/>
                      </a:pPr>
                      <a:r>
                        <a:rPr lang="en-US" sz="1050" b="0" dirty="0" err="1"/>
                        <a:t>Webshop</a:t>
                      </a:r>
                      <a:r>
                        <a:rPr lang="en-US" sz="1050" b="0" dirty="0"/>
                        <a:t> activities</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indent="0">
                        <a:buFont typeface="Arial" panose="020B0604020202020204" pitchFamily="34" charset="0"/>
                        <a:buNone/>
                        <a:tabLst/>
                      </a:pPr>
                      <a:r>
                        <a:rPr lang="en-US" sz="1050" b="1" dirty="0"/>
                        <a:t>Traditional </a:t>
                      </a:r>
                    </a:p>
                    <a:p>
                      <a:pPr marL="117475" indent="-117475">
                        <a:buFont typeface="Arial" panose="020B0604020202020204" pitchFamily="34" charset="0"/>
                        <a:buChar char="•"/>
                        <a:tabLst/>
                      </a:pPr>
                      <a:r>
                        <a:rPr lang="en-US" sz="1050" dirty="0"/>
                        <a:t>Field Sales Focus</a:t>
                      </a:r>
                    </a:p>
                    <a:p>
                      <a:pPr marL="117475" marR="0" lvl="0" indent="-1174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dirty="0"/>
                        <a:t>Distributor Rep program</a:t>
                      </a:r>
                    </a:p>
                    <a:p>
                      <a:pPr marL="117475" indent="-117475">
                        <a:buFont typeface="Arial" panose="020B0604020202020204" pitchFamily="34" charset="0"/>
                        <a:buChar char="•"/>
                        <a:tabLst/>
                      </a:pPr>
                      <a:r>
                        <a:rPr lang="en-US" sz="1050" dirty="0"/>
                        <a:t>Distributor Sales Promotions</a:t>
                      </a:r>
                    </a:p>
                    <a:p>
                      <a:pPr marL="117475" indent="-117475">
                        <a:buFont typeface="Arial" panose="020B0604020202020204" pitchFamily="34" charset="0"/>
                        <a:buChar char="•"/>
                        <a:tabLst/>
                      </a:pPr>
                      <a:r>
                        <a:rPr lang="en-US" sz="1050" dirty="0"/>
                        <a:t>Leverage Spot/ </a:t>
                      </a:r>
                      <a:r>
                        <a:rPr lang="en-US" sz="1050" dirty="0" err="1"/>
                        <a:t>RetinaVue</a:t>
                      </a:r>
                      <a:endParaRPr lang="en-US" sz="1050" dirty="0"/>
                    </a:p>
                    <a:p>
                      <a:pPr marL="117475" indent="-117475">
                        <a:buFont typeface="Arial" panose="020B0604020202020204" pitchFamily="34" charset="0"/>
                        <a:buChar char="•"/>
                        <a:tabLst/>
                      </a:pPr>
                      <a:r>
                        <a:rPr lang="en-US" sz="1050" dirty="0"/>
                        <a:t>Multilingual training program</a:t>
                      </a:r>
                    </a:p>
                    <a:p>
                      <a:pPr marL="117475" indent="-117475">
                        <a:buFont typeface="Arial" panose="020B0604020202020204" pitchFamily="34" charset="0"/>
                        <a:buChar char="•"/>
                        <a:tabLst/>
                      </a:pPr>
                      <a:r>
                        <a:rPr lang="en-US" sz="1050" dirty="0"/>
                        <a:t>Adapter program</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113605553"/>
                  </a:ext>
                </a:extLst>
              </a:tr>
              <a:tr h="1096674">
                <a:tc>
                  <a:txBody>
                    <a:bodyPr/>
                    <a:lstStyle/>
                    <a:p>
                      <a:pPr algn="r"/>
                      <a:r>
                        <a:rPr lang="en-US" sz="1200" b="1" kern="1200">
                          <a:solidFill>
                            <a:schemeClr val="accent1"/>
                          </a:solidFill>
                          <a:latin typeface="+mn-lt"/>
                          <a:ea typeface="+mn-ea"/>
                          <a:cs typeface="+mn-cs"/>
                        </a:rPr>
                        <a:t>MEASURES</a:t>
                      </a:r>
                    </a:p>
                  </a:txBody>
                  <a:tcPr anchor="ctr">
                    <a:noFill/>
                  </a:tcPr>
                </a:tc>
                <a:tc>
                  <a:txBody>
                    <a:bodyPr/>
                    <a:lstStyle/>
                    <a:p>
                      <a:pPr marL="171450" indent="-171450">
                        <a:buFont typeface="Arial" panose="020B0604020202020204" pitchFamily="34" charset="0"/>
                        <a:buChar char="•"/>
                      </a:pPr>
                      <a:r>
                        <a:rPr lang="en-US" sz="1050" dirty="0"/>
                        <a:t>Revenue growth</a:t>
                      </a:r>
                    </a:p>
                    <a:p>
                      <a:pPr marL="171450" indent="-171450">
                        <a:buFont typeface="Arial" panose="020B0604020202020204" pitchFamily="34" charset="0"/>
                        <a:buChar char="•"/>
                      </a:pPr>
                      <a:r>
                        <a:rPr lang="en-US" sz="1050" dirty="0"/>
                        <a:t>Sales per segment</a:t>
                      </a:r>
                    </a:p>
                    <a:p>
                      <a:pPr marL="171450" indent="-171450">
                        <a:buFont typeface="Arial" panose="020B0604020202020204" pitchFamily="34" charset="0"/>
                        <a:buChar char="•"/>
                      </a:pPr>
                      <a:endParaRPr lang="en-US" sz="1050" dirty="0"/>
                    </a:p>
                  </a:txBody>
                  <a:tcP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171450" indent="-171450">
                        <a:buFont typeface="Arial" panose="020B0604020202020204" pitchFamily="34" charset="0"/>
                        <a:buChar char="•"/>
                      </a:pPr>
                      <a:r>
                        <a:rPr lang="en-US" sz="1050" dirty="0"/>
                        <a:t>Revenue Growth</a:t>
                      </a:r>
                    </a:p>
                    <a:p>
                      <a:pPr marL="171450" indent="-171450">
                        <a:buFont typeface="Arial" panose="020B0604020202020204" pitchFamily="34" charset="0"/>
                        <a:buChar char="•"/>
                      </a:pPr>
                      <a:r>
                        <a:rPr lang="en-US" sz="1050"/>
                        <a:t>Sales per </a:t>
                      </a:r>
                      <a:r>
                        <a:rPr lang="en-US" sz="1050" dirty="0"/>
                        <a:t>Segment</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171450" indent="-171450">
                        <a:buFont typeface="Arial" panose="020B0604020202020204" pitchFamily="34" charset="0"/>
                        <a:buChar char="•"/>
                      </a:pPr>
                      <a:r>
                        <a:rPr lang="en-US" sz="1050"/>
                        <a:t>Key studies underway and published</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171450" indent="-171450">
                        <a:buFont typeface="Arial" panose="020B0604020202020204" pitchFamily="34" charset="0"/>
                        <a:buChar char="•"/>
                      </a:pPr>
                      <a:r>
                        <a:rPr lang="en-US" sz="1050" dirty="0"/>
                        <a:t>SEP renewals</a:t>
                      </a:r>
                    </a:p>
                    <a:p>
                      <a:pPr marL="171450" indent="-171450">
                        <a:buFont typeface="Arial" panose="020B0604020202020204" pitchFamily="34" charset="0"/>
                        <a:buChar char="•"/>
                      </a:pPr>
                      <a:r>
                        <a:rPr lang="en-US" sz="1050" dirty="0"/>
                        <a:t>Enhance sales</a:t>
                      </a:r>
                    </a:p>
                    <a:p>
                      <a:pPr marL="171450" indent="-171450">
                        <a:buFont typeface="Arial" panose="020B0604020202020204" pitchFamily="34" charset="0"/>
                        <a:buChar char="•"/>
                      </a:pPr>
                      <a:r>
                        <a:rPr lang="en-US" sz="1050"/>
                        <a:t>New SEP contracts</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171450" indent="-171450">
                        <a:buFont typeface="Arial" panose="020B0604020202020204" pitchFamily="34" charset="0"/>
                        <a:buChar char="•"/>
                      </a:pPr>
                      <a:r>
                        <a:rPr lang="en-US" sz="1050" dirty="0"/>
                        <a:t>CTR</a:t>
                      </a:r>
                    </a:p>
                    <a:p>
                      <a:pPr marL="171450" indent="-171450">
                        <a:buFont typeface="Arial" panose="020B0604020202020204" pitchFamily="34" charset="0"/>
                        <a:buChar char="•"/>
                      </a:pPr>
                      <a:r>
                        <a:rPr lang="en-US" sz="1050" dirty="0"/>
                        <a:t>Revenue</a:t>
                      </a:r>
                    </a:p>
                    <a:p>
                      <a:pPr marL="171450" indent="-171450">
                        <a:buFont typeface="Arial" panose="020B0604020202020204" pitchFamily="34" charset="0"/>
                        <a:buChar char="•"/>
                      </a:pPr>
                      <a:r>
                        <a:rPr lang="en-US" sz="1050" dirty="0"/>
                        <a:t>No. of Participants in various symposium</a:t>
                      </a:r>
                    </a:p>
                    <a:p>
                      <a:pPr marL="171450" indent="-171450">
                        <a:buFont typeface="Arial" panose="020B0604020202020204" pitchFamily="34" charset="0"/>
                        <a:buChar char="•"/>
                      </a:pPr>
                      <a:r>
                        <a:rPr lang="en-US" sz="1050" dirty="0"/>
                        <a:t>Ratings</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171450" indent="-171450">
                        <a:buFont typeface="Arial" panose="020B0604020202020204" pitchFamily="34" charset="0"/>
                        <a:buChar char="•"/>
                      </a:pPr>
                      <a:r>
                        <a:rPr lang="en-US" sz="1050" dirty="0"/>
                        <a:t>Tradeshow workshops</a:t>
                      </a:r>
                    </a:p>
                    <a:p>
                      <a:pPr marL="171450" indent="-171450">
                        <a:buFont typeface="Arial" panose="020B0604020202020204" pitchFamily="34" charset="0"/>
                        <a:buChar char="•"/>
                      </a:pPr>
                      <a:r>
                        <a:rPr lang="en-US" sz="1050" dirty="0"/>
                        <a:t>Sales</a:t>
                      </a:r>
                    </a:p>
                    <a:p>
                      <a:pPr marL="171450" indent="-171450">
                        <a:buFont typeface="Arial" panose="020B0604020202020204" pitchFamily="34" charset="0"/>
                        <a:buChar char="•"/>
                      </a:pPr>
                      <a:r>
                        <a:rPr lang="en-US" sz="1050" dirty="0"/>
                        <a:t>No of conversions</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67204937"/>
                  </a:ext>
                </a:extLst>
              </a:tr>
            </a:tbl>
          </a:graphicData>
        </a:graphic>
      </p:graphicFrame>
    </p:spTree>
    <p:extLst>
      <p:ext uri="{BB962C8B-B14F-4D97-AF65-F5344CB8AC3E}">
        <p14:creationId xmlns:p14="http://schemas.microsoft.com/office/powerpoint/2010/main" val="35951793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049EA6-54EE-4264-9576-3FCF44AA8C2A}"/>
              </a:ext>
            </a:extLst>
          </p:cNvPr>
          <p:cNvSpPr>
            <a:spLocks noGrp="1"/>
          </p:cNvSpPr>
          <p:nvPr>
            <p:ph type="title"/>
          </p:nvPr>
        </p:nvSpPr>
        <p:spPr>
          <a:xfrm>
            <a:off x="522087" y="442696"/>
            <a:ext cx="9709800" cy="546100"/>
          </a:xfrm>
        </p:spPr>
        <p:txBody>
          <a:bodyPr/>
          <a:lstStyle/>
          <a:p>
            <a:r>
              <a:rPr lang="en-US" sz="3200" dirty="0"/>
              <a:t>Market Development Assessment</a:t>
            </a:r>
            <a:br>
              <a:rPr lang="en-US" sz="3200" dirty="0"/>
            </a:br>
            <a:r>
              <a:rPr lang="en-US" dirty="0"/>
              <a:t>Clinical &amp; Health Economics Evidence</a:t>
            </a:r>
          </a:p>
        </p:txBody>
      </p:sp>
      <p:sp>
        <p:nvSpPr>
          <p:cNvPr id="3" name="Content Placeholder 2">
            <a:extLst>
              <a:ext uri="{FF2B5EF4-FFF2-40B4-BE49-F238E27FC236}">
                <a16:creationId xmlns:a16="http://schemas.microsoft.com/office/drawing/2014/main" id="{7EFA09D8-7727-41A0-A707-9CA9870FEE5B}"/>
              </a:ext>
            </a:extLst>
          </p:cNvPr>
          <p:cNvSpPr>
            <a:spLocks noGrp="1"/>
          </p:cNvSpPr>
          <p:nvPr>
            <p:ph sz="quarter" idx="16"/>
          </p:nvPr>
        </p:nvSpPr>
        <p:spPr>
          <a:xfrm>
            <a:off x="185943" y="2164382"/>
            <a:ext cx="3410111" cy="4693618"/>
          </a:xfrm>
        </p:spPr>
        <p:txBody>
          <a:bodyPr/>
          <a:lstStyle/>
          <a:p>
            <a:r>
              <a:rPr lang="en-US" dirty="0"/>
              <a:t>Extensive number of marketing claims support marketing materials</a:t>
            </a:r>
          </a:p>
          <a:p>
            <a:r>
              <a:rPr lang="en-US" dirty="0"/>
              <a:t>78 values of clinical product and clinical context claims</a:t>
            </a:r>
          </a:p>
          <a:p>
            <a:r>
              <a:rPr lang="en-US" dirty="0"/>
              <a:t>Tools to create</a:t>
            </a:r>
          </a:p>
          <a:p>
            <a:pPr marL="1098946" lvl="4" indent="-342900"/>
            <a:r>
              <a:rPr lang="en-US" dirty="0"/>
              <a:t>Reimbursement</a:t>
            </a:r>
          </a:p>
          <a:p>
            <a:pPr marL="1098946" lvl="4" indent="-342900"/>
            <a:r>
              <a:rPr lang="en-US" dirty="0"/>
              <a:t>Payback calculators</a:t>
            </a:r>
          </a:p>
          <a:p>
            <a:pPr marL="1098946" lvl="4" indent="-342900"/>
            <a:r>
              <a:rPr lang="en-US" dirty="0"/>
              <a:t>Optimal care plans</a:t>
            </a:r>
          </a:p>
        </p:txBody>
      </p:sp>
      <p:sp>
        <p:nvSpPr>
          <p:cNvPr id="4" name="Slide Number Placeholder 3">
            <a:extLst>
              <a:ext uri="{FF2B5EF4-FFF2-40B4-BE49-F238E27FC236}">
                <a16:creationId xmlns:a16="http://schemas.microsoft.com/office/drawing/2014/main" id="{51E6A41E-1744-4044-AFA9-35F982E7C7D8}"/>
              </a:ext>
            </a:extLst>
          </p:cNvPr>
          <p:cNvSpPr>
            <a:spLocks noGrp="1"/>
          </p:cNvSpPr>
          <p:nvPr>
            <p:ph type="sldNum" sz="quarter" idx="4"/>
          </p:nvPr>
        </p:nvSpPr>
        <p:spPr/>
        <p:txBody>
          <a:bodyPr/>
          <a:lstStyle/>
          <a:p>
            <a:fld id="{982D468C-8F71-314C-A979-931A6F21B3BB}" type="slidenum">
              <a:rPr lang="en-US" smtClean="0"/>
              <a:pPr/>
              <a:t>16</a:t>
            </a:fld>
            <a:endParaRPr lang="en-US"/>
          </a:p>
        </p:txBody>
      </p:sp>
      <p:pic>
        <p:nvPicPr>
          <p:cNvPr id="60" name="Picture 59">
            <a:extLst>
              <a:ext uri="{FF2B5EF4-FFF2-40B4-BE49-F238E27FC236}">
                <a16:creationId xmlns:a16="http://schemas.microsoft.com/office/drawing/2014/main" id="{34D28855-CB8A-49BF-A202-2AFB41443C6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596054" y="1425030"/>
            <a:ext cx="8410003" cy="4211078"/>
          </a:xfrm>
          <a:prstGeom prst="rect">
            <a:avLst/>
          </a:prstGeom>
        </p:spPr>
      </p:pic>
    </p:spTree>
    <p:extLst>
      <p:ext uri="{BB962C8B-B14F-4D97-AF65-F5344CB8AC3E}">
        <p14:creationId xmlns:p14="http://schemas.microsoft.com/office/powerpoint/2010/main" val="725022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206B4D92-2B26-4BA0-988C-F8BE5E60DBDA}"/>
              </a:ext>
            </a:extLst>
          </p:cNvPr>
          <p:cNvGraphicFramePr>
            <a:graphicFrameLocks noGrp="1"/>
          </p:cNvGraphicFramePr>
          <p:nvPr>
            <p:ph sz="quarter" idx="16"/>
          </p:nvPr>
        </p:nvGraphicFramePr>
        <p:xfrm>
          <a:off x="5993007" y="1528318"/>
          <a:ext cx="5965123" cy="4308039"/>
        </p:xfrm>
        <a:graphic>
          <a:graphicData uri="http://schemas.openxmlformats.org/drawingml/2006/table">
            <a:tbl>
              <a:tblPr>
                <a:tableStyleId>{5C22544A-7EE6-4342-B048-85BDC9FD1C3A}</a:tableStyleId>
              </a:tblPr>
              <a:tblGrid>
                <a:gridCol w="772921">
                  <a:extLst>
                    <a:ext uri="{9D8B030D-6E8A-4147-A177-3AD203B41FA5}">
                      <a16:colId xmlns:a16="http://schemas.microsoft.com/office/drawing/2014/main" val="2646014694"/>
                    </a:ext>
                  </a:extLst>
                </a:gridCol>
                <a:gridCol w="1561257">
                  <a:extLst>
                    <a:ext uri="{9D8B030D-6E8A-4147-A177-3AD203B41FA5}">
                      <a16:colId xmlns:a16="http://schemas.microsoft.com/office/drawing/2014/main" val="1243521246"/>
                    </a:ext>
                  </a:extLst>
                </a:gridCol>
                <a:gridCol w="1744740">
                  <a:extLst>
                    <a:ext uri="{9D8B030D-6E8A-4147-A177-3AD203B41FA5}">
                      <a16:colId xmlns:a16="http://schemas.microsoft.com/office/drawing/2014/main" val="1736529365"/>
                    </a:ext>
                  </a:extLst>
                </a:gridCol>
                <a:gridCol w="1214244">
                  <a:extLst>
                    <a:ext uri="{9D8B030D-6E8A-4147-A177-3AD203B41FA5}">
                      <a16:colId xmlns:a16="http://schemas.microsoft.com/office/drawing/2014/main" val="214606870"/>
                    </a:ext>
                  </a:extLst>
                </a:gridCol>
                <a:gridCol w="671961">
                  <a:extLst>
                    <a:ext uri="{9D8B030D-6E8A-4147-A177-3AD203B41FA5}">
                      <a16:colId xmlns:a16="http://schemas.microsoft.com/office/drawing/2014/main" val="178122246"/>
                    </a:ext>
                  </a:extLst>
                </a:gridCol>
              </a:tblGrid>
              <a:tr h="356104">
                <a:tc>
                  <a:txBody>
                    <a:bodyPr/>
                    <a:lstStyle/>
                    <a:p>
                      <a:pPr algn="ctr" fontAlgn="t"/>
                      <a:r>
                        <a:rPr lang="en-US" sz="500" b="1" u="none" strike="noStrike">
                          <a:effectLst/>
                        </a:rPr>
                        <a:t> </a:t>
                      </a:r>
                      <a:endParaRPr lang="en-US" sz="500" b="1" i="0" u="none" strike="noStrike">
                        <a:solidFill>
                          <a:srgbClr val="000000"/>
                        </a:solidFill>
                        <a:effectLst/>
                        <a:latin typeface="Calibri" panose="020F0502020204030204" pitchFamily="34" charset="0"/>
                      </a:endParaRPr>
                    </a:p>
                  </a:txBody>
                  <a:tcPr marL="0" marR="0"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US" sz="1200" b="1" u="none" strike="noStrike">
                          <a:effectLst/>
                        </a:rPr>
                        <a:t>Name</a:t>
                      </a:r>
                      <a:endParaRPr lang="en-US" sz="1200" b="1" i="0" u="none" strike="noStrike">
                        <a:solidFill>
                          <a:srgbClr val="000000"/>
                        </a:solidFill>
                        <a:effectLst/>
                        <a:latin typeface="Calibri" panose="020F050202020403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t"/>
                      <a:r>
                        <a:rPr lang="en-US" sz="1200" b="1" u="none" strike="noStrike">
                          <a:effectLst/>
                        </a:rPr>
                        <a:t>Title </a:t>
                      </a:r>
                      <a:endParaRPr lang="en-US" sz="1200" b="1" i="0" u="none" strike="noStrike">
                        <a:solidFill>
                          <a:srgbClr val="000000"/>
                        </a:solidFill>
                        <a:effectLst/>
                        <a:latin typeface="Calibri" panose="020F0502020204030204" pitchFamily="34" charset="0"/>
                      </a:endParaRPr>
                    </a:p>
                  </a:txBody>
                  <a:tcPr marL="0" marR="0" marT="0" marB="0">
                    <a:lnT w="12700" cap="flat" cmpd="sng" algn="ctr">
                      <a:solidFill>
                        <a:schemeClr val="tx1"/>
                      </a:solidFill>
                      <a:prstDash val="solid"/>
                      <a:round/>
                      <a:headEnd type="none" w="med" len="med"/>
                      <a:tailEnd type="none" w="med" len="med"/>
                    </a:lnT>
                    <a:solidFill>
                      <a:schemeClr val="bg1"/>
                    </a:solidFill>
                  </a:tcPr>
                </a:tc>
                <a:tc>
                  <a:txBody>
                    <a:bodyPr/>
                    <a:lstStyle/>
                    <a:p>
                      <a:pPr algn="ctr" fontAlgn="t"/>
                      <a:r>
                        <a:rPr lang="en-US" sz="1200" b="1" u="none" strike="noStrike">
                          <a:effectLst/>
                        </a:rPr>
                        <a:t>Institution</a:t>
                      </a:r>
                      <a:endParaRPr lang="en-US" sz="1200" b="1" i="0" u="none" strike="noStrike">
                        <a:solidFill>
                          <a:srgbClr val="000000"/>
                        </a:solidFill>
                        <a:effectLst/>
                        <a:latin typeface="Calibri" panose="020F0502020204030204" pitchFamily="34" charset="0"/>
                      </a:endParaRPr>
                    </a:p>
                  </a:txBody>
                  <a:tcPr marL="0" marR="0" marT="0" marB="0">
                    <a:lnT w="12700" cap="flat" cmpd="sng" algn="ctr">
                      <a:solidFill>
                        <a:schemeClr val="tx1"/>
                      </a:solidFill>
                      <a:prstDash val="solid"/>
                      <a:round/>
                      <a:headEnd type="none" w="med" len="med"/>
                      <a:tailEnd type="none" w="med" len="med"/>
                    </a:lnT>
                    <a:solidFill>
                      <a:schemeClr val="bg1"/>
                    </a:solidFill>
                  </a:tcPr>
                </a:tc>
                <a:tc>
                  <a:txBody>
                    <a:bodyPr/>
                    <a:lstStyle/>
                    <a:p>
                      <a:pPr algn="ctr" fontAlgn="t"/>
                      <a:r>
                        <a:rPr lang="en-US" sz="1200" b="1" u="none" strike="noStrike">
                          <a:effectLst/>
                        </a:rPr>
                        <a:t>Country</a:t>
                      </a:r>
                      <a:endParaRPr lang="en-US" sz="1200" b="1" i="0" u="none" strike="noStrike">
                        <a:solidFill>
                          <a:srgbClr val="000000"/>
                        </a:solidFill>
                        <a:effectLst/>
                        <a:latin typeface="Calibri" panose="020F0502020204030204" pitchFamily="34" charset="0"/>
                      </a:endParaRPr>
                    </a:p>
                  </a:txBody>
                  <a:tcPr marL="0" marR="0"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2982222742"/>
                  </a:ext>
                </a:extLst>
              </a:tr>
              <a:tr h="1031882">
                <a:tc>
                  <a:txBody>
                    <a:bodyPr/>
                    <a:lstStyle/>
                    <a:p>
                      <a:pPr algn="l" fontAlgn="t"/>
                      <a:endParaRPr lang="en-US" sz="500" b="0" i="0" u="none" strike="noStrike">
                        <a:solidFill>
                          <a:srgbClr val="000000"/>
                        </a:solidFill>
                        <a:effectLst/>
                        <a:latin typeface="Calibri" panose="020F0502020204030204" pitchFamily="34" charset="0"/>
                      </a:endParaRPr>
                    </a:p>
                  </a:txBody>
                  <a:tcPr marL="0" marR="0" marT="0" marB="0">
                    <a:lnL w="12700" cap="flat" cmpd="sng" algn="ctr">
                      <a:solidFill>
                        <a:schemeClr val="tx1"/>
                      </a:solidFill>
                      <a:prstDash val="solid"/>
                      <a:round/>
                      <a:headEnd type="none" w="med" len="med"/>
                      <a:tailEnd type="none" w="med" len="med"/>
                    </a:lnL>
                    <a:solidFill>
                      <a:schemeClr val="bg1"/>
                    </a:solidFill>
                  </a:tcPr>
                </a:tc>
                <a:tc>
                  <a:txBody>
                    <a:bodyPr/>
                    <a:lstStyle/>
                    <a:p>
                      <a:pPr algn="ctr" fontAlgn="ctr"/>
                      <a:r>
                        <a:rPr lang="en-US" sz="1200" u="none" strike="noStrike" err="1">
                          <a:effectLst/>
                        </a:rPr>
                        <a:t>Manbir</a:t>
                      </a:r>
                      <a:r>
                        <a:rPr lang="en-US" sz="1200" u="none" strike="noStrike">
                          <a:effectLst/>
                        </a:rPr>
                        <a:t> </a:t>
                      </a:r>
                      <a:r>
                        <a:rPr lang="en-US" sz="1200" u="none" strike="noStrike" err="1">
                          <a:effectLst/>
                        </a:rPr>
                        <a:t>Nigra</a:t>
                      </a:r>
                      <a:endParaRPr lang="en-US" sz="1200" b="0" i="0" u="none" strike="noStrike">
                        <a:solidFill>
                          <a:srgbClr val="000000"/>
                        </a:solidFill>
                        <a:effectLst/>
                        <a:latin typeface="Calibri" panose="020F0502020204030204" pitchFamily="34" charset="0"/>
                      </a:endParaRPr>
                    </a:p>
                  </a:txBody>
                  <a:tcPr marL="0" marR="0" marT="0" marB="0" anchor="ctr">
                    <a:solidFill>
                      <a:schemeClr val="bg1"/>
                    </a:solidFill>
                  </a:tcPr>
                </a:tc>
                <a:tc>
                  <a:txBody>
                    <a:bodyPr/>
                    <a:lstStyle/>
                    <a:p>
                      <a:pPr algn="ctr" fontAlgn="t"/>
                      <a:r>
                        <a:rPr lang="en-US" sz="1200" u="none" strike="noStrike">
                          <a:effectLst/>
                        </a:rPr>
                        <a:t>Senior Fellow, Vision and Eye Research Institute</a:t>
                      </a:r>
                      <a:endParaRPr lang="en-US" sz="1200" b="0" i="0" u="none" strike="noStrike">
                        <a:solidFill>
                          <a:srgbClr val="000000"/>
                        </a:solidFill>
                        <a:effectLst/>
                        <a:latin typeface="Calibri" panose="020F0502020204030204" pitchFamily="34" charset="0"/>
                      </a:endParaRPr>
                    </a:p>
                  </a:txBody>
                  <a:tcPr marL="0" marR="0" marT="0" marB="0" anchor="ctr">
                    <a:solidFill>
                      <a:schemeClr val="bg1"/>
                    </a:solidFill>
                  </a:tcPr>
                </a:tc>
                <a:tc>
                  <a:txBody>
                    <a:bodyPr/>
                    <a:lstStyle/>
                    <a:p>
                      <a:pPr algn="ctr" fontAlgn="t"/>
                      <a:endParaRPr lang="en-US" sz="1200" b="0" i="0" u="none" strike="noStrike">
                        <a:solidFill>
                          <a:schemeClr val="accent4">
                            <a:lumMod val="90000"/>
                          </a:schemeClr>
                        </a:solidFill>
                        <a:effectLst/>
                        <a:latin typeface="Calibri" panose="020F0502020204030204" pitchFamily="34" charset="0"/>
                      </a:endParaRPr>
                    </a:p>
                  </a:txBody>
                  <a:tcPr marL="0" marR="0" marT="0" marB="0" anchor="ctr">
                    <a:solidFill>
                      <a:schemeClr val="bg1"/>
                    </a:solidFill>
                  </a:tcPr>
                </a:tc>
                <a:tc>
                  <a:txBody>
                    <a:bodyPr/>
                    <a:lstStyle/>
                    <a:p>
                      <a:pPr algn="ctr" fontAlgn="t"/>
                      <a:r>
                        <a:rPr lang="en-US" sz="1200" u="none" strike="noStrike" kern="1200">
                          <a:solidFill>
                            <a:schemeClr val="tx1"/>
                          </a:solidFill>
                          <a:effectLst/>
                          <a:latin typeface="+mn-lt"/>
                          <a:ea typeface="+mn-ea"/>
                          <a:cs typeface="+mn-cs"/>
                        </a:rPr>
                        <a:t>UK</a:t>
                      </a:r>
                    </a:p>
                  </a:txBody>
                  <a:tcPr marL="0" marR="0" marT="0" marB="0" anchor="ct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1981180628"/>
                  </a:ext>
                </a:extLst>
              </a:tr>
              <a:tr h="961480">
                <a:tc>
                  <a:txBody>
                    <a:bodyPr/>
                    <a:lstStyle/>
                    <a:p>
                      <a:pPr algn="l" fontAlgn="b"/>
                      <a:endParaRPr lang="en-US" sz="500" b="0" i="0" u="none" strike="noStrike">
                        <a:solidFill>
                          <a:srgbClr val="000000"/>
                        </a:solidFill>
                        <a:effectLst/>
                        <a:latin typeface="Calibri" panose="020F0502020204030204" pitchFamily="34" charset="0"/>
                      </a:endParaRPr>
                    </a:p>
                  </a:txBody>
                  <a:tcPr marL="0" marR="0" marT="0" marB="0">
                    <a:lnL w="12700" cap="flat" cmpd="sng" algn="ctr">
                      <a:solidFill>
                        <a:schemeClr val="tx1"/>
                      </a:solidFill>
                      <a:prstDash val="solid"/>
                      <a:round/>
                      <a:headEnd type="none" w="med" len="med"/>
                      <a:tailEnd type="none" w="med" len="med"/>
                    </a:lnL>
                    <a:solidFill>
                      <a:schemeClr val="bg1"/>
                    </a:solidFill>
                  </a:tcPr>
                </a:tc>
                <a:tc>
                  <a:txBody>
                    <a:bodyPr/>
                    <a:lstStyle/>
                    <a:p>
                      <a:pPr algn="ctr" fontAlgn="ctr"/>
                      <a:r>
                        <a:rPr lang="en-US" sz="1200" u="none" strike="noStrike">
                          <a:effectLst/>
                        </a:rPr>
                        <a:t>Kiyoshi  Shikino,MD, PhD</a:t>
                      </a:r>
                      <a:endParaRPr lang="en-US" sz="1200" b="0" i="0" u="none" strike="noStrike">
                        <a:solidFill>
                          <a:srgbClr val="000000"/>
                        </a:solidFill>
                        <a:effectLst/>
                        <a:latin typeface="Calibri" panose="020F0502020204030204" pitchFamily="34" charset="0"/>
                      </a:endParaRPr>
                    </a:p>
                  </a:txBody>
                  <a:tcPr marL="0" marR="0" marT="0" marB="0" anchor="ctr">
                    <a:solidFill>
                      <a:schemeClr val="bg1"/>
                    </a:solidFill>
                  </a:tcPr>
                </a:tc>
                <a:tc>
                  <a:txBody>
                    <a:bodyPr/>
                    <a:lstStyle/>
                    <a:p>
                      <a:pPr algn="ctr" fontAlgn="t"/>
                      <a:r>
                        <a:rPr lang="en-US" sz="1200" u="none" strike="noStrike">
                          <a:effectLst/>
                        </a:rPr>
                        <a:t>Professor General Medicine</a:t>
                      </a:r>
                      <a:endParaRPr lang="en-US" sz="1200" b="0" i="0" u="none" strike="noStrike">
                        <a:solidFill>
                          <a:srgbClr val="000000"/>
                        </a:solidFill>
                        <a:effectLst/>
                        <a:latin typeface="Calibri" panose="020F0502020204030204" pitchFamily="34" charset="0"/>
                      </a:endParaRPr>
                    </a:p>
                  </a:txBody>
                  <a:tcPr marL="0" marR="0" marT="0" marB="0" anchor="ctr">
                    <a:solidFill>
                      <a:schemeClr val="bg1"/>
                    </a:solidFill>
                  </a:tcPr>
                </a:tc>
                <a:tc>
                  <a:txBody>
                    <a:bodyPr/>
                    <a:lstStyle/>
                    <a:p>
                      <a:pPr algn="ctr" fontAlgn="t"/>
                      <a:endParaRPr lang="en-US" sz="1200" b="0" i="0" u="none" strike="noStrike">
                        <a:solidFill>
                          <a:schemeClr val="accent4">
                            <a:lumMod val="90000"/>
                          </a:schemeClr>
                        </a:solidFill>
                        <a:effectLst/>
                        <a:latin typeface="Calibri" panose="020F0502020204030204" pitchFamily="34" charset="0"/>
                      </a:endParaRPr>
                    </a:p>
                  </a:txBody>
                  <a:tcPr marL="0" marR="0" marT="0" marB="0" anchor="ctr">
                    <a:solidFill>
                      <a:schemeClr val="bg1"/>
                    </a:solidFill>
                  </a:tcPr>
                </a:tc>
                <a:tc>
                  <a:txBody>
                    <a:bodyPr/>
                    <a:lstStyle/>
                    <a:p>
                      <a:pPr algn="ctr" fontAlgn="t"/>
                      <a:r>
                        <a:rPr lang="en-US" sz="1200" u="none" strike="noStrike" kern="1200">
                          <a:solidFill>
                            <a:schemeClr val="tx1"/>
                          </a:solidFill>
                          <a:effectLst/>
                          <a:latin typeface="+mn-lt"/>
                          <a:ea typeface="+mn-ea"/>
                          <a:cs typeface="+mn-cs"/>
                        </a:rPr>
                        <a:t>Japan</a:t>
                      </a:r>
                    </a:p>
                  </a:txBody>
                  <a:tcPr marL="0" marR="0" marT="0" marB="0" anchor="ct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4060253689"/>
                  </a:ext>
                </a:extLst>
              </a:tr>
              <a:tr h="890261">
                <a:tc>
                  <a:txBody>
                    <a:bodyPr/>
                    <a:lstStyle/>
                    <a:p>
                      <a:pPr algn="l" fontAlgn="t"/>
                      <a:endParaRPr lang="en-US" sz="500" b="0" i="0" u="none" strike="noStrike">
                        <a:solidFill>
                          <a:srgbClr val="000000"/>
                        </a:solidFill>
                        <a:effectLst/>
                        <a:latin typeface="Calibri" panose="020F0502020204030204" pitchFamily="34" charset="0"/>
                      </a:endParaRPr>
                    </a:p>
                  </a:txBody>
                  <a:tcPr marL="0" marR="0" marT="0" marB="0">
                    <a:lnL w="12700" cap="flat" cmpd="sng" algn="ctr">
                      <a:solidFill>
                        <a:schemeClr val="tx1"/>
                      </a:solidFill>
                      <a:prstDash val="solid"/>
                      <a:round/>
                      <a:headEnd type="none" w="med" len="med"/>
                      <a:tailEnd type="none" w="med" len="med"/>
                    </a:lnL>
                    <a:solidFill>
                      <a:schemeClr val="bg1"/>
                    </a:solidFill>
                  </a:tcPr>
                </a:tc>
                <a:tc>
                  <a:txBody>
                    <a:bodyPr/>
                    <a:lstStyle/>
                    <a:p>
                      <a:pPr algn="ctr" fontAlgn="ctr"/>
                      <a:r>
                        <a:rPr lang="en-US" sz="1200" u="none" strike="noStrike" dirty="0">
                          <a:effectLst/>
                        </a:rPr>
                        <a:t>Hamish Dunn</a:t>
                      </a:r>
                      <a:endParaRPr lang="en-US" sz="1200" b="0" i="0" u="none" strike="noStrike" dirty="0">
                        <a:solidFill>
                          <a:srgbClr val="000000"/>
                        </a:solidFill>
                        <a:effectLst/>
                        <a:latin typeface="Calibri" panose="020F0502020204030204" pitchFamily="34" charset="0"/>
                      </a:endParaRPr>
                    </a:p>
                  </a:txBody>
                  <a:tcPr marL="0" marR="0" marT="0" marB="0" anchor="ctr">
                    <a:solidFill>
                      <a:schemeClr val="bg1"/>
                    </a:solidFill>
                  </a:tcPr>
                </a:tc>
                <a:tc>
                  <a:txBody>
                    <a:bodyPr/>
                    <a:lstStyle/>
                    <a:p>
                      <a:pPr algn="ctr" fontAlgn="t"/>
                      <a:r>
                        <a:rPr lang="en-US" sz="1200" u="none" strike="noStrike">
                          <a:effectLst/>
                        </a:rPr>
                        <a:t>Ophthalmologist &amp; Researcher</a:t>
                      </a:r>
                      <a:endParaRPr lang="en-US" sz="1200" b="0" i="0" u="none" strike="noStrike">
                        <a:solidFill>
                          <a:srgbClr val="000000"/>
                        </a:solidFill>
                        <a:effectLst/>
                        <a:latin typeface="Calibri" panose="020F0502020204030204" pitchFamily="34" charset="0"/>
                      </a:endParaRPr>
                    </a:p>
                  </a:txBody>
                  <a:tcPr marL="0" marR="0" marT="0" marB="0" anchor="ctr">
                    <a:solidFill>
                      <a:schemeClr val="bg1"/>
                    </a:solidFill>
                  </a:tcPr>
                </a:tc>
                <a:tc>
                  <a:txBody>
                    <a:bodyPr/>
                    <a:lstStyle/>
                    <a:p>
                      <a:pPr algn="ctr" fontAlgn="t"/>
                      <a:endParaRPr lang="en-US" sz="1200" b="0" i="0" u="none" strike="noStrike">
                        <a:solidFill>
                          <a:schemeClr val="accent4">
                            <a:lumMod val="90000"/>
                          </a:schemeClr>
                        </a:solidFill>
                        <a:effectLst/>
                        <a:latin typeface="Calibri" panose="020F0502020204030204" pitchFamily="34" charset="0"/>
                      </a:endParaRPr>
                    </a:p>
                  </a:txBody>
                  <a:tcPr marL="0" marR="0" marT="0" marB="0" anchor="ctr">
                    <a:solidFill>
                      <a:schemeClr val="bg1"/>
                    </a:solidFill>
                  </a:tcPr>
                </a:tc>
                <a:tc>
                  <a:txBody>
                    <a:bodyPr/>
                    <a:lstStyle/>
                    <a:p>
                      <a:pPr algn="ctr" fontAlgn="t"/>
                      <a:r>
                        <a:rPr lang="en-US" sz="1200" u="none" strike="noStrike" kern="1200">
                          <a:solidFill>
                            <a:schemeClr val="tx1"/>
                          </a:solidFill>
                          <a:effectLst/>
                          <a:latin typeface="+mn-lt"/>
                          <a:ea typeface="+mn-ea"/>
                          <a:cs typeface="+mn-cs"/>
                        </a:rPr>
                        <a:t>Australia</a:t>
                      </a:r>
                    </a:p>
                  </a:txBody>
                  <a:tcPr marL="0" marR="0" marT="0" marB="0" anchor="ct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2590143632"/>
                  </a:ext>
                </a:extLst>
              </a:tr>
              <a:tr h="1068312">
                <a:tc>
                  <a:txBody>
                    <a:bodyPr/>
                    <a:lstStyle/>
                    <a:p>
                      <a:pPr algn="l" fontAlgn="t"/>
                      <a:endParaRPr lang="en-US" sz="500" b="0" i="0" u="none" strike="noStrike">
                        <a:solidFill>
                          <a:srgbClr val="000000"/>
                        </a:solidFill>
                        <a:effectLst/>
                        <a:latin typeface="Calibri" panose="020F0502020204030204" pitchFamily="34" charset="0"/>
                      </a:endParaRPr>
                    </a:p>
                  </a:txBody>
                  <a:tcPr marL="0" marR="0" marT="0" marB="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u="none" strike="noStrike">
                          <a:effectLst/>
                        </a:rPr>
                        <a:t>Drew Reynolds</a:t>
                      </a:r>
                      <a:endParaRPr lang="en-US" sz="1200" b="0" i="0" u="none" strike="noStrike">
                        <a:solidFill>
                          <a:srgbClr val="000000"/>
                        </a:solidFill>
                        <a:effectLst/>
                        <a:latin typeface="Calibri" panose="020F050202020403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pt-BR" sz="1200" u="none" strike="noStrike">
                          <a:effectLst/>
                        </a:rPr>
                        <a:t>Clinical Assistant Professor/Residency Program Director</a:t>
                      </a:r>
                      <a:endParaRPr lang="pt-BR" sz="1200" b="0" i="0" u="none" strike="noStrike">
                        <a:solidFill>
                          <a:srgbClr val="000000"/>
                        </a:solidFill>
                        <a:effectLst/>
                        <a:latin typeface="Calibri" panose="020F050202020403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en-US" sz="1200" b="0" i="0" u="none" strike="noStrike">
                        <a:solidFill>
                          <a:schemeClr val="accent4">
                            <a:lumMod val="90000"/>
                          </a:schemeClr>
                        </a:solidFill>
                        <a:effectLst/>
                        <a:latin typeface="Calibri" panose="020F050202020403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kern="1200" dirty="0">
                          <a:solidFill>
                            <a:schemeClr val="tx1"/>
                          </a:solidFill>
                          <a:effectLst/>
                          <a:latin typeface="+mn-lt"/>
                          <a:ea typeface="+mn-ea"/>
                          <a:cs typeface="+mn-cs"/>
                        </a:rPr>
                        <a:t>USA</a:t>
                      </a:r>
                    </a:p>
                  </a:txBody>
                  <a:tcPr marL="0" marR="0" marT="0"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07457787"/>
                  </a:ext>
                </a:extLst>
              </a:tr>
            </a:tbl>
          </a:graphicData>
        </a:graphic>
      </p:graphicFrame>
      <p:sp>
        <p:nvSpPr>
          <p:cNvPr id="2" name="Title 1">
            <a:extLst>
              <a:ext uri="{FF2B5EF4-FFF2-40B4-BE49-F238E27FC236}">
                <a16:creationId xmlns:a16="http://schemas.microsoft.com/office/drawing/2014/main" id="{A6E95E4F-77BF-4606-8E2C-9368B23AD39C}"/>
              </a:ext>
            </a:extLst>
          </p:cNvPr>
          <p:cNvSpPr>
            <a:spLocks noGrp="1"/>
          </p:cNvSpPr>
          <p:nvPr>
            <p:ph type="title"/>
          </p:nvPr>
        </p:nvSpPr>
        <p:spPr/>
        <p:txBody>
          <a:bodyPr/>
          <a:lstStyle/>
          <a:p>
            <a:r>
              <a:rPr lang="en-US"/>
              <a:t>Some Key Opinion Leaders</a:t>
            </a:r>
          </a:p>
        </p:txBody>
      </p:sp>
      <p:sp>
        <p:nvSpPr>
          <p:cNvPr id="4" name="Slide Number Placeholder 3">
            <a:extLst>
              <a:ext uri="{FF2B5EF4-FFF2-40B4-BE49-F238E27FC236}">
                <a16:creationId xmlns:a16="http://schemas.microsoft.com/office/drawing/2014/main" id="{4DD732C8-4DFF-45D5-84D7-C2719D415297}"/>
              </a:ext>
            </a:extLst>
          </p:cNvPr>
          <p:cNvSpPr>
            <a:spLocks noGrp="1"/>
          </p:cNvSpPr>
          <p:nvPr>
            <p:ph type="sldNum" sz="quarter" idx="4"/>
          </p:nvPr>
        </p:nvSpPr>
        <p:spPr/>
        <p:txBody>
          <a:bodyPr/>
          <a:lstStyle/>
          <a:p>
            <a:fld id="{982D468C-8F71-314C-A979-931A6F21B3BB}" type="slidenum">
              <a:rPr lang="en-US" smtClean="0"/>
              <a:pPr/>
              <a:t>17</a:t>
            </a:fld>
            <a:endParaRPr lang="en-US"/>
          </a:p>
        </p:txBody>
      </p:sp>
      <p:sp>
        <p:nvSpPr>
          <p:cNvPr id="5" name="Text Placeholder 4">
            <a:extLst>
              <a:ext uri="{FF2B5EF4-FFF2-40B4-BE49-F238E27FC236}">
                <a16:creationId xmlns:a16="http://schemas.microsoft.com/office/drawing/2014/main" id="{284E3856-7582-472D-8C11-CEB469A558CF}"/>
              </a:ext>
            </a:extLst>
          </p:cNvPr>
          <p:cNvSpPr>
            <a:spLocks noGrp="1"/>
          </p:cNvSpPr>
          <p:nvPr>
            <p:ph type="body" sz="quarter" idx="13"/>
          </p:nvPr>
        </p:nvSpPr>
        <p:spPr/>
        <p:txBody>
          <a:bodyPr/>
          <a:lstStyle/>
          <a:p>
            <a:endParaRPr lang="en-US"/>
          </a:p>
        </p:txBody>
      </p:sp>
      <p:grpSp>
        <p:nvGrpSpPr>
          <p:cNvPr id="21" name="Group 20">
            <a:extLst>
              <a:ext uri="{FF2B5EF4-FFF2-40B4-BE49-F238E27FC236}">
                <a16:creationId xmlns:a16="http://schemas.microsoft.com/office/drawing/2014/main" id="{3032B785-B3FF-4148-9D87-331B1771E645}"/>
              </a:ext>
            </a:extLst>
          </p:cNvPr>
          <p:cNvGrpSpPr/>
          <p:nvPr/>
        </p:nvGrpSpPr>
        <p:grpSpPr>
          <a:xfrm>
            <a:off x="266609" y="1528318"/>
            <a:ext cx="5545276" cy="4308038"/>
            <a:chOff x="266609" y="1528318"/>
            <a:chExt cx="5545276" cy="4308038"/>
          </a:xfrm>
        </p:grpSpPr>
        <p:graphicFrame>
          <p:nvGraphicFramePr>
            <p:cNvPr id="19" name="Content Placeholder 5">
              <a:extLst>
                <a:ext uri="{FF2B5EF4-FFF2-40B4-BE49-F238E27FC236}">
                  <a16:creationId xmlns:a16="http://schemas.microsoft.com/office/drawing/2014/main" id="{A1D73E1D-82A8-44BA-9EE8-6A60BDE564F0}"/>
                </a:ext>
              </a:extLst>
            </p:cNvPr>
            <p:cNvGraphicFramePr>
              <a:graphicFrameLocks/>
            </p:cNvGraphicFramePr>
            <p:nvPr/>
          </p:nvGraphicFramePr>
          <p:xfrm>
            <a:off x="266609" y="1528318"/>
            <a:ext cx="5545276" cy="4308038"/>
          </p:xfrm>
          <a:graphic>
            <a:graphicData uri="http://schemas.openxmlformats.org/drawingml/2006/table">
              <a:tbl>
                <a:tblPr>
                  <a:tableStyleId>{5C22544A-7EE6-4342-B048-85BDC9FD1C3A}</a:tableStyleId>
                </a:tblPr>
                <a:tblGrid>
                  <a:gridCol w="718520">
                    <a:extLst>
                      <a:ext uri="{9D8B030D-6E8A-4147-A177-3AD203B41FA5}">
                        <a16:colId xmlns:a16="http://schemas.microsoft.com/office/drawing/2014/main" val="2646014694"/>
                      </a:ext>
                    </a:extLst>
                  </a:gridCol>
                  <a:gridCol w="1451370">
                    <a:extLst>
                      <a:ext uri="{9D8B030D-6E8A-4147-A177-3AD203B41FA5}">
                        <a16:colId xmlns:a16="http://schemas.microsoft.com/office/drawing/2014/main" val="1243521246"/>
                      </a:ext>
                    </a:extLst>
                  </a:gridCol>
                  <a:gridCol w="1621939">
                    <a:extLst>
                      <a:ext uri="{9D8B030D-6E8A-4147-A177-3AD203B41FA5}">
                        <a16:colId xmlns:a16="http://schemas.microsoft.com/office/drawing/2014/main" val="1736529365"/>
                      </a:ext>
                    </a:extLst>
                  </a:gridCol>
                  <a:gridCol w="1128781">
                    <a:extLst>
                      <a:ext uri="{9D8B030D-6E8A-4147-A177-3AD203B41FA5}">
                        <a16:colId xmlns:a16="http://schemas.microsoft.com/office/drawing/2014/main" val="214606870"/>
                      </a:ext>
                    </a:extLst>
                  </a:gridCol>
                  <a:gridCol w="624666">
                    <a:extLst>
                      <a:ext uri="{9D8B030D-6E8A-4147-A177-3AD203B41FA5}">
                        <a16:colId xmlns:a16="http://schemas.microsoft.com/office/drawing/2014/main" val="178122246"/>
                      </a:ext>
                    </a:extLst>
                  </a:gridCol>
                </a:tblGrid>
                <a:tr h="196121">
                  <a:tc>
                    <a:txBody>
                      <a:bodyPr/>
                      <a:lstStyle/>
                      <a:p>
                        <a:pPr algn="ctr" fontAlgn="t"/>
                        <a:r>
                          <a:rPr lang="en-US" sz="500" b="1" u="none" strike="noStrike">
                            <a:effectLst/>
                          </a:rPr>
                          <a:t> </a:t>
                        </a:r>
                        <a:endParaRPr lang="en-US" sz="500" b="1" i="0" u="none" strike="noStrike">
                          <a:solidFill>
                            <a:srgbClr val="000000"/>
                          </a:solidFill>
                          <a:effectLst/>
                          <a:latin typeface="Calibri" panose="020F0502020204030204" pitchFamily="34" charset="0"/>
                        </a:endParaRPr>
                      </a:p>
                    </a:txBody>
                    <a:tcPr marL="0" marR="0"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US" sz="1200" b="1" u="none" strike="noStrike">
                            <a:effectLst/>
                          </a:rPr>
                          <a:t>Name</a:t>
                        </a:r>
                        <a:endParaRPr lang="en-US" sz="1200" b="1" i="0" u="none" strike="noStrike">
                          <a:solidFill>
                            <a:srgbClr val="000000"/>
                          </a:solidFill>
                          <a:effectLst/>
                          <a:latin typeface="Calibri" panose="020F0502020204030204" pitchFamily="34"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t"/>
                        <a:r>
                          <a:rPr lang="en-US" sz="1200" b="1" u="none" strike="noStrike">
                            <a:effectLst/>
                          </a:rPr>
                          <a:t>Title </a:t>
                        </a:r>
                        <a:endParaRPr lang="en-US" sz="1200" b="1" i="0" u="none" strike="noStrike">
                          <a:solidFill>
                            <a:srgbClr val="000000"/>
                          </a:solidFill>
                          <a:effectLst/>
                          <a:latin typeface="Calibri" panose="020F0502020204030204" pitchFamily="34" charset="0"/>
                        </a:endParaRPr>
                      </a:p>
                    </a:txBody>
                    <a:tcPr marL="0" marR="0" marT="0" marB="0">
                      <a:lnT w="12700" cap="flat" cmpd="sng" algn="ctr">
                        <a:solidFill>
                          <a:schemeClr val="tx1"/>
                        </a:solidFill>
                        <a:prstDash val="solid"/>
                        <a:round/>
                        <a:headEnd type="none" w="med" len="med"/>
                        <a:tailEnd type="none" w="med" len="med"/>
                      </a:lnT>
                      <a:solidFill>
                        <a:schemeClr val="bg1"/>
                      </a:solidFill>
                    </a:tcPr>
                  </a:tc>
                  <a:tc>
                    <a:txBody>
                      <a:bodyPr/>
                      <a:lstStyle/>
                      <a:p>
                        <a:pPr algn="ctr" fontAlgn="t"/>
                        <a:r>
                          <a:rPr lang="en-US" sz="1200" b="1" u="none" strike="noStrike">
                            <a:effectLst/>
                          </a:rPr>
                          <a:t>Institution</a:t>
                        </a:r>
                        <a:endParaRPr lang="en-US" sz="1200" b="1" i="0" u="none" strike="noStrike">
                          <a:solidFill>
                            <a:srgbClr val="000000"/>
                          </a:solidFill>
                          <a:effectLst/>
                          <a:latin typeface="Calibri" panose="020F0502020204030204" pitchFamily="34" charset="0"/>
                        </a:endParaRPr>
                      </a:p>
                    </a:txBody>
                    <a:tcPr marL="0" marR="0" marT="0" marB="0">
                      <a:lnT w="12700" cap="flat" cmpd="sng" algn="ctr">
                        <a:solidFill>
                          <a:schemeClr val="tx1"/>
                        </a:solidFill>
                        <a:prstDash val="solid"/>
                        <a:round/>
                        <a:headEnd type="none" w="med" len="med"/>
                        <a:tailEnd type="none" w="med" len="med"/>
                      </a:lnT>
                      <a:solidFill>
                        <a:schemeClr val="bg1"/>
                      </a:solidFill>
                    </a:tcPr>
                  </a:tc>
                  <a:tc>
                    <a:txBody>
                      <a:bodyPr/>
                      <a:lstStyle/>
                      <a:p>
                        <a:pPr algn="ctr" fontAlgn="t"/>
                        <a:r>
                          <a:rPr lang="en-US" sz="1200" b="1" u="none" strike="noStrike">
                            <a:effectLst/>
                          </a:rPr>
                          <a:t>Country</a:t>
                        </a:r>
                        <a:endParaRPr lang="en-US" sz="1200" b="1" i="0" u="none" strike="noStrike">
                          <a:solidFill>
                            <a:srgbClr val="000000"/>
                          </a:solidFill>
                          <a:effectLst/>
                          <a:latin typeface="Calibri" panose="020F0502020204030204" pitchFamily="34" charset="0"/>
                        </a:endParaRPr>
                      </a:p>
                    </a:txBody>
                    <a:tcPr marL="0" marR="0"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2982222742"/>
                    </a:ext>
                  </a:extLst>
                </a:tr>
                <a:tr h="779854">
                  <a:tc>
                    <a:txBody>
                      <a:bodyPr/>
                      <a:lstStyle/>
                      <a:p>
                        <a:pPr algn="l" fontAlgn="t"/>
                        <a:endParaRPr lang="en-US" sz="500" b="0" i="0" u="none" strike="noStrike">
                          <a:solidFill>
                            <a:srgbClr val="000000"/>
                          </a:solidFill>
                          <a:effectLst/>
                          <a:latin typeface="Calibri" panose="020F0502020204030204" pitchFamily="34" charset="0"/>
                        </a:endParaRPr>
                      </a:p>
                    </a:txBody>
                    <a:tcPr marL="0" marR="0" marT="0" marB="0">
                      <a:lnL w="12700" cap="flat" cmpd="sng" algn="ctr">
                        <a:solidFill>
                          <a:schemeClr val="tx1"/>
                        </a:solidFill>
                        <a:prstDash val="solid"/>
                        <a:round/>
                        <a:headEnd type="none" w="med" len="med"/>
                        <a:tailEnd type="none" w="med" len="med"/>
                      </a:lnL>
                      <a:solidFill>
                        <a:schemeClr val="bg1"/>
                      </a:solidFill>
                    </a:tcPr>
                  </a:tc>
                  <a:tc>
                    <a:txBody>
                      <a:bodyPr/>
                      <a:lstStyle/>
                      <a:p>
                        <a:pPr algn="ctr" fontAlgn="ctr"/>
                        <a:r>
                          <a:rPr lang="en-US" sz="1200" u="none" strike="noStrike">
                            <a:effectLst/>
                          </a:rPr>
                          <a:t>Y. Joyce Liao</a:t>
                        </a:r>
                        <a:endParaRPr lang="en-US" sz="1200" b="0" i="0" u="none" strike="noStrike">
                          <a:solidFill>
                            <a:srgbClr val="000000"/>
                          </a:solidFill>
                          <a:effectLst/>
                          <a:latin typeface="Calibri" panose="020F0502020204030204" pitchFamily="34" charset="0"/>
                        </a:endParaRPr>
                      </a:p>
                    </a:txBody>
                    <a:tcPr marL="0" marR="0" marT="0" marB="0" anchor="ctr">
                      <a:solidFill>
                        <a:schemeClr val="bg1"/>
                      </a:solidFill>
                    </a:tcPr>
                  </a:tc>
                  <a:tc>
                    <a:txBody>
                      <a:bodyPr/>
                      <a:lstStyle/>
                      <a:p>
                        <a:pPr algn="ctr" fontAlgn="t"/>
                        <a:r>
                          <a:rPr lang="en-US" sz="1200" u="none" strike="noStrike">
                            <a:effectLst/>
                          </a:rPr>
                          <a:t>Director, Neuro-Ophthalmology</a:t>
                        </a:r>
                        <a:endParaRPr lang="en-US" sz="1200" b="0" i="0" u="none" strike="noStrike">
                          <a:solidFill>
                            <a:srgbClr val="000000"/>
                          </a:solidFill>
                          <a:effectLst/>
                          <a:latin typeface="Calibri" panose="020F0502020204030204" pitchFamily="34" charset="0"/>
                        </a:endParaRPr>
                      </a:p>
                    </a:txBody>
                    <a:tcPr marL="0" marR="0" marT="0" marB="0" anchor="ctr">
                      <a:solidFill>
                        <a:schemeClr val="bg1"/>
                      </a:solidFill>
                    </a:tcPr>
                  </a:tc>
                  <a:tc>
                    <a:txBody>
                      <a:bodyPr/>
                      <a:lstStyle/>
                      <a:p>
                        <a:pPr algn="ctr" fontAlgn="t"/>
                        <a:endParaRPr lang="en-US" sz="1200" b="0" i="0" u="none" strike="noStrike">
                          <a:solidFill>
                            <a:schemeClr val="accent4">
                              <a:lumMod val="90000"/>
                            </a:schemeClr>
                          </a:solidFill>
                          <a:effectLst/>
                          <a:latin typeface="Calibri" panose="020F0502020204030204" pitchFamily="34" charset="0"/>
                        </a:endParaRPr>
                      </a:p>
                    </a:txBody>
                    <a:tcPr marL="0" marR="0" marT="0" marB="0" anchor="ctr">
                      <a:solidFill>
                        <a:schemeClr val="bg1"/>
                      </a:solidFill>
                    </a:tcPr>
                  </a:tc>
                  <a:tc>
                    <a:txBody>
                      <a:bodyPr/>
                      <a:lstStyle/>
                      <a:p>
                        <a:pPr marL="0" algn="ctr" defTabSz="914400" rtl="0" eaLnBrk="1" fontAlgn="t" latinLnBrk="0" hangingPunct="1"/>
                        <a:r>
                          <a:rPr lang="en-US" sz="1200" u="none" strike="noStrike" kern="1200">
                            <a:solidFill>
                              <a:schemeClr val="tx1"/>
                            </a:solidFill>
                            <a:effectLst/>
                            <a:latin typeface="+mn-lt"/>
                            <a:ea typeface="+mn-ea"/>
                            <a:cs typeface="+mn-cs"/>
                          </a:rPr>
                          <a:t>USA</a:t>
                        </a:r>
                      </a:p>
                    </a:txBody>
                    <a:tcPr marL="0" marR="0" marT="0" marB="0" anchor="ct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4131430794"/>
                    </a:ext>
                  </a:extLst>
                </a:tr>
                <a:tr h="782275">
                  <a:tc>
                    <a:txBody>
                      <a:bodyPr/>
                      <a:lstStyle/>
                      <a:p>
                        <a:pPr algn="l" fontAlgn="t"/>
                        <a:endParaRPr lang="en-US" sz="500" b="0" i="0" u="none" strike="noStrike">
                          <a:solidFill>
                            <a:srgbClr val="000000"/>
                          </a:solidFill>
                          <a:effectLst/>
                          <a:latin typeface="Calibri" panose="020F0502020204030204" pitchFamily="34" charset="0"/>
                        </a:endParaRPr>
                      </a:p>
                    </a:txBody>
                    <a:tcPr marL="0" marR="0" marT="0" marB="0">
                      <a:lnL w="12700" cap="flat" cmpd="sng" algn="ctr">
                        <a:solidFill>
                          <a:schemeClr val="tx1"/>
                        </a:solidFill>
                        <a:prstDash val="solid"/>
                        <a:round/>
                        <a:headEnd type="none" w="med" len="med"/>
                        <a:tailEnd type="none" w="med" len="med"/>
                      </a:lnL>
                      <a:solidFill>
                        <a:schemeClr val="bg1"/>
                      </a:solidFill>
                    </a:tcPr>
                  </a:tc>
                  <a:tc>
                    <a:txBody>
                      <a:bodyPr/>
                      <a:lstStyle/>
                      <a:p>
                        <a:pPr algn="ctr" fontAlgn="ctr"/>
                        <a:r>
                          <a:rPr lang="en-US" sz="1200" u="none" strike="noStrike">
                            <a:effectLst/>
                          </a:rPr>
                          <a:t>Malathi Srinivasan</a:t>
                        </a:r>
                        <a:endParaRPr lang="en-US" sz="1200" b="0" i="0" u="none" strike="noStrike">
                          <a:solidFill>
                            <a:srgbClr val="000000"/>
                          </a:solidFill>
                          <a:effectLst/>
                          <a:latin typeface="Calibri" panose="020F0502020204030204" pitchFamily="34" charset="0"/>
                        </a:endParaRPr>
                      </a:p>
                    </a:txBody>
                    <a:tcPr marL="0" marR="0" marT="0" marB="0" anchor="ctr">
                      <a:solidFill>
                        <a:schemeClr val="bg1"/>
                      </a:solidFill>
                    </a:tcPr>
                  </a:tc>
                  <a:tc>
                    <a:txBody>
                      <a:bodyPr/>
                      <a:lstStyle/>
                      <a:p>
                        <a:pPr algn="ctr" fontAlgn="t"/>
                        <a:r>
                          <a:rPr lang="en-US" sz="1200" u="none" strike="noStrike">
                            <a:effectLst/>
                          </a:rPr>
                          <a:t>Clinical Professor of Medicine</a:t>
                        </a:r>
                        <a:endParaRPr lang="en-US" sz="1200" b="0" i="0" u="none" strike="noStrike">
                          <a:solidFill>
                            <a:srgbClr val="000000"/>
                          </a:solidFill>
                          <a:effectLst/>
                          <a:latin typeface="Calibri" panose="020F0502020204030204" pitchFamily="34" charset="0"/>
                        </a:endParaRPr>
                      </a:p>
                    </a:txBody>
                    <a:tcPr marL="0" marR="0" marT="0" marB="0" anchor="ctr">
                      <a:lnB w="12700" cap="flat" cmpd="sng" algn="ctr">
                        <a:noFill/>
                        <a:prstDash val="solid"/>
                        <a:round/>
                        <a:headEnd type="none" w="med" len="med"/>
                        <a:tailEnd type="none" w="med" len="med"/>
                      </a:lnB>
                      <a:solidFill>
                        <a:schemeClr val="bg1"/>
                      </a:solidFill>
                    </a:tcPr>
                  </a:tc>
                  <a:tc>
                    <a:txBody>
                      <a:bodyPr/>
                      <a:lstStyle/>
                      <a:p>
                        <a:pPr algn="ctr" fontAlgn="t"/>
                        <a:endParaRPr lang="en-US" sz="1200" b="0" i="0" u="none" strike="noStrike">
                          <a:solidFill>
                            <a:schemeClr val="accent4">
                              <a:lumMod val="90000"/>
                            </a:schemeClr>
                          </a:solidFill>
                          <a:effectLst/>
                          <a:latin typeface="Calibri" panose="020F0502020204030204" pitchFamily="34" charset="0"/>
                        </a:endParaRPr>
                      </a:p>
                    </a:txBody>
                    <a:tcPr marL="0" marR="0" marT="0" marB="0" anchor="ctr">
                      <a:solidFill>
                        <a:schemeClr val="bg1"/>
                      </a:solidFill>
                    </a:tcPr>
                  </a:tc>
                  <a:tc>
                    <a:txBody>
                      <a:bodyPr/>
                      <a:lstStyle/>
                      <a:p>
                        <a:pPr marL="0" algn="ctr" defTabSz="914400" rtl="0" eaLnBrk="1" fontAlgn="t" latinLnBrk="0" hangingPunct="1"/>
                        <a:r>
                          <a:rPr lang="en-US" sz="1200" u="none" strike="noStrike" kern="1200">
                            <a:solidFill>
                              <a:schemeClr val="tx1"/>
                            </a:solidFill>
                            <a:effectLst/>
                            <a:latin typeface="+mn-lt"/>
                            <a:ea typeface="+mn-ea"/>
                            <a:cs typeface="+mn-cs"/>
                          </a:rPr>
                          <a:t>USA</a:t>
                        </a:r>
                      </a:p>
                    </a:txBody>
                    <a:tcPr marL="0" marR="0" marT="0" marB="0" anchor="ct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1712301533"/>
                    </a:ext>
                  </a:extLst>
                </a:tr>
                <a:tr h="898031">
                  <a:tc>
                    <a:txBody>
                      <a:bodyPr/>
                      <a:lstStyle/>
                      <a:p>
                        <a:pPr algn="l" fontAlgn="t"/>
                        <a:endParaRPr lang="en-US" sz="500" b="0" i="0" u="none" strike="noStrike">
                          <a:solidFill>
                            <a:srgbClr val="000000"/>
                          </a:solidFill>
                          <a:effectLst/>
                          <a:latin typeface="Calibri" panose="020F0502020204030204" pitchFamily="34" charset="0"/>
                        </a:endParaRPr>
                      </a:p>
                    </a:txBody>
                    <a:tcPr marL="0" marR="0" marT="0" marB="0">
                      <a:lnL w="12700" cap="flat" cmpd="sng" algn="ctr">
                        <a:solidFill>
                          <a:schemeClr val="tx1"/>
                        </a:solidFill>
                        <a:prstDash val="solid"/>
                        <a:round/>
                        <a:headEnd type="none" w="med" len="med"/>
                        <a:tailEnd type="none" w="med" len="med"/>
                      </a:lnL>
                      <a:solidFill>
                        <a:schemeClr val="bg1"/>
                      </a:solidFill>
                    </a:tcPr>
                  </a:tc>
                  <a:tc>
                    <a:txBody>
                      <a:bodyPr/>
                      <a:lstStyle/>
                      <a:p>
                        <a:pPr algn="ctr" fontAlgn="ctr"/>
                        <a:r>
                          <a:rPr lang="en-US" sz="1200" u="none" strike="noStrike">
                            <a:effectLst/>
                          </a:rPr>
                          <a:t>Joseph </a:t>
                        </a:r>
                        <a:r>
                          <a:rPr lang="en-US" sz="1200" u="none" strike="noStrike" err="1">
                            <a:effectLst/>
                          </a:rPr>
                          <a:t>Wiedemer</a:t>
                        </a:r>
                        <a:endParaRPr lang="en-US" sz="1200" b="0" i="0" u="none" strike="noStrike">
                          <a:solidFill>
                            <a:srgbClr val="000000"/>
                          </a:solidFill>
                          <a:effectLst/>
                          <a:latin typeface="Calibri" panose="020F0502020204030204" pitchFamily="34" charset="0"/>
                        </a:endParaRPr>
                      </a:p>
                    </a:txBody>
                    <a:tcPr marL="0" marR="0" marT="0" marB="0" anchor="ctr">
                      <a:lnR w="12700" cap="flat" cmpd="sng" algn="ctr">
                        <a:noFill/>
                        <a:prstDash val="solid"/>
                        <a:round/>
                        <a:headEnd type="none" w="med" len="med"/>
                        <a:tailEnd type="none" w="med" len="med"/>
                      </a:lnR>
                      <a:solidFill>
                        <a:schemeClr val="bg1"/>
                      </a:solidFill>
                    </a:tcPr>
                  </a:tc>
                  <a:tc>
                    <a:txBody>
                      <a:bodyPr/>
                      <a:lstStyle/>
                      <a:p>
                        <a:pPr algn="ctr" fontAlgn="t"/>
                        <a:r>
                          <a:rPr lang="en-US" sz="1200" u="none" strike="noStrike">
                            <a:effectLst/>
                          </a:rPr>
                          <a:t>Associate Professor of Family Medicine</a:t>
                        </a:r>
                        <a:endParaRPr lang="en-US" sz="1200" b="0" i="0" u="none" strike="noStrike">
                          <a:solidFill>
                            <a:srgbClr val="000000"/>
                          </a:solidFill>
                          <a:effectLst/>
                          <a:latin typeface="Calibri" panose="020F050202020403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endParaRPr lang="en-US" sz="1200" b="0" i="0" u="none" strike="noStrike">
                          <a:solidFill>
                            <a:schemeClr val="accent4">
                              <a:lumMod val="90000"/>
                            </a:schemeClr>
                          </a:solidFill>
                          <a:effectLst/>
                          <a:latin typeface="Calibri" panose="020F0502020204030204" pitchFamily="34" charset="0"/>
                        </a:endParaRPr>
                      </a:p>
                    </a:txBody>
                    <a:tcPr marL="0" marR="0" marT="0" marB="0" anchor="ctr">
                      <a:lnL w="12700" cap="flat" cmpd="sng" algn="ctr">
                        <a:noFill/>
                        <a:prstDash val="solid"/>
                        <a:round/>
                        <a:headEnd type="none" w="med" len="med"/>
                        <a:tailEnd type="none" w="med" len="med"/>
                      </a:lnL>
                      <a:solidFill>
                        <a:schemeClr val="bg1"/>
                      </a:solidFill>
                    </a:tcPr>
                  </a:tc>
                  <a:tc>
                    <a:txBody>
                      <a:bodyPr/>
                      <a:lstStyle/>
                      <a:p>
                        <a:pPr marL="0" algn="ctr" defTabSz="914400" rtl="0" eaLnBrk="1" fontAlgn="t" latinLnBrk="0" hangingPunct="1"/>
                        <a:r>
                          <a:rPr lang="en-US" sz="1200" u="none" strike="noStrike" kern="1200">
                            <a:solidFill>
                              <a:schemeClr val="tx1"/>
                            </a:solidFill>
                            <a:effectLst/>
                            <a:latin typeface="+mn-lt"/>
                            <a:ea typeface="+mn-ea"/>
                            <a:cs typeface="+mn-cs"/>
                          </a:rPr>
                          <a:t>USA</a:t>
                        </a:r>
                      </a:p>
                    </a:txBody>
                    <a:tcPr marL="0" marR="0" marT="0" marB="0" anchor="ct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909606689"/>
                    </a:ext>
                  </a:extLst>
                </a:tr>
                <a:tr h="867272">
                  <a:tc>
                    <a:txBody>
                      <a:bodyPr/>
                      <a:lstStyle/>
                      <a:p>
                        <a:pPr algn="l" fontAlgn="t"/>
                        <a:endParaRPr lang="en-US" sz="500" b="0" i="0" u="none" strike="noStrike">
                          <a:solidFill>
                            <a:srgbClr val="000000"/>
                          </a:solidFill>
                          <a:effectLst/>
                          <a:latin typeface="Calibri" panose="020F0502020204030204" pitchFamily="34" charset="0"/>
                        </a:endParaRPr>
                      </a:p>
                    </a:txBody>
                    <a:tcPr marL="0" marR="0" marT="0" marB="0">
                      <a:lnL w="12700" cap="flat" cmpd="sng" algn="ctr">
                        <a:solidFill>
                          <a:schemeClr val="tx1"/>
                        </a:solidFill>
                        <a:prstDash val="solid"/>
                        <a:round/>
                        <a:headEnd type="none" w="med" len="med"/>
                        <a:tailEnd type="none" w="med" len="med"/>
                      </a:lnL>
                      <a:solidFill>
                        <a:schemeClr val="bg1"/>
                      </a:solidFill>
                    </a:tcPr>
                  </a:tc>
                  <a:tc>
                    <a:txBody>
                      <a:bodyPr/>
                      <a:lstStyle/>
                      <a:p>
                        <a:pPr algn="ctr" fontAlgn="ctr"/>
                        <a:r>
                          <a:rPr lang="en-US" sz="1200" u="none" strike="noStrike">
                            <a:effectLst/>
                          </a:rPr>
                          <a:t>Blair Pollitt Golden</a:t>
                        </a:r>
                        <a:endParaRPr lang="en-US" sz="1200" b="0" i="0" u="none" strike="noStrike">
                          <a:solidFill>
                            <a:srgbClr val="000000"/>
                          </a:solidFill>
                          <a:effectLst/>
                          <a:latin typeface="Calibri" panose="020F0502020204030204" pitchFamily="34" charset="0"/>
                        </a:endParaRPr>
                      </a:p>
                    </a:txBody>
                    <a:tcPr marL="0" marR="0" marT="0" marB="0" anchor="ctr">
                      <a:solidFill>
                        <a:schemeClr val="bg1"/>
                      </a:solidFill>
                    </a:tcPr>
                  </a:tc>
                  <a:tc>
                    <a:txBody>
                      <a:bodyPr/>
                      <a:lstStyle/>
                      <a:p>
                        <a:pPr algn="ctr" fontAlgn="t"/>
                        <a:r>
                          <a:rPr lang="en-US" sz="1200" u="none" strike="noStrike">
                            <a:effectLst/>
                          </a:rPr>
                          <a:t>Assistant Professor of Medicine </a:t>
                        </a:r>
                        <a:endParaRPr lang="en-US" sz="1200" b="0" i="0" u="none" strike="noStrike">
                          <a:solidFill>
                            <a:srgbClr val="000000"/>
                          </a:solidFill>
                          <a:effectLst/>
                          <a:latin typeface="Calibri" panose="020F0502020204030204" pitchFamily="34" charset="0"/>
                        </a:endParaRPr>
                      </a:p>
                    </a:txBody>
                    <a:tcPr marL="0" marR="0" marT="0" marB="0" anchor="ctr">
                      <a:lnT w="12700" cap="flat" cmpd="sng" algn="ctr">
                        <a:noFill/>
                        <a:prstDash val="solid"/>
                        <a:round/>
                        <a:headEnd type="none" w="med" len="med"/>
                        <a:tailEnd type="none" w="med" len="med"/>
                      </a:lnT>
                      <a:solidFill>
                        <a:schemeClr val="bg1"/>
                      </a:solidFill>
                    </a:tcPr>
                  </a:tc>
                  <a:tc>
                    <a:txBody>
                      <a:bodyPr/>
                      <a:lstStyle/>
                      <a:p>
                        <a:pPr algn="ctr" fontAlgn="t"/>
                        <a:endParaRPr lang="en-US" sz="1200" b="0" i="0" u="none" strike="noStrike">
                          <a:solidFill>
                            <a:schemeClr val="accent4">
                              <a:lumMod val="90000"/>
                            </a:schemeClr>
                          </a:solidFill>
                          <a:effectLst/>
                          <a:latin typeface="Calibri" panose="020F0502020204030204" pitchFamily="34" charset="0"/>
                        </a:endParaRPr>
                      </a:p>
                    </a:txBody>
                    <a:tcPr marL="0" marR="0" marT="0" marB="0" anchor="ctr">
                      <a:solidFill>
                        <a:schemeClr val="bg1"/>
                      </a:solidFill>
                    </a:tcPr>
                  </a:tc>
                  <a:tc>
                    <a:txBody>
                      <a:bodyPr/>
                      <a:lstStyle/>
                      <a:p>
                        <a:pPr marL="0" algn="ctr" defTabSz="914400" rtl="0" eaLnBrk="1" fontAlgn="t" latinLnBrk="0" hangingPunct="1"/>
                        <a:r>
                          <a:rPr lang="en-US" sz="1200" u="none" strike="noStrike" kern="1200">
                            <a:solidFill>
                              <a:schemeClr val="tx1"/>
                            </a:solidFill>
                            <a:effectLst/>
                            <a:latin typeface="+mn-lt"/>
                            <a:ea typeface="+mn-ea"/>
                            <a:cs typeface="+mn-cs"/>
                          </a:rPr>
                          <a:t>USA</a:t>
                        </a:r>
                      </a:p>
                    </a:txBody>
                    <a:tcPr marL="0" marR="0" marT="0" marB="0" anchor="ct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1989208115"/>
                    </a:ext>
                  </a:extLst>
                </a:tr>
                <a:tr h="784485">
                  <a:tc>
                    <a:txBody>
                      <a:bodyPr/>
                      <a:lstStyle/>
                      <a:p>
                        <a:pPr algn="l" fontAlgn="t"/>
                        <a:endParaRPr lang="en-US" sz="500" b="0" i="0" u="none" strike="noStrike">
                          <a:solidFill>
                            <a:srgbClr val="000000"/>
                          </a:solidFill>
                          <a:effectLst/>
                          <a:latin typeface="Calibri" panose="020F0502020204030204" pitchFamily="34" charset="0"/>
                        </a:endParaRPr>
                      </a:p>
                    </a:txBody>
                    <a:tcPr marL="0" marR="0" marT="0" marB="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u="none" strike="noStrike">
                            <a:effectLst/>
                          </a:rPr>
                          <a:t>Chrisfouad Raif   Alabiad</a:t>
                        </a:r>
                        <a:endParaRPr lang="en-US" sz="1200" b="0" i="0" u="none" strike="noStrike">
                          <a:solidFill>
                            <a:srgbClr val="000000"/>
                          </a:solidFill>
                          <a:effectLst/>
                          <a:latin typeface="Calibri" panose="020F050202020403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u="none" strike="noStrike">
                            <a:effectLst/>
                          </a:rPr>
                          <a:t>Associate Professor Ophthalmology</a:t>
                        </a:r>
                        <a:endParaRPr lang="en-US" sz="1200" b="0" i="0" u="none" strike="noStrike">
                          <a:solidFill>
                            <a:srgbClr val="000000"/>
                          </a:solidFill>
                          <a:effectLst/>
                          <a:latin typeface="Calibri" panose="020F050202020403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t"/>
                        <a:endParaRPr lang="en-US" sz="1200" b="0" i="0" u="none" strike="noStrike">
                          <a:solidFill>
                            <a:schemeClr val="accent4">
                              <a:lumMod val="90000"/>
                            </a:schemeClr>
                          </a:solidFill>
                          <a:effectLst/>
                          <a:latin typeface="Calibri" panose="020F0502020204030204" pitchFamily="34" charset="0"/>
                        </a:endParaRPr>
                      </a:p>
                    </a:txBody>
                    <a:tcPr marL="0" marR="0" marT="0" marB="0" anchor="ctr">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t" latinLnBrk="0" hangingPunct="1"/>
                        <a:r>
                          <a:rPr lang="en-US" sz="1200" u="none" strike="noStrike" kern="1200">
                            <a:solidFill>
                              <a:schemeClr val="tx1"/>
                            </a:solidFill>
                            <a:effectLst/>
                            <a:latin typeface="+mn-lt"/>
                            <a:ea typeface="+mn-ea"/>
                            <a:cs typeface="+mn-cs"/>
                          </a:rPr>
                          <a:t>USA</a:t>
                        </a:r>
                      </a:p>
                    </a:txBody>
                    <a:tcPr marL="0" marR="0" marT="0"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863498579"/>
                    </a:ext>
                  </a:extLst>
                </a:tr>
              </a:tbl>
            </a:graphicData>
          </a:graphic>
        </p:graphicFrame>
        <p:pic>
          <p:nvPicPr>
            <p:cNvPr id="7" name="Picture 6">
              <a:extLst>
                <a:ext uri="{FF2B5EF4-FFF2-40B4-BE49-F238E27FC236}">
                  <a16:creationId xmlns:a16="http://schemas.microsoft.com/office/drawing/2014/main" id="{B0A17006-14C8-46EF-868C-7EA2BF5FE08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99731" y="1798730"/>
              <a:ext cx="697319" cy="697320"/>
            </a:xfrm>
            <a:prstGeom prst="rect">
              <a:avLst/>
            </a:prstGeom>
          </p:spPr>
        </p:pic>
        <p:pic>
          <p:nvPicPr>
            <p:cNvPr id="8" name="Picture 7">
              <a:extLst>
                <a:ext uri="{FF2B5EF4-FFF2-40B4-BE49-F238E27FC236}">
                  <a16:creationId xmlns:a16="http://schemas.microsoft.com/office/drawing/2014/main" id="{2A1DF274-506E-4E28-A124-758B5224A78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33662" y="2568424"/>
              <a:ext cx="594047" cy="661910"/>
            </a:xfrm>
            <a:prstGeom prst="rect">
              <a:avLst/>
            </a:prstGeom>
          </p:spPr>
        </p:pic>
        <p:pic>
          <p:nvPicPr>
            <p:cNvPr id="9" name="Picture 8">
              <a:extLst>
                <a:ext uri="{FF2B5EF4-FFF2-40B4-BE49-F238E27FC236}">
                  <a16:creationId xmlns:a16="http://schemas.microsoft.com/office/drawing/2014/main" id="{9D19638B-BA52-4540-BF31-5E9E30B619C1}"/>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318532" y="3370041"/>
              <a:ext cx="646861" cy="661911"/>
            </a:xfrm>
            <a:prstGeom prst="rect">
              <a:avLst/>
            </a:prstGeom>
          </p:spPr>
        </p:pic>
        <p:pic>
          <p:nvPicPr>
            <p:cNvPr id="10" name="Picture 9">
              <a:extLst>
                <a:ext uri="{FF2B5EF4-FFF2-40B4-BE49-F238E27FC236}">
                  <a16:creationId xmlns:a16="http://schemas.microsoft.com/office/drawing/2014/main" id="{B67F7E8F-13C7-4582-A55F-BE96C33AD2B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62016" y="4168492"/>
              <a:ext cx="537340" cy="672758"/>
            </a:xfrm>
            <a:prstGeom prst="rect">
              <a:avLst/>
            </a:prstGeom>
          </p:spPr>
        </p:pic>
        <p:pic>
          <p:nvPicPr>
            <p:cNvPr id="12" name="Picture 11">
              <a:extLst>
                <a:ext uri="{FF2B5EF4-FFF2-40B4-BE49-F238E27FC236}">
                  <a16:creationId xmlns:a16="http://schemas.microsoft.com/office/drawing/2014/main" id="{2347B5FB-B873-48D4-8B59-308F5879F116}"/>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99731" y="4998726"/>
              <a:ext cx="661910" cy="661910"/>
            </a:xfrm>
            <a:prstGeom prst="rect">
              <a:avLst/>
            </a:prstGeom>
          </p:spPr>
        </p:pic>
        <p:pic>
          <p:nvPicPr>
            <p:cNvPr id="16" name="Picture 15" descr="Stanford University logo and symbol, meaning, history, PNG">
              <a:extLst>
                <a:ext uri="{FF2B5EF4-FFF2-40B4-BE49-F238E27FC236}">
                  <a16:creationId xmlns:a16="http://schemas.microsoft.com/office/drawing/2014/main" id="{C4128D84-8CD3-4123-AB8E-1F598B0898C8}"/>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l="28010" r="28511"/>
            <a:stretch/>
          </p:blipFill>
          <p:spPr bwMode="auto">
            <a:xfrm>
              <a:off x="4376358" y="1737033"/>
              <a:ext cx="523609" cy="674497"/>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Stanford University logo and symbol, meaning, history, PNG">
              <a:extLst>
                <a:ext uri="{FF2B5EF4-FFF2-40B4-BE49-F238E27FC236}">
                  <a16:creationId xmlns:a16="http://schemas.microsoft.com/office/drawing/2014/main" id="{2C356A40-3359-44D6-9678-7DD4E5526236}"/>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l="28010" r="28511"/>
            <a:stretch/>
          </p:blipFill>
          <p:spPr bwMode="auto">
            <a:xfrm>
              <a:off x="4376358" y="2459714"/>
              <a:ext cx="523609" cy="675787"/>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a:extLst>
                <a:ext uri="{FF2B5EF4-FFF2-40B4-BE49-F238E27FC236}">
                  <a16:creationId xmlns:a16="http://schemas.microsoft.com/office/drawing/2014/main" id="{9876D61E-5431-4DF7-A887-88AEE581944D}"/>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t="15358" b="13800"/>
            <a:stretch/>
          </p:blipFill>
          <p:spPr>
            <a:xfrm>
              <a:off x="4114558" y="3230334"/>
              <a:ext cx="1047208" cy="742236"/>
            </a:xfrm>
            <a:prstGeom prst="rect">
              <a:avLst/>
            </a:prstGeom>
          </p:spPr>
        </p:pic>
        <p:pic>
          <p:nvPicPr>
            <p:cNvPr id="86030" name="Picture 14" descr="Additional Logos – Brand Guidelines">
              <a:extLst>
                <a:ext uri="{FF2B5EF4-FFF2-40B4-BE49-F238E27FC236}">
                  <a16:creationId xmlns:a16="http://schemas.microsoft.com/office/drawing/2014/main" id="{4E6A613F-3508-44B4-A8EE-BD5F1AF80D2A}"/>
                </a:ext>
              </a:extLst>
            </p:cNvPr>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l="11901" t="16584" r="11023" b="13960"/>
            <a:stretch/>
          </p:blipFill>
          <p:spPr bwMode="auto">
            <a:xfrm>
              <a:off x="4162443" y="4197668"/>
              <a:ext cx="1047209" cy="614405"/>
            </a:xfrm>
            <a:prstGeom prst="rect">
              <a:avLst/>
            </a:prstGeom>
            <a:noFill/>
            <a:extLst>
              <a:ext uri="{909E8E84-426E-40DD-AFC4-6F175D3DCCD1}">
                <a14:hiddenFill xmlns:a14="http://schemas.microsoft.com/office/drawing/2010/main">
                  <a:solidFill>
                    <a:srgbClr val="FFFFFF"/>
                  </a:solidFill>
                </a14:hiddenFill>
              </a:ext>
            </a:extLst>
          </p:spPr>
        </p:pic>
        <p:pic>
          <p:nvPicPr>
            <p:cNvPr id="86032" name="Picture 16" descr="Bascom Palmer Eye Institute - University of Miami">
              <a:extLst>
                <a:ext uri="{FF2B5EF4-FFF2-40B4-BE49-F238E27FC236}">
                  <a16:creationId xmlns:a16="http://schemas.microsoft.com/office/drawing/2014/main" id="{D2CFA32B-3D45-4697-840A-75D49C8E2A78}"/>
                </a:ext>
              </a:extLst>
            </p:cNvPr>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p:blipFill>
          <p:spPr bwMode="auto">
            <a:xfrm>
              <a:off x="4104541" y="5176649"/>
              <a:ext cx="1047210" cy="4080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 name="Group 24">
            <a:extLst>
              <a:ext uri="{FF2B5EF4-FFF2-40B4-BE49-F238E27FC236}">
                <a16:creationId xmlns:a16="http://schemas.microsoft.com/office/drawing/2014/main" id="{10B0DA4C-0831-44DB-8CEB-DA56D82CA868}"/>
              </a:ext>
            </a:extLst>
          </p:cNvPr>
          <p:cNvGrpSpPr/>
          <p:nvPr/>
        </p:nvGrpSpPr>
        <p:grpSpPr>
          <a:xfrm>
            <a:off x="6063171" y="1798730"/>
            <a:ext cx="5201840" cy="3970807"/>
            <a:chOff x="6063171" y="1798730"/>
            <a:chExt cx="5201840" cy="3970807"/>
          </a:xfrm>
        </p:grpSpPr>
        <p:grpSp>
          <p:nvGrpSpPr>
            <p:cNvPr id="22" name="Group 21">
              <a:extLst>
                <a:ext uri="{FF2B5EF4-FFF2-40B4-BE49-F238E27FC236}">
                  <a16:creationId xmlns:a16="http://schemas.microsoft.com/office/drawing/2014/main" id="{F6520BCA-489E-433A-BBC2-62F76F5845F5}"/>
                </a:ext>
              </a:extLst>
            </p:cNvPr>
            <p:cNvGrpSpPr/>
            <p:nvPr/>
          </p:nvGrpSpPr>
          <p:grpSpPr>
            <a:xfrm>
              <a:off x="10082320" y="2074281"/>
              <a:ext cx="1182691" cy="3695256"/>
              <a:chOff x="10082320" y="2074281"/>
              <a:chExt cx="1182691" cy="3695256"/>
            </a:xfrm>
          </p:grpSpPr>
          <p:pic>
            <p:nvPicPr>
              <p:cNvPr id="86034" name="Picture 18" descr="Spotlight: Anglia Ruskin University | Tech Partnership Degrees">
                <a:extLst>
                  <a:ext uri="{FF2B5EF4-FFF2-40B4-BE49-F238E27FC236}">
                    <a16:creationId xmlns:a16="http://schemas.microsoft.com/office/drawing/2014/main" id="{24E134DF-F7AD-46D5-8E6D-00753217B4A9}"/>
                  </a:ext>
                </a:extLst>
              </p:cNvPr>
              <p:cNvPicPr>
                <a:picLocks noChangeAspect="1" noChangeArrowheads="1"/>
              </p:cNvPicPr>
              <p:nvPr/>
            </p:nvPicPr>
            <p:blipFill rotWithShape="1">
              <a:blip r:embed="rId12" cstate="email">
                <a:extLst>
                  <a:ext uri="{28A0092B-C50C-407E-A947-70E740481C1C}">
                    <a14:useLocalDpi xmlns:a14="http://schemas.microsoft.com/office/drawing/2010/main"/>
                  </a:ext>
                </a:extLst>
              </a:blip>
              <a:srcRect/>
              <a:stretch/>
            </p:blipFill>
            <p:spPr bwMode="auto">
              <a:xfrm>
                <a:off x="10082320" y="2074281"/>
                <a:ext cx="1182691" cy="512854"/>
              </a:xfrm>
              <a:prstGeom prst="rect">
                <a:avLst/>
              </a:prstGeom>
              <a:noFill/>
              <a:extLst>
                <a:ext uri="{909E8E84-426E-40DD-AFC4-6F175D3DCCD1}">
                  <a14:hiddenFill xmlns:a14="http://schemas.microsoft.com/office/drawing/2010/main">
                    <a:solidFill>
                      <a:srgbClr val="FFFFFF"/>
                    </a:solidFill>
                  </a14:hiddenFill>
                </a:ext>
              </a:extLst>
            </p:spPr>
          </p:pic>
          <p:pic>
            <p:nvPicPr>
              <p:cNvPr id="86036" name="Picture 20" descr="Chiba University (Fees &amp; Reviews): Chiba, Japan">
                <a:extLst>
                  <a:ext uri="{FF2B5EF4-FFF2-40B4-BE49-F238E27FC236}">
                    <a16:creationId xmlns:a16="http://schemas.microsoft.com/office/drawing/2014/main" id="{0858CF19-0EB1-400A-B1B9-BE3C6331E9C6}"/>
                  </a:ext>
                </a:extLst>
              </p:cNvPr>
              <p:cNvPicPr>
                <a:picLocks noChangeAspect="1" noChangeArrowheads="1"/>
              </p:cNvPicPr>
              <p:nvPr/>
            </p:nvPicPr>
            <p:blipFill rotWithShape="1">
              <a:blip r:embed="rId13" cstate="email">
                <a:extLst>
                  <a:ext uri="{28A0092B-C50C-407E-A947-70E740481C1C}">
                    <a14:useLocalDpi xmlns:a14="http://schemas.microsoft.com/office/drawing/2010/main"/>
                  </a:ext>
                </a:extLst>
              </a:blip>
              <a:srcRect l="22082" t="28225" r="22001" b="24637"/>
              <a:stretch/>
            </p:blipFill>
            <p:spPr bwMode="auto">
              <a:xfrm>
                <a:off x="10260338" y="2860969"/>
                <a:ext cx="901811" cy="760251"/>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a:extLst>
                  <a:ext uri="{FF2B5EF4-FFF2-40B4-BE49-F238E27FC236}">
                    <a16:creationId xmlns:a16="http://schemas.microsoft.com/office/drawing/2014/main" id="{D14828C5-D043-4492-B4B4-27E0ACE98D25}"/>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10207280" y="3770010"/>
                <a:ext cx="932769" cy="932769"/>
              </a:xfrm>
              <a:prstGeom prst="rect">
                <a:avLst/>
              </a:prstGeom>
            </p:spPr>
          </p:pic>
          <p:pic>
            <p:nvPicPr>
              <p:cNvPr id="86038" name="Picture 22" descr="Using UB's Lockups - Identity and Brand - University at Buffalo">
                <a:extLst>
                  <a:ext uri="{FF2B5EF4-FFF2-40B4-BE49-F238E27FC236}">
                    <a16:creationId xmlns:a16="http://schemas.microsoft.com/office/drawing/2014/main" id="{52BF870A-7284-4A87-AD82-30EE7CD1CF2E}"/>
                  </a:ext>
                </a:extLst>
              </p:cNvPr>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10260338" y="4889826"/>
                <a:ext cx="879711" cy="87971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4" name="Group 23">
              <a:extLst>
                <a:ext uri="{FF2B5EF4-FFF2-40B4-BE49-F238E27FC236}">
                  <a16:creationId xmlns:a16="http://schemas.microsoft.com/office/drawing/2014/main" id="{11DDB77A-426E-446A-8583-2B986A63915F}"/>
                </a:ext>
              </a:extLst>
            </p:cNvPr>
            <p:cNvGrpSpPr/>
            <p:nvPr/>
          </p:nvGrpSpPr>
          <p:grpSpPr>
            <a:xfrm>
              <a:off x="6063171" y="1798730"/>
              <a:ext cx="749873" cy="3928902"/>
              <a:chOff x="6063171" y="1798730"/>
              <a:chExt cx="749873" cy="3928902"/>
            </a:xfrm>
          </p:grpSpPr>
          <p:pic>
            <p:nvPicPr>
              <p:cNvPr id="11" name="Picture 10">
                <a:extLst>
                  <a:ext uri="{FF2B5EF4-FFF2-40B4-BE49-F238E27FC236}">
                    <a16:creationId xmlns:a16="http://schemas.microsoft.com/office/drawing/2014/main" id="{9AFA8A4D-4B85-4409-BF6D-CD4818C004A3}"/>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6096000" y="4841250"/>
                <a:ext cx="674003" cy="886382"/>
              </a:xfrm>
              <a:prstGeom prst="rect">
                <a:avLst/>
              </a:prstGeom>
            </p:spPr>
          </p:pic>
          <p:pic>
            <p:nvPicPr>
              <p:cNvPr id="14" name="Picture 13">
                <a:extLst>
                  <a:ext uri="{FF2B5EF4-FFF2-40B4-BE49-F238E27FC236}">
                    <a16:creationId xmlns:a16="http://schemas.microsoft.com/office/drawing/2014/main" id="{5687F3D7-E86C-49FF-AC31-44A9D3577D76}"/>
                  </a:ext>
                </a:extLst>
              </p:cNvPr>
              <p:cNvPicPr>
                <a:picLocks noChangeAspect="1"/>
              </p:cNvPicPr>
              <p:nvPr/>
            </p:nvPicPr>
            <p:blipFill rotWithShape="1">
              <a:blip r:embed="rId17" cstate="email">
                <a:extLst>
                  <a:ext uri="{28A0092B-C50C-407E-A947-70E740481C1C}">
                    <a14:useLocalDpi xmlns:a14="http://schemas.microsoft.com/office/drawing/2010/main"/>
                  </a:ext>
                </a:extLst>
              </a:blip>
              <a:srcRect/>
              <a:stretch/>
            </p:blipFill>
            <p:spPr>
              <a:xfrm>
                <a:off x="6096000" y="1798730"/>
                <a:ext cx="630102" cy="916394"/>
              </a:xfrm>
              <a:prstGeom prst="rect">
                <a:avLst/>
              </a:prstGeom>
            </p:spPr>
          </p:pic>
          <p:pic>
            <p:nvPicPr>
              <p:cNvPr id="15" name="Picture 14" descr="See the source image">
                <a:extLst>
                  <a:ext uri="{FF2B5EF4-FFF2-40B4-BE49-F238E27FC236}">
                    <a16:creationId xmlns:a16="http://schemas.microsoft.com/office/drawing/2014/main" id="{E97843CB-ED41-4A71-A138-7912731964F0}"/>
                  </a:ext>
                </a:extLst>
              </p:cNvPr>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6063171" y="3863133"/>
                <a:ext cx="695759" cy="746522"/>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a:extLst>
                  <a:ext uri="{FF2B5EF4-FFF2-40B4-BE49-F238E27FC236}">
                    <a16:creationId xmlns:a16="http://schemas.microsoft.com/office/drawing/2014/main" id="{8BB673F0-7019-40C2-B313-8A2E7DBAA76C}"/>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6063171" y="2985536"/>
                <a:ext cx="749873" cy="749873"/>
              </a:xfrm>
              <a:prstGeom prst="rect">
                <a:avLst/>
              </a:prstGeom>
            </p:spPr>
          </p:pic>
        </p:grpSp>
      </p:grpSp>
    </p:spTree>
    <p:extLst>
      <p:ext uri="{BB962C8B-B14F-4D97-AF65-F5344CB8AC3E}">
        <p14:creationId xmlns:p14="http://schemas.microsoft.com/office/powerpoint/2010/main" val="29542562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377EA4D-279A-4DD0-9B5B-CA157BC27272}"/>
              </a:ext>
            </a:extLst>
          </p:cNvPr>
          <p:cNvSpPr>
            <a:spLocks noGrp="1"/>
          </p:cNvSpPr>
          <p:nvPr>
            <p:ph type="title"/>
          </p:nvPr>
        </p:nvSpPr>
        <p:spPr/>
        <p:txBody>
          <a:bodyPr/>
          <a:lstStyle/>
          <a:p>
            <a:r>
              <a:rPr lang="en-US" dirty="0"/>
              <a:t>Clinical Evidence EMEA</a:t>
            </a:r>
          </a:p>
        </p:txBody>
      </p:sp>
      <p:sp>
        <p:nvSpPr>
          <p:cNvPr id="6" name="Textplatzhalter 5">
            <a:extLst>
              <a:ext uri="{FF2B5EF4-FFF2-40B4-BE49-F238E27FC236}">
                <a16:creationId xmlns:a16="http://schemas.microsoft.com/office/drawing/2014/main" id="{6AEE4A83-5356-4453-BD16-F2F19B51D787}"/>
              </a:ext>
            </a:extLst>
          </p:cNvPr>
          <p:cNvSpPr>
            <a:spLocks noGrp="1"/>
          </p:cNvSpPr>
          <p:nvPr>
            <p:ph type="body" sz="quarter" idx="13"/>
          </p:nvPr>
        </p:nvSpPr>
        <p:spPr/>
        <p:txBody>
          <a:bodyPr/>
          <a:lstStyle/>
          <a:p>
            <a:endParaRPr lang="en-US"/>
          </a:p>
        </p:txBody>
      </p:sp>
      <p:pic>
        <p:nvPicPr>
          <p:cNvPr id="5" name="Inhaltsplatzhalter 4">
            <a:extLst>
              <a:ext uri="{FF2B5EF4-FFF2-40B4-BE49-F238E27FC236}">
                <a16:creationId xmlns:a16="http://schemas.microsoft.com/office/drawing/2014/main" id="{AE1B9F42-BF1F-4B57-971E-4771F71ACA3E}"/>
              </a:ext>
            </a:extLst>
          </p:cNvPr>
          <p:cNvPicPr>
            <a:picLocks noGrp="1" noChangeAspect="1"/>
          </p:cNvPicPr>
          <p:nvPr>
            <p:ph sz="quarter" idx="16"/>
          </p:nvPr>
        </p:nvPicPr>
        <p:blipFill>
          <a:blip r:embed="rId2"/>
          <a:stretch>
            <a:fillRect/>
          </a:stretch>
        </p:blipFill>
        <p:spPr>
          <a:xfrm>
            <a:off x="7084704" y="409942"/>
            <a:ext cx="4639673" cy="5533554"/>
          </a:xfrm>
          <a:prstGeom prst="rect">
            <a:avLst/>
          </a:prstGeom>
        </p:spPr>
      </p:pic>
      <p:sp>
        <p:nvSpPr>
          <p:cNvPr id="7" name="Textfeld 6">
            <a:extLst>
              <a:ext uri="{FF2B5EF4-FFF2-40B4-BE49-F238E27FC236}">
                <a16:creationId xmlns:a16="http://schemas.microsoft.com/office/drawing/2014/main" id="{261BEFEE-DD9E-482D-ABEC-92F26CA4BFBE}"/>
              </a:ext>
            </a:extLst>
          </p:cNvPr>
          <p:cNvSpPr txBox="1"/>
          <p:nvPr/>
        </p:nvSpPr>
        <p:spPr>
          <a:xfrm>
            <a:off x="688350" y="1776046"/>
            <a:ext cx="6777321" cy="3970318"/>
          </a:xfrm>
          <a:prstGeom prst="rect">
            <a:avLst/>
          </a:prstGeom>
          <a:noFill/>
        </p:spPr>
        <p:txBody>
          <a:bodyPr wrap="square" rtlCol="0">
            <a:spAutoFit/>
          </a:bodyPr>
          <a:lstStyle/>
          <a:p>
            <a:pPr marL="285750" indent="-285750">
              <a:buFont typeface="Arial" panose="020B0604020202020204" pitchFamily="34" charset="0"/>
              <a:buChar char="•"/>
            </a:pPr>
            <a:r>
              <a:rPr lang="en-US" dirty="0"/>
              <a:t>Med schools</a:t>
            </a:r>
          </a:p>
          <a:p>
            <a:pPr marL="285750" indent="-285750">
              <a:buFont typeface="Arial" panose="020B0604020202020204" pitchFamily="34" charset="0"/>
              <a:buChar char="•"/>
            </a:pPr>
            <a:r>
              <a:rPr lang="en-US" dirty="0"/>
              <a:t>Associations</a:t>
            </a:r>
          </a:p>
          <a:p>
            <a:pPr marL="285750" indent="-285750">
              <a:buFont typeface="Arial" panose="020B0604020202020204" pitchFamily="34" charset="0"/>
              <a:buChar char="•"/>
            </a:pPr>
            <a:r>
              <a:rPr lang="en-US" dirty="0"/>
              <a:t>	(Pediatricians, GP´s, Neurologists, Orthoptists)</a:t>
            </a:r>
          </a:p>
          <a:p>
            <a:pPr marL="285750" indent="-285750">
              <a:buFont typeface="Arial" panose="020B0604020202020204" pitchFamily="34" charset="0"/>
              <a:buChar char="•"/>
            </a:pPr>
            <a:r>
              <a:rPr lang="en-US" dirty="0"/>
              <a:t>White Paper</a:t>
            </a:r>
          </a:p>
          <a:p>
            <a:pPr marL="285750" indent="-285750">
              <a:buFont typeface="Arial" panose="020B0604020202020204" pitchFamily="34" charset="0"/>
              <a:buChar char="•"/>
            </a:pPr>
            <a:r>
              <a:rPr lang="en-US" dirty="0"/>
              <a:t>Video (Educational/ Promotional)</a:t>
            </a:r>
          </a:p>
          <a:p>
            <a:pPr marL="285750" indent="-285750">
              <a:buFont typeface="Arial" panose="020B0604020202020204" pitchFamily="34" charset="0"/>
              <a:buChar char="•"/>
            </a:pPr>
            <a:r>
              <a:rPr lang="en-US" dirty="0"/>
              <a:t>Expert Opinion /Quotations</a:t>
            </a:r>
          </a:p>
          <a:p>
            <a:pPr marL="285750" indent="-285750">
              <a:buFont typeface="Arial" panose="020B0604020202020204" pitchFamily="34" charset="0"/>
              <a:buChar char="•"/>
            </a:pPr>
            <a:r>
              <a:rPr lang="en-US" dirty="0"/>
              <a:t>Studies</a:t>
            </a:r>
          </a:p>
          <a:p>
            <a:pPr marL="285750" indent="-285750">
              <a:buFont typeface="Arial" panose="020B0604020202020204" pitchFamily="34" charset="0"/>
              <a:buChar char="•"/>
            </a:pPr>
            <a:r>
              <a:rPr lang="en-US" dirty="0"/>
              <a:t>User Report</a:t>
            </a:r>
          </a:p>
          <a:p>
            <a:pPr marL="285750" indent="-285750">
              <a:buFont typeface="Arial" panose="020B0604020202020204" pitchFamily="34" charset="0"/>
              <a:buChar char="•"/>
            </a:pPr>
            <a:r>
              <a:rPr lang="en-US" dirty="0"/>
              <a:t>Unboxing</a:t>
            </a:r>
          </a:p>
          <a:p>
            <a:pPr marL="285750" indent="-285750">
              <a:buFont typeface="Arial" panose="020B0604020202020204" pitchFamily="34" charset="0"/>
              <a:buChar char="•"/>
            </a:pPr>
            <a:r>
              <a:rPr lang="en-US" dirty="0"/>
              <a:t>Comparison Paper</a:t>
            </a:r>
          </a:p>
          <a:p>
            <a:pPr marL="285750" indent="-285750">
              <a:buFont typeface="Arial" panose="020B0604020202020204" pitchFamily="34" charset="0"/>
              <a:buChar char="•"/>
            </a:pPr>
            <a:r>
              <a:rPr lang="en-US" dirty="0"/>
              <a:t>Reference site</a:t>
            </a:r>
          </a:p>
          <a:p>
            <a:pPr marL="285750" indent="-285750">
              <a:buFont typeface="Arial" panose="020B0604020202020204" pitchFamily="34" charset="0"/>
              <a:buChar char="•"/>
            </a:pPr>
            <a:r>
              <a:rPr lang="en-US" dirty="0"/>
              <a:t>Diagnosis101</a:t>
            </a:r>
          </a:p>
          <a:p>
            <a:endParaRPr lang="en-US" dirty="0"/>
          </a:p>
          <a:p>
            <a:endParaRPr lang="en-US" dirty="0"/>
          </a:p>
        </p:txBody>
      </p:sp>
    </p:spTree>
    <p:extLst>
      <p:ext uri="{BB962C8B-B14F-4D97-AF65-F5344CB8AC3E}">
        <p14:creationId xmlns:p14="http://schemas.microsoft.com/office/powerpoint/2010/main" val="13755980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9D19C5B0-CA08-47F0-B4F4-145A11DE0B7E}"/>
              </a:ext>
            </a:extLst>
          </p:cNvPr>
          <p:cNvSpPr>
            <a:spLocks noGrp="1"/>
          </p:cNvSpPr>
          <p:nvPr>
            <p:ph type="body" sz="quarter" idx="13"/>
          </p:nvPr>
        </p:nvSpPr>
        <p:spPr/>
        <p:txBody>
          <a:bodyPr/>
          <a:lstStyle/>
          <a:p>
            <a:endParaRPr lang="en-US"/>
          </a:p>
        </p:txBody>
      </p:sp>
      <p:sp>
        <p:nvSpPr>
          <p:cNvPr id="5" name="Inhaltsplatzhalter 4">
            <a:extLst>
              <a:ext uri="{FF2B5EF4-FFF2-40B4-BE49-F238E27FC236}">
                <a16:creationId xmlns:a16="http://schemas.microsoft.com/office/drawing/2014/main" id="{62B7F5BE-AD4E-4B6A-8AF2-6838A9E04920}"/>
              </a:ext>
            </a:extLst>
          </p:cNvPr>
          <p:cNvSpPr>
            <a:spLocks noGrp="1"/>
          </p:cNvSpPr>
          <p:nvPr>
            <p:ph sz="quarter" idx="16"/>
          </p:nvPr>
        </p:nvSpPr>
        <p:spPr>
          <a:xfrm>
            <a:off x="621188" y="1679331"/>
            <a:ext cx="11282114" cy="4264074"/>
          </a:xfrm>
        </p:spPr>
        <p:txBody>
          <a:bodyPr/>
          <a:lstStyle/>
          <a:p>
            <a:r>
              <a:rPr lang="en-US" dirty="0"/>
              <a:t>Launch date End of Q1</a:t>
            </a:r>
          </a:p>
          <a:p>
            <a:r>
              <a:rPr lang="en-US" dirty="0"/>
              <a:t>Tier 1 &amp; Tier 2 countries</a:t>
            </a:r>
          </a:p>
          <a:p>
            <a:r>
              <a:rPr lang="en-US" dirty="0"/>
              <a:t>	BENELUX, UK, DACH, GULF, KSA                   Tier 1</a:t>
            </a:r>
          </a:p>
          <a:p>
            <a:r>
              <a:rPr lang="en-US" dirty="0"/>
              <a:t>	Poland, IBERIA, Italy, SA, India, NORDICS, LAT                Tier 2 </a:t>
            </a:r>
          </a:p>
          <a:p>
            <a:r>
              <a:rPr lang="en-US" dirty="0"/>
              <a:t>Launch plans completed by  mid of September</a:t>
            </a:r>
          </a:p>
          <a:p>
            <a:r>
              <a:rPr lang="en-US" dirty="0"/>
              <a:t>	Panel presentation for end of September ( Financial Incentive for best plan )</a:t>
            </a:r>
          </a:p>
          <a:p>
            <a:r>
              <a:rPr lang="en-US" dirty="0"/>
              <a:t>Marcom </a:t>
            </a:r>
          </a:p>
          <a:p>
            <a:r>
              <a:rPr lang="en-US" dirty="0"/>
              <a:t>	brochures, spec sheet, updated Diagnosis 101, studies, evidence Claim (Global), Digital presentation</a:t>
            </a:r>
          </a:p>
          <a:p>
            <a:r>
              <a:rPr lang="en-US" dirty="0"/>
              <a:t>EMEA Key Activities</a:t>
            </a:r>
          </a:p>
          <a:p>
            <a:r>
              <a:rPr lang="en-US" dirty="0"/>
              <a:t>	Re-introduce ophthalmic examination to the GP market</a:t>
            </a:r>
          </a:p>
          <a:p>
            <a:r>
              <a:rPr lang="en-US" dirty="0"/>
              <a:t>		White paper, Digital event, Clinical study</a:t>
            </a:r>
          </a:p>
          <a:p>
            <a:r>
              <a:rPr lang="en-US" dirty="0"/>
              <a:t>	Approach Niche markets</a:t>
            </a:r>
          </a:p>
          <a:p>
            <a:r>
              <a:rPr lang="en-US" dirty="0"/>
              <a:t>		Optometrists, Opticians, hearing care professional, Neurology, Cardiology</a:t>
            </a:r>
          </a:p>
          <a:p>
            <a:r>
              <a:rPr lang="en-US" dirty="0"/>
              <a:t>		Webinar on Neurology eye examination</a:t>
            </a:r>
          </a:p>
          <a:p>
            <a:r>
              <a:rPr lang="en-US" dirty="0"/>
              <a:t>	Focus on Telehealth</a:t>
            </a:r>
          </a:p>
          <a:p>
            <a:r>
              <a:rPr lang="en-US" dirty="0"/>
              <a:t>		Leverage the new NORMAL (Post </a:t>
            </a:r>
            <a:r>
              <a:rPr lang="en-US" dirty="0" err="1"/>
              <a:t>Covid</a:t>
            </a:r>
            <a:r>
              <a:rPr lang="en-US" dirty="0"/>
              <a:t>) 	</a:t>
            </a:r>
          </a:p>
        </p:txBody>
      </p:sp>
      <p:sp>
        <p:nvSpPr>
          <p:cNvPr id="7" name="Titel 6">
            <a:extLst>
              <a:ext uri="{FF2B5EF4-FFF2-40B4-BE49-F238E27FC236}">
                <a16:creationId xmlns:a16="http://schemas.microsoft.com/office/drawing/2014/main" id="{F595D63C-FB40-45FE-AD21-EA08E4E760CB}"/>
              </a:ext>
            </a:extLst>
          </p:cNvPr>
          <p:cNvSpPr>
            <a:spLocks noGrp="1"/>
          </p:cNvSpPr>
          <p:nvPr>
            <p:ph type="title"/>
          </p:nvPr>
        </p:nvSpPr>
        <p:spPr/>
        <p:txBody>
          <a:bodyPr/>
          <a:lstStyle/>
          <a:p>
            <a:r>
              <a:rPr lang="en-US" dirty="0"/>
              <a:t>EMEA Update</a:t>
            </a:r>
          </a:p>
        </p:txBody>
      </p:sp>
      <p:sp>
        <p:nvSpPr>
          <p:cNvPr id="8" name="Pfeil: nach rechts 7">
            <a:extLst>
              <a:ext uri="{FF2B5EF4-FFF2-40B4-BE49-F238E27FC236}">
                <a16:creationId xmlns:a16="http://schemas.microsoft.com/office/drawing/2014/main" id="{BA1499E1-FD4C-4038-A67A-0AA514ED2328}"/>
              </a:ext>
            </a:extLst>
          </p:cNvPr>
          <p:cNvSpPr/>
          <p:nvPr/>
        </p:nvSpPr>
        <p:spPr>
          <a:xfrm>
            <a:off x="4475286" y="2299188"/>
            <a:ext cx="641838" cy="167054"/>
          </a:xfrm>
          <a:prstGeom prst="right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9" name="Pfeil: nach rechts 8">
            <a:extLst>
              <a:ext uri="{FF2B5EF4-FFF2-40B4-BE49-F238E27FC236}">
                <a16:creationId xmlns:a16="http://schemas.microsoft.com/office/drawing/2014/main" id="{2A8FE63A-5877-42B4-B196-79889CD2DB0E}"/>
              </a:ext>
            </a:extLst>
          </p:cNvPr>
          <p:cNvSpPr/>
          <p:nvPr/>
        </p:nvSpPr>
        <p:spPr>
          <a:xfrm>
            <a:off x="5454162" y="2606313"/>
            <a:ext cx="641838" cy="167054"/>
          </a:xfrm>
          <a:prstGeom prst="right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753097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B8C09A7F-5909-4924-B4A3-BA9BBCE384BB}"/>
              </a:ext>
            </a:extLst>
          </p:cNvPr>
          <p:cNvSpPr>
            <a:spLocks noGrp="1"/>
          </p:cNvSpPr>
          <p:nvPr>
            <p:ph type="title"/>
          </p:nvPr>
        </p:nvSpPr>
        <p:spPr>
          <a:xfrm>
            <a:off x="594812" y="914504"/>
            <a:ext cx="11072580" cy="638386"/>
          </a:xfrm>
        </p:spPr>
        <p:txBody>
          <a:bodyPr/>
          <a:lstStyle/>
          <a:p>
            <a:r>
              <a:rPr lang="en-US" dirty="0"/>
              <a:t>The evolution of 3.5 V Diagnostic devices is comparable to the evolution of TV devices………………</a:t>
            </a:r>
          </a:p>
        </p:txBody>
      </p:sp>
      <p:pic>
        <p:nvPicPr>
          <p:cNvPr id="6" name="Inhaltsplatzhalter 5">
            <a:extLst>
              <a:ext uri="{FF2B5EF4-FFF2-40B4-BE49-F238E27FC236}">
                <a16:creationId xmlns:a16="http://schemas.microsoft.com/office/drawing/2014/main" id="{C1059A84-9CBF-42A2-AE59-8105B6E83D1C}"/>
              </a:ext>
            </a:extLst>
          </p:cNvPr>
          <p:cNvPicPr>
            <a:picLocks noGrp="1" noChangeAspect="1"/>
          </p:cNvPicPr>
          <p:nvPr>
            <p:ph sz="quarter" idx="16"/>
          </p:nvPr>
        </p:nvPicPr>
        <p:blipFill rotWithShape="1">
          <a:blip r:embed="rId2"/>
          <a:srcRect t="16728"/>
          <a:stretch/>
        </p:blipFill>
        <p:spPr>
          <a:xfrm>
            <a:off x="594812" y="3021792"/>
            <a:ext cx="8392749" cy="3558802"/>
          </a:xfrm>
          <a:prstGeom prst="rect">
            <a:avLst/>
          </a:prstGeom>
        </p:spPr>
      </p:pic>
      <p:sp>
        <p:nvSpPr>
          <p:cNvPr id="7" name="Rechteck 6">
            <a:extLst>
              <a:ext uri="{FF2B5EF4-FFF2-40B4-BE49-F238E27FC236}">
                <a16:creationId xmlns:a16="http://schemas.microsoft.com/office/drawing/2014/main" id="{4D3DFF60-4DA7-4017-BD6E-7DB8842803F0}"/>
              </a:ext>
            </a:extLst>
          </p:cNvPr>
          <p:cNvSpPr/>
          <p:nvPr/>
        </p:nvSpPr>
        <p:spPr>
          <a:xfrm>
            <a:off x="0" y="2290618"/>
            <a:ext cx="5855855" cy="113838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fik 7">
            <a:extLst>
              <a:ext uri="{FF2B5EF4-FFF2-40B4-BE49-F238E27FC236}">
                <a16:creationId xmlns:a16="http://schemas.microsoft.com/office/drawing/2014/main" id="{ADB52642-B323-454F-8A4F-F3ECA98E4DC7}"/>
              </a:ext>
            </a:extLst>
          </p:cNvPr>
          <p:cNvPicPr>
            <a:picLocks noChangeAspect="1"/>
          </p:cNvPicPr>
          <p:nvPr/>
        </p:nvPicPr>
        <p:blipFill>
          <a:blip r:embed="rId3"/>
          <a:stretch>
            <a:fillRect/>
          </a:stretch>
        </p:blipFill>
        <p:spPr>
          <a:xfrm>
            <a:off x="594812" y="3217159"/>
            <a:ext cx="4495890" cy="949569"/>
          </a:xfrm>
          <a:prstGeom prst="rect">
            <a:avLst/>
          </a:prstGeom>
        </p:spPr>
      </p:pic>
      <p:pic>
        <p:nvPicPr>
          <p:cNvPr id="9" name="Grafik 8">
            <a:extLst>
              <a:ext uri="{FF2B5EF4-FFF2-40B4-BE49-F238E27FC236}">
                <a16:creationId xmlns:a16="http://schemas.microsoft.com/office/drawing/2014/main" id="{CCECF540-619F-48F5-9181-1F031E262577}"/>
              </a:ext>
            </a:extLst>
          </p:cNvPr>
          <p:cNvPicPr>
            <a:picLocks noChangeAspect="1"/>
          </p:cNvPicPr>
          <p:nvPr/>
        </p:nvPicPr>
        <p:blipFill>
          <a:blip r:embed="rId4"/>
          <a:stretch>
            <a:fillRect/>
          </a:stretch>
        </p:blipFill>
        <p:spPr>
          <a:xfrm>
            <a:off x="914399" y="3856231"/>
            <a:ext cx="3326665" cy="944962"/>
          </a:xfrm>
          <a:prstGeom prst="rect">
            <a:avLst/>
          </a:prstGeom>
        </p:spPr>
      </p:pic>
      <p:pic>
        <p:nvPicPr>
          <p:cNvPr id="10" name="Grafik 9">
            <a:extLst>
              <a:ext uri="{FF2B5EF4-FFF2-40B4-BE49-F238E27FC236}">
                <a16:creationId xmlns:a16="http://schemas.microsoft.com/office/drawing/2014/main" id="{22DF5766-CB06-4A20-9D7C-B886CBB00303}"/>
              </a:ext>
            </a:extLst>
          </p:cNvPr>
          <p:cNvPicPr>
            <a:picLocks noChangeAspect="1"/>
          </p:cNvPicPr>
          <p:nvPr/>
        </p:nvPicPr>
        <p:blipFill>
          <a:blip r:embed="rId5"/>
          <a:stretch>
            <a:fillRect/>
          </a:stretch>
        </p:blipFill>
        <p:spPr>
          <a:xfrm>
            <a:off x="9307148" y="2859809"/>
            <a:ext cx="1531146" cy="1531146"/>
          </a:xfrm>
          <a:prstGeom prst="rect">
            <a:avLst/>
          </a:prstGeom>
        </p:spPr>
      </p:pic>
      <p:pic>
        <p:nvPicPr>
          <p:cNvPr id="11" name="Grafik 10">
            <a:extLst>
              <a:ext uri="{FF2B5EF4-FFF2-40B4-BE49-F238E27FC236}">
                <a16:creationId xmlns:a16="http://schemas.microsoft.com/office/drawing/2014/main" id="{F4D1E05E-13BB-4BBC-8500-B600D28A6A17}"/>
              </a:ext>
            </a:extLst>
          </p:cNvPr>
          <p:cNvPicPr>
            <a:picLocks noChangeAspect="1"/>
          </p:cNvPicPr>
          <p:nvPr/>
        </p:nvPicPr>
        <p:blipFill>
          <a:blip r:embed="rId6"/>
          <a:stretch>
            <a:fillRect/>
          </a:stretch>
        </p:blipFill>
        <p:spPr>
          <a:xfrm>
            <a:off x="1429754" y="3120878"/>
            <a:ext cx="751050" cy="1542756"/>
          </a:xfrm>
          <a:prstGeom prst="rect">
            <a:avLst/>
          </a:prstGeom>
        </p:spPr>
      </p:pic>
      <p:pic>
        <p:nvPicPr>
          <p:cNvPr id="12" name="Grafik 11">
            <a:extLst>
              <a:ext uri="{FF2B5EF4-FFF2-40B4-BE49-F238E27FC236}">
                <a16:creationId xmlns:a16="http://schemas.microsoft.com/office/drawing/2014/main" id="{66FCE8D7-5CA5-4275-89EA-EFE69CE07409}"/>
              </a:ext>
            </a:extLst>
          </p:cNvPr>
          <p:cNvPicPr>
            <a:picLocks noChangeAspect="1"/>
          </p:cNvPicPr>
          <p:nvPr/>
        </p:nvPicPr>
        <p:blipFill>
          <a:blip r:embed="rId7"/>
          <a:stretch>
            <a:fillRect/>
          </a:stretch>
        </p:blipFill>
        <p:spPr>
          <a:xfrm>
            <a:off x="4441416" y="2190760"/>
            <a:ext cx="701326" cy="1434622"/>
          </a:xfrm>
          <a:prstGeom prst="rect">
            <a:avLst/>
          </a:prstGeom>
        </p:spPr>
      </p:pic>
      <p:pic>
        <p:nvPicPr>
          <p:cNvPr id="13" name="Grafik 12">
            <a:extLst>
              <a:ext uri="{FF2B5EF4-FFF2-40B4-BE49-F238E27FC236}">
                <a16:creationId xmlns:a16="http://schemas.microsoft.com/office/drawing/2014/main" id="{D1C70649-5A15-416C-86B4-F6E39B796D13}"/>
              </a:ext>
            </a:extLst>
          </p:cNvPr>
          <p:cNvPicPr>
            <a:picLocks noChangeAspect="1"/>
          </p:cNvPicPr>
          <p:nvPr/>
        </p:nvPicPr>
        <p:blipFill>
          <a:blip r:embed="rId8"/>
          <a:stretch>
            <a:fillRect/>
          </a:stretch>
        </p:blipFill>
        <p:spPr>
          <a:xfrm>
            <a:off x="7077173" y="1805722"/>
            <a:ext cx="701091" cy="1427928"/>
          </a:xfrm>
          <a:prstGeom prst="rect">
            <a:avLst/>
          </a:prstGeom>
        </p:spPr>
      </p:pic>
    </p:spTree>
    <p:extLst>
      <p:ext uri="{BB962C8B-B14F-4D97-AF65-F5344CB8AC3E}">
        <p14:creationId xmlns:p14="http://schemas.microsoft.com/office/powerpoint/2010/main" val="13465668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2062375-111B-47E1-BA43-6D2C2EED2BDF}"/>
              </a:ext>
            </a:extLst>
          </p:cNvPr>
          <p:cNvSpPr>
            <a:spLocks noGrp="1"/>
          </p:cNvSpPr>
          <p:nvPr>
            <p:ph type="title"/>
          </p:nvPr>
        </p:nvSpPr>
        <p:spPr/>
        <p:txBody>
          <a:bodyPr/>
          <a:lstStyle/>
          <a:p>
            <a:r>
              <a:rPr lang="en-US" dirty="0"/>
              <a:t>Possible Obstacles</a:t>
            </a:r>
            <a:br>
              <a:rPr lang="en-US" dirty="0"/>
            </a:br>
            <a:endParaRPr lang="en-US" dirty="0"/>
          </a:p>
        </p:txBody>
      </p:sp>
      <p:sp>
        <p:nvSpPr>
          <p:cNvPr id="5" name="Inhaltsplatzhalter 4">
            <a:extLst>
              <a:ext uri="{FF2B5EF4-FFF2-40B4-BE49-F238E27FC236}">
                <a16:creationId xmlns:a16="http://schemas.microsoft.com/office/drawing/2014/main" id="{BAE6AE48-6E71-455C-910D-5A8607C81FB5}"/>
              </a:ext>
            </a:extLst>
          </p:cNvPr>
          <p:cNvSpPr>
            <a:spLocks noGrp="1"/>
          </p:cNvSpPr>
          <p:nvPr>
            <p:ph sz="quarter" idx="16"/>
          </p:nvPr>
        </p:nvSpPr>
        <p:spPr>
          <a:xfrm>
            <a:off x="594812" y="2014402"/>
            <a:ext cx="11282114" cy="3929003"/>
          </a:xfrm>
        </p:spPr>
        <p:txBody>
          <a:bodyPr/>
          <a:lstStyle/>
          <a:p>
            <a:pPr marL="285750" indent="-285750">
              <a:buFont typeface="Arial" panose="020B0604020202020204" pitchFamily="34" charset="0"/>
              <a:buChar char="•"/>
            </a:pPr>
            <a:r>
              <a:rPr lang="en-US" dirty="0"/>
              <a:t>Portfolio</a:t>
            </a:r>
          </a:p>
          <a:p>
            <a:pPr marL="285750" indent="-285750">
              <a:buFont typeface="Arial" panose="020B0604020202020204" pitchFamily="34" charset="0"/>
              <a:buChar char="•"/>
            </a:pPr>
            <a:r>
              <a:rPr lang="en-US" dirty="0"/>
              <a:t>	missing </a:t>
            </a:r>
            <a:r>
              <a:rPr lang="en-US" dirty="0" err="1"/>
              <a:t>dermatoscope</a:t>
            </a:r>
            <a:r>
              <a:rPr lang="en-US" dirty="0"/>
              <a:t>/</a:t>
            </a:r>
            <a:r>
              <a:rPr lang="en-US" dirty="0" err="1"/>
              <a:t>dermatoscope</a:t>
            </a:r>
            <a:r>
              <a:rPr lang="en-US" dirty="0"/>
              <a:t> range</a:t>
            </a:r>
          </a:p>
          <a:p>
            <a:pPr marL="285750" indent="-285750">
              <a:buFont typeface="Arial" panose="020B0604020202020204" pitchFamily="34" charset="0"/>
              <a:buChar char="•"/>
            </a:pPr>
            <a:r>
              <a:rPr lang="en-US" dirty="0"/>
              <a:t>Focus/ Incentive </a:t>
            </a:r>
          </a:p>
          <a:p>
            <a:pPr marL="285750" indent="-285750">
              <a:buFont typeface="Arial" panose="020B0604020202020204" pitchFamily="34" charset="0"/>
              <a:buChar char="•"/>
            </a:pPr>
            <a:r>
              <a:rPr lang="en-US" dirty="0"/>
              <a:t>	direct sales force</a:t>
            </a:r>
          </a:p>
          <a:p>
            <a:pPr marL="285750" indent="-285750">
              <a:buFont typeface="Arial" panose="020B0604020202020204" pitchFamily="34" charset="0"/>
              <a:buChar char="•"/>
            </a:pPr>
            <a:r>
              <a:rPr lang="en-US" dirty="0"/>
              <a:t>	distributor portfolio</a:t>
            </a:r>
          </a:p>
          <a:p>
            <a:pPr marL="285750" indent="-285750">
              <a:buFont typeface="Arial" panose="020B0604020202020204" pitchFamily="34" charset="0"/>
              <a:buChar char="•"/>
            </a:pPr>
            <a:r>
              <a:rPr lang="en-US" dirty="0"/>
              <a:t>Limited number of events/ direct contact</a:t>
            </a:r>
          </a:p>
          <a:p>
            <a:pPr marL="285750" indent="-285750">
              <a:buFont typeface="Arial" panose="020B0604020202020204" pitchFamily="34" charset="0"/>
              <a:buChar char="•"/>
            </a:pPr>
            <a:r>
              <a:rPr lang="en-US" dirty="0"/>
              <a:t>Standardization/ one supplier</a:t>
            </a:r>
          </a:p>
          <a:p>
            <a:pPr marL="285750" indent="-285750">
              <a:buFont typeface="Arial" panose="020B0604020202020204" pitchFamily="34" charset="0"/>
              <a:buChar char="•"/>
            </a:pPr>
            <a:r>
              <a:rPr lang="en-US" dirty="0"/>
              <a:t>Connectivity</a:t>
            </a:r>
          </a:p>
          <a:p>
            <a:pPr marL="285750" indent="-285750">
              <a:buFont typeface="Arial" panose="020B0604020202020204" pitchFamily="34" charset="0"/>
              <a:buChar char="•"/>
            </a:pPr>
            <a:r>
              <a:rPr lang="en-US" dirty="0"/>
              <a:t>AI use</a:t>
            </a:r>
          </a:p>
          <a:p>
            <a:pPr marL="285750" indent="-285750">
              <a:buFont typeface="Arial" panose="020B0604020202020204" pitchFamily="34" charset="0"/>
              <a:buChar char="•"/>
            </a:pPr>
            <a:r>
              <a:rPr lang="en-US" dirty="0"/>
              <a:t>COVID uncertainty</a:t>
            </a:r>
          </a:p>
          <a:p>
            <a:endParaRPr lang="en-US" dirty="0"/>
          </a:p>
        </p:txBody>
      </p:sp>
    </p:spTree>
    <p:extLst>
      <p:ext uri="{BB962C8B-B14F-4D97-AF65-F5344CB8AC3E}">
        <p14:creationId xmlns:p14="http://schemas.microsoft.com/office/powerpoint/2010/main" val="159585335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a:extLst>
              <a:ext uri="{FF2B5EF4-FFF2-40B4-BE49-F238E27FC236}">
                <a16:creationId xmlns:a16="http://schemas.microsoft.com/office/drawing/2014/main" id="{A57912BD-9A8C-48BB-9075-483E7B6C5CCA}"/>
              </a:ext>
            </a:extLst>
          </p:cNvPr>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55298" name="think-cell Slide" r:id="rId6" imgW="270" imgH="270" progId="TCLayout.ActiveDocument.1">
                  <p:embed/>
                </p:oleObj>
              </mc:Choice>
              <mc:Fallback>
                <p:oleObj name="think-cell Slide" r:id="rId6" imgW="270" imgH="270" progId="TCLayout.ActiveDocument.1">
                  <p:embed/>
                  <p:pic>
                    <p:nvPicPr>
                      <p:cNvPr id="40" name="Object 39" hidden="1">
                        <a:extLst>
                          <a:ext uri="{FF2B5EF4-FFF2-40B4-BE49-F238E27FC236}">
                            <a16:creationId xmlns:a16="http://schemas.microsoft.com/office/drawing/2014/main" id="{A57912BD-9A8C-48BB-9075-483E7B6C5CCA}"/>
                          </a:ext>
                        </a:extLst>
                      </p:cNvPr>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38" name="Rectangle 37" hidden="1">
            <a:extLst>
              <a:ext uri="{FF2B5EF4-FFF2-40B4-BE49-F238E27FC236}">
                <a16:creationId xmlns:a16="http://schemas.microsoft.com/office/drawing/2014/main" id="{6D3885C8-667E-4062-8A31-79867763F484}"/>
              </a:ext>
            </a:extLst>
          </p:cNvPr>
          <p:cNvSpPr/>
          <p:nvPr>
            <p:custDataLst>
              <p:tags r:id="rId3"/>
            </p:custDataLst>
          </p:nvPr>
        </p:nvSpPr>
        <p:spPr>
          <a:xfrm>
            <a:off x="1524000" y="0"/>
            <a:ext cx="158750" cy="158750"/>
          </a:xfrm>
          <a:prstGeom prst="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400">
              <a:lnSpc>
                <a:spcPct val="90000"/>
              </a:lnSpc>
              <a:spcBef>
                <a:spcPct val="0"/>
              </a:spcBef>
              <a:spcAft>
                <a:spcPct val="0"/>
              </a:spcAft>
              <a:defRPr/>
            </a:pPr>
            <a:endParaRPr kumimoji="0" lang="en-US" b="1" u="none" strike="noStrike" kern="1200" cap="none" spc="0" normalizeH="0" noProof="0">
              <a:ln>
                <a:noFill/>
              </a:ln>
              <a:solidFill>
                <a:prstClr val="black"/>
              </a:solidFill>
              <a:effectLst/>
              <a:uLnTx/>
              <a:uFillTx/>
              <a:latin typeface="Century Gothic" panose="020B0502020202020204" pitchFamily="34" charset="0"/>
              <a:ea typeface="+mj-ea"/>
              <a:cs typeface="+mj-cs"/>
              <a:sym typeface="Century Gothic" panose="020B0502020202020204" pitchFamily="34" charset="0"/>
            </a:endParaRPr>
          </a:p>
        </p:txBody>
      </p:sp>
      <p:graphicFrame>
        <p:nvGraphicFramePr>
          <p:cNvPr id="3" name="Table 2">
            <a:extLst>
              <a:ext uri="{FF2B5EF4-FFF2-40B4-BE49-F238E27FC236}">
                <a16:creationId xmlns:a16="http://schemas.microsoft.com/office/drawing/2014/main" id="{A3F9F390-4536-4C1C-9AE0-D9E06E12F6EF}"/>
              </a:ext>
            </a:extLst>
          </p:cNvPr>
          <p:cNvGraphicFramePr>
            <a:graphicFrameLocks noGrp="1"/>
          </p:cNvGraphicFramePr>
          <p:nvPr/>
        </p:nvGraphicFramePr>
        <p:xfrm>
          <a:off x="6220696" y="2095577"/>
          <a:ext cx="5427001" cy="2687033"/>
        </p:xfrm>
        <a:graphic>
          <a:graphicData uri="http://schemas.openxmlformats.org/drawingml/2006/table">
            <a:tbl>
              <a:tblPr firstRow="1" firstCol="1" bandRow="1">
                <a:tableStyleId>{3B4B98B0-60AC-42C2-AFA5-B58CD77FA1E5}</a:tableStyleId>
              </a:tblPr>
              <a:tblGrid>
                <a:gridCol w="1080047">
                  <a:extLst>
                    <a:ext uri="{9D8B030D-6E8A-4147-A177-3AD203B41FA5}">
                      <a16:colId xmlns:a16="http://schemas.microsoft.com/office/drawing/2014/main" val="20000"/>
                    </a:ext>
                  </a:extLst>
                </a:gridCol>
                <a:gridCol w="1354630">
                  <a:extLst>
                    <a:ext uri="{9D8B030D-6E8A-4147-A177-3AD203B41FA5}">
                      <a16:colId xmlns:a16="http://schemas.microsoft.com/office/drawing/2014/main" val="20001"/>
                    </a:ext>
                  </a:extLst>
                </a:gridCol>
                <a:gridCol w="1496162">
                  <a:extLst>
                    <a:ext uri="{9D8B030D-6E8A-4147-A177-3AD203B41FA5}">
                      <a16:colId xmlns:a16="http://schemas.microsoft.com/office/drawing/2014/main" val="20002"/>
                    </a:ext>
                  </a:extLst>
                </a:gridCol>
                <a:gridCol w="1496162">
                  <a:extLst>
                    <a:ext uri="{9D8B030D-6E8A-4147-A177-3AD203B41FA5}">
                      <a16:colId xmlns:a16="http://schemas.microsoft.com/office/drawing/2014/main" val="20003"/>
                    </a:ext>
                  </a:extLst>
                </a:gridCol>
              </a:tblGrid>
              <a:tr h="254638">
                <a:tc gridSpan="4">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200" cap="all" spc="100" baseline="0">
                          <a:solidFill>
                            <a:schemeClr val="accent3"/>
                          </a:solidFill>
                          <a:effectLst/>
                          <a:latin typeface="+mn-lt"/>
                        </a:rPr>
                        <a:t>[Product] GOALS</a:t>
                      </a:r>
                      <a:endParaRPr lang="en-US" sz="1200" b="1" cap="all" spc="100" baseline="0">
                        <a:solidFill>
                          <a:schemeClr val="accent3"/>
                        </a:solidFill>
                        <a:effectLst/>
                        <a:latin typeface="+mn-lt"/>
                      </a:endParaRPr>
                    </a:p>
                  </a:txBody>
                  <a:tcPr anchor="ctr"/>
                </a:tc>
                <a:tc hMerge="1">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US" sz="1400" b="1" cap="all" baseline="0">
                        <a:solidFill>
                          <a:schemeClr val="accent6">
                            <a:lumMod val="75000"/>
                          </a:schemeClr>
                        </a:solidFill>
                        <a:effectLst/>
                        <a:latin typeface="+mn-lt"/>
                      </a:endParaRPr>
                    </a:p>
                  </a:txBody>
                  <a:tcPr anchor="ctr"/>
                </a:tc>
                <a:tc hMerge="1">
                  <a:txBody>
                    <a:bodyPr/>
                    <a:lstStyle/>
                    <a:p>
                      <a:endParaRPr lang="en-US"/>
                    </a:p>
                  </a:txBody>
                  <a:tcPr/>
                </a:tc>
                <a:tc hMerge="1">
                  <a:txBody>
                    <a:bodyPr/>
                    <a:lstStyle/>
                    <a:p>
                      <a:pPr algn="ctr"/>
                      <a:endParaRPr lang="en-US"/>
                    </a:p>
                  </a:txBody>
                  <a:tcPr/>
                </a:tc>
                <a:extLst>
                  <a:ext uri="{0D108BD9-81ED-4DB2-BD59-A6C34878D82A}">
                    <a16:rowId xmlns:a16="http://schemas.microsoft.com/office/drawing/2014/main" val="10000"/>
                  </a:ext>
                </a:extLst>
              </a:tr>
              <a:tr h="254638">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US" sz="1200" b="1">
                        <a:solidFill>
                          <a:schemeClr val="bg1"/>
                        </a:solidFill>
                        <a:latin typeface="+mn-lt"/>
                      </a:endParaRPr>
                    </a:p>
                  </a:txBody>
                  <a:tcPr anchor="c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200" b="1">
                          <a:solidFill>
                            <a:schemeClr val="bg1"/>
                          </a:solidFill>
                          <a:effectLst/>
                          <a:latin typeface="+mn-lt"/>
                        </a:rPr>
                        <a:t>YEAR 1</a:t>
                      </a:r>
                    </a:p>
                  </a:txBody>
                  <a:tcPr anchor="ctr">
                    <a:solidFill>
                      <a:schemeClr val="accent1">
                        <a:alpha val="80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200" b="1">
                          <a:solidFill>
                            <a:schemeClr val="bg1"/>
                          </a:solidFill>
                          <a:effectLst/>
                          <a:latin typeface="+mn-lt"/>
                        </a:rPr>
                        <a:t>YEAR 2</a:t>
                      </a:r>
                    </a:p>
                  </a:txBody>
                  <a:tcPr anchor="ctr">
                    <a:solidFill>
                      <a:schemeClr val="accent1">
                        <a:alpha val="80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200" b="1">
                          <a:solidFill>
                            <a:schemeClr val="bg1"/>
                          </a:solidFill>
                          <a:effectLst/>
                          <a:latin typeface="+mn-lt"/>
                        </a:rPr>
                        <a:t>YEAR 3</a:t>
                      </a:r>
                    </a:p>
                  </a:txBody>
                  <a:tcPr anchor="ctr">
                    <a:solidFill>
                      <a:schemeClr val="accent1">
                        <a:alpha val="80000"/>
                      </a:schemeClr>
                    </a:solidFill>
                  </a:tcPr>
                </a:tc>
                <a:extLst>
                  <a:ext uri="{0D108BD9-81ED-4DB2-BD59-A6C34878D82A}">
                    <a16:rowId xmlns:a16="http://schemas.microsoft.com/office/drawing/2014/main" val="10001"/>
                  </a:ext>
                </a:extLst>
              </a:tr>
              <a:tr h="41217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r"/>
                      <a:r>
                        <a:rPr lang="en-US" sz="1100">
                          <a:effectLst/>
                          <a:latin typeface="+mn-lt"/>
                        </a:rPr>
                        <a:t>Incremental Revenue</a:t>
                      </a:r>
                      <a:endParaRPr lang="en-US" sz="1100" b="1">
                        <a:solidFill>
                          <a:srgbClr val="00467F"/>
                        </a:solidFill>
                        <a:effectLst/>
                        <a:latin typeface="+mn-lt"/>
                      </a:endParaRPr>
                    </a:p>
                  </a:txBody>
                  <a:tcPr anchor="ctr"/>
                </a:tc>
                <a:tc>
                  <a:txBody>
                    <a:bodyPr/>
                    <a:lstStyle/>
                    <a:p>
                      <a:pPr algn="ctr"/>
                      <a:r>
                        <a:rPr lang="en-US" sz="1100" kern="1200">
                          <a:latin typeface="+mn-lt"/>
                        </a:rPr>
                        <a:t>$3M</a:t>
                      </a:r>
                      <a:endParaRPr lang="en-US" sz="1100" kern="1200">
                        <a:solidFill>
                          <a:schemeClr val="tx1"/>
                        </a:solidFill>
                        <a:latin typeface="+mn-lt"/>
                        <a:ea typeface="+mn-ea"/>
                        <a:cs typeface="+mn-cs"/>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100" kern="1200">
                          <a:latin typeface="+mn-lt"/>
                        </a:rPr>
                        <a:t>$11M</a:t>
                      </a:r>
                      <a:endParaRPr lang="en-US" altLang="zh-CN" sz="1100" kern="1200">
                        <a:solidFill>
                          <a:schemeClr val="tx1"/>
                        </a:solidFill>
                        <a:latin typeface="+mn-lt"/>
                        <a:ea typeface="+mn-ea"/>
                        <a:cs typeface="+mn-cs"/>
                      </a:endParaRPr>
                    </a:p>
                  </a:txBody>
                  <a:tcPr anchor="ctr"/>
                </a:tc>
                <a:tc>
                  <a:txBody>
                    <a:bodyPr/>
                    <a:lstStyle/>
                    <a:p>
                      <a:pPr algn="ctr"/>
                      <a:r>
                        <a:rPr lang="en-US" sz="1100">
                          <a:latin typeface="+mn-lt"/>
                        </a:rPr>
                        <a:t>$15M</a:t>
                      </a:r>
                    </a:p>
                  </a:txBody>
                  <a:tcPr anchor="ctr"/>
                </a:tc>
                <a:extLst>
                  <a:ext uri="{0D108BD9-81ED-4DB2-BD59-A6C34878D82A}">
                    <a16:rowId xmlns:a16="http://schemas.microsoft.com/office/drawing/2014/main" val="10002"/>
                  </a:ext>
                </a:extLst>
              </a:tr>
              <a:tr h="475151">
                <a:tc>
                  <a:txBody>
                    <a:bodyPr/>
                    <a:lstStyle/>
                    <a:p>
                      <a:pPr algn="r"/>
                      <a:r>
                        <a:rPr lang="en-US" sz="1100">
                          <a:effectLst/>
                          <a:latin typeface="+mn-lt"/>
                        </a:rPr>
                        <a:t>Margin %</a:t>
                      </a:r>
                      <a:endParaRPr lang="en-US" sz="1100" b="1">
                        <a:solidFill>
                          <a:srgbClr val="00467F"/>
                        </a:solidFill>
                        <a:effectLst/>
                        <a:latin typeface="+mn-lt"/>
                      </a:endParaRPr>
                    </a:p>
                  </a:txBody>
                  <a:tcPr anchor="ctr"/>
                </a:tc>
                <a:tc>
                  <a:txBody>
                    <a:bodyPr/>
                    <a:lstStyle/>
                    <a:p>
                      <a:pPr algn="ctr"/>
                      <a:r>
                        <a:rPr lang="en-US" sz="1100" kern="1200">
                          <a:solidFill>
                            <a:schemeClr val="tx1"/>
                          </a:solidFill>
                          <a:latin typeface="+mn-lt"/>
                          <a:ea typeface="+mn-ea"/>
                          <a:cs typeface="+mn-cs"/>
                        </a:rPr>
                        <a:t>67%</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100" kern="1200">
                          <a:solidFill>
                            <a:schemeClr val="tx1"/>
                          </a:solidFill>
                          <a:latin typeface="+mn-lt"/>
                          <a:ea typeface="+mn-ea"/>
                          <a:cs typeface="+mn-cs"/>
                        </a:rPr>
                        <a:t>67%</a:t>
                      </a:r>
                    </a:p>
                  </a:txBody>
                  <a:tcPr anchor="ctr"/>
                </a:tc>
                <a:tc>
                  <a:txBody>
                    <a:bodyPr/>
                    <a:lstStyle/>
                    <a:p>
                      <a:pPr algn="ctr"/>
                      <a:r>
                        <a:rPr lang="en-US" sz="1100">
                          <a:latin typeface="+mn-lt"/>
                        </a:rPr>
                        <a:t>67%</a:t>
                      </a:r>
                    </a:p>
                  </a:txBody>
                  <a:tcPr anchor="ctr"/>
                </a:tc>
                <a:extLst>
                  <a:ext uri="{0D108BD9-81ED-4DB2-BD59-A6C34878D82A}">
                    <a16:rowId xmlns:a16="http://schemas.microsoft.com/office/drawing/2014/main" val="1632043780"/>
                  </a:ext>
                </a:extLst>
              </a:tr>
              <a:tr h="412174">
                <a:tc>
                  <a:txBody>
                    <a:bodyPr/>
                    <a:lstStyle/>
                    <a:p>
                      <a:pPr algn="r"/>
                      <a:r>
                        <a:rPr lang="en-US" sz="1100" b="1">
                          <a:solidFill>
                            <a:schemeClr val="tx1"/>
                          </a:solidFill>
                          <a:effectLst/>
                          <a:latin typeface="+mn-lt"/>
                        </a:rPr>
                        <a:t>ASP</a:t>
                      </a:r>
                    </a:p>
                  </a:txBody>
                  <a:tcPr anchor="ctr"/>
                </a:tc>
                <a:tc gridSpan="3">
                  <a:txBody>
                    <a:bodyPr/>
                    <a:lstStyle/>
                    <a:p>
                      <a:pPr algn="ctr"/>
                      <a:r>
                        <a:rPr lang="en-US" sz="1100" kern="1200">
                          <a:solidFill>
                            <a:schemeClr val="tx1"/>
                          </a:solidFill>
                          <a:latin typeface="+mn-lt"/>
                          <a:ea typeface="+mn-ea"/>
                          <a:cs typeface="+mn-cs"/>
                        </a:rPr>
                        <a:t>$236 (blended mix of products)</a:t>
                      </a:r>
                    </a:p>
                  </a:txBody>
                  <a:tcPr anchor="ct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altLang="zh-CN" sz="1100" kern="1200">
                        <a:solidFill>
                          <a:schemeClr val="tx1"/>
                        </a:solidFill>
                        <a:latin typeface="+mn-lt"/>
                        <a:ea typeface="+mn-ea"/>
                        <a:cs typeface="+mn-cs"/>
                      </a:endParaRPr>
                    </a:p>
                  </a:txBody>
                  <a:tcPr anchor="ctr"/>
                </a:tc>
                <a:tc hMerge="1">
                  <a:txBody>
                    <a:bodyPr/>
                    <a:lstStyle/>
                    <a:p>
                      <a:pPr algn="ctr"/>
                      <a:endParaRPr lang="en-US" sz="1100">
                        <a:latin typeface="+mn-lt"/>
                      </a:endParaRPr>
                    </a:p>
                  </a:txBody>
                  <a:tcPr anchor="ctr"/>
                </a:tc>
                <a:extLst>
                  <a:ext uri="{0D108BD9-81ED-4DB2-BD59-A6C34878D82A}">
                    <a16:rowId xmlns:a16="http://schemas.microsoft.com/office/drawing/2014/main" val="3999303964"/>
                  </a:ext>
                </a:extLst>
              </a:tr>
              <a:tr h="412174">
                <a:tc>
                  <a:txBody>
                    <a:bodyPr/>
                    <a:lstStyle/>
                    <a:p>
                      <a:pPr algn="r"/>
                      <a:r>
                        <a:rPr lang="en-US" sz="1100">
                          <a:effectLst/>
                          <a:latin typeface="+mn-lt"/>
                        </a:rPr>
                        <a:t>GP $</a:t>
                      </a:r>
                      <a:endParaRPr lang="en-US" sz="1100" b="1">
                        <a:solidFill>
                          <a:srgbClr val="00467F"/>
                        </a:solidFill>
                        <a:effectLst/>
                        <a:latin typeface="+mn-lt"/>
                      </a:endParaRPr>
                    </a:p>
                  </a:txBody>
                  <a:tcPr anchor="ctr"/>
                </a:tc>
                <a:tc>
                  <a:txBody>
                    <a:bodyPr/>
                    <a:lstStyle/>
                    <a:p>
                      <a:pPr algn="ctr"/>
                      <a:r>
                        <a:rPr lang="en-US" sz="1100" kern="1200">
                          <a:solidFill>
                            <a:schemeClr val="tx1"/>
                          </a:solidFill>
                          <a:latin typeface="+mn-lt"/>
                          <a:ea typeface="+mn-ea"/>
                          <a:cs typeface="+mn-cs"/>
                        </a:rPr>
                        <a:t>$81M</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100" kern="1200">
                          <a:solidFill>
                            <a:schemeClr val="tx1"/>
                          </a:solidFill>
                          <a:latin typeface="+mn-lt"/>
                          <a:ea typeface="+mn-ea"/>
                          <a:cs typeface="+mn-cs"/>
                        </a:rPr>
                        <a:t>$86M</a:t>
                      </a:r>
                    </a:p>
                  </a:txBody>
                  <a:tcPr anchor="ctr"/>
                </a:tc>
                <a:tc>
                  <a:txBody>
                    <a:bodyPr/>
                    <a:lstStyle/>
                    <a:p>
                      <a:pPr algn="ctr"/>
                      <a:r>
                        <a:rPr lang="en-US" sz="1100">
                          <a:latin typeface="+mn-lt"/>
                        </a:rPr>
                        <a:t>$89M</a:t>
                      </a:r>
                    </a:p>
                  </a:txBody>
                  <a:tcPr anchor="ctr"/>
                </a:tc>
                <a:extLst>
                  <a:ext uri="{0D108BD9-81ED-4DB2-BD59-A6C34878D82A}">
                    <a16:rowId xmlns:a16="http://schemas.microsoft.com/office/drawing/2014/main" val="431134620"/>
                  </a:ext>
                </a:extLst>
              </a:tr>
              <a:tr h="412174">
                <a:tc>
                  <a:txBody>
                    <a:bodyPr/>
                    <a:lstStyle/>
                    <a:p>
                      <a:pPr algn="r"/>
                      <a:r>
                        <a:rPr lang="en-US" sz="1100">
                          <a:effectLst/>
                          <a:latin typeface="+mn-lt"/>
                        </a:rPr>
                        <a:t>Investment</a:t>
                      </a:r>
                      <a:endParaRPr lang="en-US" sz="1100" b="1">
                        <a:solidFill>
                          <a:srgbClr val="00467F"/>
                        </a:solidFill>
                        <a:effectLst/>
                        <a:latin typeface="+mn-lt"/>
                      </a:endParaRPr>
                    </a:p>
                  </a:txBody>
                  <a:tcPr anchor="ctr"/>
                </a:tc>
                <a:tc gridSpan="3">
                  <a:txBody>
                    <a:bodyPr/>
                    <a:lstStyle/>
                    <a:p>
                      <a:pPr algn="ctr"/>
                      <a:r>
                        <a:rPr lang="en-US" sz="1100" kern="1200">
                          <a:solidFill>
                            <a:schemeClr val="tx1"/>
                          </a:solidFill>
                          <a:latin typeface="+mn-lt"/>
                          <a:ea typeface="+mn-ea"/>
                          <a:cs typeface="+mn-cs"/>
                        </a:rPr>
                        <a:t>Total Project $15M</a:t>
                      </a:r>
                    </a:p>
                  </a:txBody>
                  <a:tcPr anchor="ct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altLang="zh-CN" sz="1100" kern="1200">
                        <a:solidFill>
                          <a:schemeClr val="tx1"/>
                        </a:solidFill>
                        <a:latin typeface="+mn-lt"/>
                        <a:ea typeface="+mn-ea"/>
                        <a:cs typeface="+mn-cs"/>
                      </a:endParaRPr>
                    </a:p>
                  </a:txBody>
                  <a:tcPr anchor="ctr"/>
                </a:tc>
                <a:tc hMerge="1">
                  <a:txBody>
                    <a:bodyPr/>
                    <a:lstStyle/>
                    <a:p>
                      <a:pPr algn="ctr"/>
                      <a:endParaRPr lang="en-US" sz="1100">
                        <a:latin typeface="+mn-lt"/>
                      </a:endParaRPr>
                    </a:p>
                  </a:txBody>
                  <a:tcPr anchor="ctr"/>
                </a:tc>
                <a:extLst>
                  <a:ext uri="{0D108BD9-81ED-4DB2-BD59-A6C34878D82A}">
                    <a16:rowId xmlns:a16="http://schemas.microsoft.com/office/drawing/2014/main" val="2008708487"/>
                  </a:ext>
                </a:extLst>
              </a:tr>
            </a:tbl>
          </a:graphicData>
        </a:graphic>
      </p:graphicFrame>
      <p:sp>
        <p:nvSpPr>
          <p:cNvPr id="41" name="Title 1">
            <a:extLst>
              <a:ext uri="{FF2B5EF4-FFF2-40B4-BE49-F238E27FC236}">
                <a16:creationId xmlns:a16="http://schemas.microsoft.com/office/drawing/2014/main" id="{0CBA8628-B936-40B6-A37D-D82C28C95F3F}"/>
              </a:ext>
            </a:extLst>
          </p:cNvPr>
          <p:cNvSpPr txBox="1">
            <a:spLocks/>
          </p:cNvSpPr>
          <p:nvPr/>
        </p:nvSpPr>
        <p:spPr>
          <a:xfrm>
            <a:off x="729381" y="304800"/>
            <a:ext cx="8229600" cy="750134"/>
          </a:xfrm>
          <a:prstGeom prst="rect">
            <a:avLst/>
          </a:prstGeom>
        </p:spPr>
        <p:txBody>
          <a:bodyPr/>
          <a:lstStyle>
            <a:lvl1pPr algn="l" defTabSz="457200" rtl="0" eaLnBrk="1" latinLnBrk="0" hangingPunct="1">
              <a:spcBef>
                <a:spcPct val="0"/>
              </a:spcBef>
              <a:buNone/>
              <a:defRPr sz="3200" kern="1200">
                <a:solidFill>
                  <a:schemeClr val="accent3"/>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US" sz="3200" b="0" i="0" u="none" strike="noStrike" kern="1200" cap="none" spc="0" normalizeH="0" baseline="0" noProof="0">
              <a:ln>
                <a:noFill/>
              </a:ln>
              <a:solidFill>
                <a:srgbClr val="27266B"/>
              </a:solidFill>
              <a:effectLst/>
              <a:uLnTx/>
              <a:uFillTx/>
              <a:latin typeface="Century Gothic" panose="020F0302020204030204"/>
              <a:ea typeface="+mj-ea"/>
              <a:cs typeface="+mj-cs"/>
            </a:endParaRPr>
          </a:p>
        </p:txBody>
      </p:sp>
      <p:sp>
        <p:nvSpPr>
          <p:cNvPr id="16" name="Rectangle 15">
            <a:extLst>
              <a:ext uri="{FF2B5EF4-FFF2-40B4-BE49-F238E27FC236}">
                <a16:creationId xmlns:a16="http://schemas.microsoft.com/office/drawing/2014/main" id="{5FBADAA7-529C-4FBF-8639-141970E27154}"/>
              </a:ext>
            </a:extLst>
          </p:cNvPr>
          <p:cNvSpPr/>
          <p:nvPr/>
        </p:nvSpPr>
        <p:spPr>
          <a:xfrm>
            <a:off x="594812" y="1529856"/>
            <a:ext cx="11058693" cy="478135"/>
          </a:xfrm>
          <a:prstGeom prst="rect">
            <a:avLst/>
          </a:prstGeom>
          <a:solidFill>
            <a:schemeClr val="accent3">
              <a:lumMod val="20000"/>
              <a:lumOff val="80000"/>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7266B"/>
                </a:solidFill>
                <a:effectLst/>
                <a:uLnTx/>
                <a:uFillTx/>
                <a:latin typeface="Century Gothic" panose="020F0302020204030204"/>
                <a:ea typeface="+mn-ea"/>
                <a:cs typeface="+mn-cs"/>
              </a:rPr>
              <a:t>PRIMARY LAUNCH OBJECTIVE:</a:t>
            </a:r>
            <a:r>
              <a:rPr kumimoji="0" lang="en-US" sz="1400" b="0" i="0" u="none" strike="noStrike" kern="1200" cap="none" spc="0" normalizeH="0" baseline="0" noProof="0">
                <a:ln>
                  <a:noFill/>
                </a:ln>
                <a:solidFill>
                  <a:srgbClr val="27266B"/>
                </a:solidFill>
                <a:effectLst/>
                <a:uLnTx/>
                <a:uFillTx/>
                <a:latin typeface="Century Gothic" panose="020F0302020204030204"/>
                <a:ea typeface="+mn-ea"/>
                <a:cs typeface="+mn-cs"/>
              </a:rPr>
              <a:t> Convert existing customers in US to update and upgrade. Expand market share OUS, especially against Heine and </a:t>
            </a:r>
            <a:r>
              <a:rPr lang="en-US" sz="1400" err="1">
                <a:solidFill>
                  <a:srgbClr val="27266B"/>
                </a:solidFill>
                <a:latin typeface="Century Gothic" panose="020F0302020204030204"/>
              </a:rPr>
              <a:t>Riester</a:t>
            </a:r>
            <a:r>
              <a:rPr lang="en-US" sz="1400">
                <a:solidFill>
                  <a:srgbClr val="27266B"/>
                </a:solidFill>
                <a:latin typeface="Century Gothic" panose="020F0302020204030204"/>
              </a:rPr>
              <a:t> </a:t>
            </a:r>
            <a:r>
              <a:rPr kumimoji="0" lang="en-US" sz="1400" b="0" i="0" u="none" strike="noStrike" kern="1200" cap="none" spc="0" normalizeH="0" baseline="0" noProof="0">
                <a:ln>
                  <a:noFill/>
                </a:ln>
                <a:solidFill>
                  <a:srgbClr val="27266B"/>
                </a:solidFill>
                <a:effectLst/>
                <a:uLnTx/>
                <a:uFillTx/>
                <a:latin typeface="Century Gothic" panose="020F0302020204030204"/>
                <a:ea typeface="+mn-ea"/>
                <a:cs typeface="+mn-cs"/>
              </a:rPr>
              <a:t>in EU, ANZ, and Canada</a:t>
            </a:r>
          </a:p>
        </p:txBody>
      </p:sp>
      <p:sp>
        <p:nvSpPr>
          <p:cNvPr id="2" name="Title 1">
            <a:extLst>
              <a:ext uri="{FF2B5EF4-FFF2-40B4-BE49-F238E27FC236}">
                <a16:creationId xmlns:a16="http://schemas.microsoft.com/office/drawing/2014/main" id="{9945B654-1DA9-5C43-809E-E138F0FE50E5}"/>
              </a:ext>
            </a:extLst>
          </p:cNvPr>
          <p:cNvSpPr>
            <a:spLocks noGrp="1"/>
          </p:cNvSpPr>
          <p:nvPr>
            <p:ph type="title"/>
          </p:nvPr>
        </p:nvSpPr>
        <p:spPr>
          <a:xfrm>
            <a:off x="594812" y="914504"/>
            <a:ext cx="11002376" cy="580004"/>
          </a:xfrm>
        </p:spPr>
        <p:txBody>
          <a:bodyPr/>
          <a:lstStyle/>
          <a:p>
            <a:r>
              <a:rPr lang="en-US" sz="2800"/>
              <a:t>Market Dynamics and Financial Goals</a:t>
            </a:r>
          </a:p>
        </p:txBody>
      </p:sp>
      <p:sp>
        <p:nvSpPr>
          <p:cNvPr id="4" name="Content Placeholder 3">
            <a:extLst>
              <a:ext uri="{FF2B5EF4-FFF2-40B4-BE49-F238E27FC236}">
                <a16:creationId xmlns:a16="http://schemas.microsoft.com/office/drawing/2014/main" id="{6F74D4E9-01C3-B94B-8C68-702EAA9EAE87}"/>
              </a:ext>
            </a:extLst>
          </p:cNvPr>
          <p:cNvSpPr>
            <a:spLocks noGrp="1"/>
          </p:cNvSpPr>
          <p:nvPr>
            <p:ph sz="quarter" idx="11"/>
          </p:nvPr>
        </p:nvSpPr>
        <p:spPr>
          <a:xfrm>
            <a:off x="594812" y="4992990"/>
            <a:ext cx="5432808" cy="1187053"/>
          </a:xfrm>
          <a:ln w="9525">
            <a:solidFill>
              <a:schemeClr val="accent3"/>
            </a:solidFill>
          </a:ln>
        </p:spPr>
        <p:txBody>
          <a:bodyPr/>
          <a:lstStyle/>
          <a:p>
            <a:pPr marL="0" indent="0">
              <a:spcAft>
                <a:spcPts val="600"/>
              </a:spcAft>
              <a:buNone/>
            </a:pPr>
            <a:r>
              <a:rPr lang="en-US" sz="1200" b="1" spc="100">
                <a:solidFill>
                  <a:schemeClr val="accent3"/>
                </a:solidFill>
              </a:rPr>
              <a:t>MARKET DEFINITION:</a:t>
            </a:r>
          </a:p>
          <a:p>
            <a:pPr marL="171450" indent="-171450"/>
            <a:r>
              <a:rPr lang="en-US" sz="1100"/>
              <a:t>Current purchasers and installed base of Physical Exam equipment, including primary care, specialists, and emergency departments worldwide</a:t>
            </a:r>
          </a:p>
          <a:p>
            <a:pPr marL="171450" indent="-171450"/>
            <a:endParaRPr lang="en-US" sz="1100"/>
          </a:p>
        </p:txBody>
      </p:sp>
      <p:sp>
        <p:nvSpPr>
          <p:cNvPr id="56" name="Content Placeholder 3">
            <a:extLst>
              <a:ext uri="{FF2B5EF4-FFF2-40B4-BE49-F238E27FC236}">
                <a16:creationId xmlns:a16="http://schemas.microsoft.com/office/drawing/2014/main" id="{9E173147-944A-5E48-AA47-4803C6449D10}"/>
              </a:ext>
            </a:extLst>
          </p:cNvPr>
          <p:cNvSpPr txBox="1">
            <a:spLocks/>
          </p:cNvSpPr>
          <p:nvPr/>
        </p:nvSpPr>
        <p:spPr>
          <a:xfrm>
            <a:off x="6220696" y="4997888"/>
            <a:ext cx="5432808" cy="1187053"/>
          </a:xfrm>
          <a:prstGeom prst="rect">
            <a:avLst/>
          </a:prstGeom>
          <a:ln w="9525">
            <a:solidFill>
              <a:schemeClr val="accent3"/>
            </a:solidFill>
          </a:ln>
        </p:spPr>
        <p:txBody>
          <a:bodyPr/>
          <a:lstStyle>
            <a:lvl1pPr marL="234950" indent="-234950" algn="l" defTabSz="914400" rtl="0" eaLnBrk="1" latinLnBrk="0" hangingPunct="1">
              <a:lnSpc>
                <a:spcPct val="120000"/>
              </a:lnSpc>
              <a:spcBef>
                <a:spcPts val="0"/>
              </a:spcBef>
              <a:buFont typeface="System Font Regular"/>
              <a:buChar char="–"/>
              <a:tabLst/>
              <a:defRPr sz="2000" kern="1200">
                <a:solidFill>
                  <a:schemeClr val="tx1"/>
                </a:solidFill>
                <a:latin typeface="+mn-lt"/>
                <a:ea typeface="+mn-ea"/>
                <a:cs typeface="+mn-cs"/>
              </a:defRPr>
            </a:lvl1pPr>
            <a:lvl2pPr marL="460375" indent="-174625" algn="l" defTabSz="914400" rtl="0" eaLnBrk="1" latinLnBrk="0" hangingPunct="1">
              <a:lnSpc>
                <a:spcPct val="120000"/>
              </a:lnSpc>
              <a:spcBef>
                <a:spcPts val="0"/>
              </a:spcBef>
              <a:buFont typeface="System Font Regular"/>
              <a:buChar char="–"/>
              <a:tabLst/>
              <a:defRPr sz="1800" kern="1200">
                <a:solidFill>
                  <a:schemeClr val="tx1"/>
                </a:solidFill>
                <a:latin typeface="+mn-lt"/>
                <a:ea typeface="+mn-ea"/>
                <a:cs typeface="+mn-cs"/>
              </a:defRPr>
            </a:lvl2pPr>
            <a:lvl3pPr marL="858838" indent="-223838" algn="l" defTabSz="914400" rtl="0" eaLnBrk="1" latinLnBrk="0" hangingPunct="1">
              <a:lnSpc>
                <a:spcPct val="120000"/>
              </a:lnSpc>
              <a:spcBef>
                <a:spcPts val="0"/>
              </a:spcBef>
              <a:spcAft>
                <a:spcPts val="0"/>
              </a:spcAft>
              <a:buFont typeface="System Font Regular"/>
              <a:buChar char="–"/>
              <a:tabLst/>
              <a:defRPr sz="1600" kern="1200">
                <a:solidFill>
                  <a:schemeClr val="tx1"/>
                </a:solidFill>
                <a:latin typeface="+mn-lt"/>
                <a:ea typeface="+mn-ea"/>
                <a:cs typeface="+mn-cs"/>
              </a:defRPr>
            </a:lvl3pPr>
            <a:lvl4pPr marL="1208088" indent="-174625" algn="l" defTabSz="914400" rtl="0" eaLnBrk="1" latinLnBrk="0" hangingPunct="1">
              <a:lnSpc>
                <a:spcPct val="120000"/>
              </a:lnSpc>
              <a:spcBef>
                <a:spcPts val="0"/>
              </a:spcBef>
              <a:buFont typeface="System Font Regular"/>
              <a:buChar char="+"/>
              <a:tabLst/>
              <a:defRPr sz="1400" kern="1200">
                <a:solidFill>
                  <a:schemeClr val="tx1"/>
                </a:solidFill>
                <a:latin typeface="+mn-lt"/>
                <a:ea typeface="+mn-ea"/>
                <a:cs typeface="+mn-cs"/>
              </a:defRPr>
            </a:lvl4pPr>
            <a:lvl5pPr marL="1493838" indent="-173038" algn="l" defTabSz="914400" rtl="0" eaLnBrk="1" latinLnBrk="0" hangingPunct="1">
              <a:lnSpc>
                <a:spcPct val="120000"/>
              </a:lnSpc>
              <a:spcBef>
                <a:spcPts val="0"/>
              </a:spcBef>
              <a:buFont typeface="System Font Regular"/>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0"/>
              </a:spcBef>
              <a:spcAft>
                <a:spcPts val="600"/>
              </a:spcAft>
              <a:buClrTx/>
              <a:buSzTx/>
              <a:buFont typeface="System Font Regular"/>
              <a:buNone/>
              <a:tabLst/>
              <a:defRPr/>
            </a:pPr>
            <a:r>
              <a:rPr kumimoji="0" lang="en-US" sz="1200" b="1" i="0" u="none" strike="noStrike" kern="1200" cap="none" spc="100" normalizeH="0" baseline="0" noProof="0">
                <a:ln>
                  <a:noFill/>
                </a:ln>
                <a:solidFill>
                  <a:srgbClr val="27266B"/>
                </a:solidFill>
                <a:effectLst/>
                <a:uLnTx/>
                <a:uFillTx/>
                <a:latin typeface="Century Gothic" panose="020F0302020204030204"/>
                <a:ea typeface="+mn-ea"/>
                <a:cs typeface="+mn-cs"/>
              </a:rPr>
              <a:t>OPPORTUNITIES &amp; RISKS:</a:t>
            </a:r>
          </a:p>
          <a:p>
            <a:pPr marL="171450" marR="0" lvl="0" indent="-171450" algn="l" defTabSz="914400" rtl="0" eaLnBrk="1" fontAlgn="auto" latinLnBrk="0" hangingPunct="1">
              <a:lnSpc>
                <a:spcPct val="120000"/>
              </a:lnSpc>
              <a:spcBef>
                <a:spcPts val="0"/>
              </a:spcBef>
              <a:spcAft>
                <a:spcPts val="0"/>
              </a:spcAft>
              <a:buClrTx/>
              <a:buSzTx/>
              <a:buFont typeface="System Font Regular"/>
              <a:buChar char="–"/>
              <a:tabLst/>
              <a:defRPr/>
            </a:pPr>
            <a:r>
              <a:rPr kumimoji="0" lang="en-US" sz="1100" b="0" i="0" u="none" strike="noStrike" kern="1200" cap="none" spc="0" normalizeH="0" baseline="0" noProof="0">
                <a:ln>
                  <a:noFill/>
                </a:ln>
                <a:solidFill>
                  <a:prstClr val="black"/>
                </a:solidFill>
                <a:effectLst/>
                <a:uLnTx/>
                <a:uFillTx/>
                <a:latin typeface="Century Gothic" panose="020F0302020204030204"/>
                <a:ea typeface="+mn-ea"/>
                <a:cs typeface="+mn-cs"/>
              </a:rPr>
              <a:t>Very large</a:t>
            </a:r>
            <a:r>
              <a:rPr lang="en-US" sz="1100">
                <a:solidFill>
                  <a:prstClr val="black"/>
                </a:solidFill>
                <a:latin typeface="Century Gothic" panose="020F0302020204030204"/>
              </a:rPr>
              <a:t> installed base of Welch Allyn product in US</a:t>
            </a:r>
            <a:endParaRPr kumimoji="0" lang="en-US" sz="1100" b="0" i="0" u="none" strike="noStrike" kern="1200" cap="none" spc="0" normalizeH="0" baseline="0" noProof="0">
              <a:ln>
                <a:noFill/>
              </a:ln>
              <a:solidFill>
                <a:prstClr val="black"/>
              </a:solidFill>
              <a:effectLst/>
              <a:uLnTx/>
              <a:uFillTx/>
              <a:latin typeface="Century Gothic" panose="020F0302020204030204"/>
              <a:ea typeface="+mn-ea"/>
              <a:cs typeface="+mn-cs"/>
            </a:endParaRPr>
          </a:p>
          <a:p>
            <a:pPr marL="171450" marR="0" lvl="0" indent="-171450" algn="l" defTabSz="914400" rtl="0" eaLnBrk="1" fontAlgn="auto" latinLnBrk="0" hangingPunct="1">
              <a:lnSpc>
                <a:spcPct val="120000"/>
              </a:lnSpc>
              <a:spcBef>
                <a:spcPts val="0"/>
              </a:spcBef>
              <a:spcAft>
                <a:spcPts val="0"/>
              </a:spcAft>
              <a:buClrTx/>
              <a:buSzTx/>
              <a:buFont typeface="System Font Regular"/>
              <a:buChar char="–"/>
              <a:tabLst/>
              <a:defRPr/>
            </a:pPr>
            <a:r>
              <a:rPr kumimoji="0" lang="en-US" sz="1100" b="0" i="0" u="none" strike="noStrike" kern="1200" cap="none" spc="0" normalizeH="0" baseline="0" noProof="0">
                <a:ln>
                  <a:noFill/>
                </a:ln>
                <a:solidFill>
                  <a:prstClr val="black"/>
                </a:solidFill>
                <a:effectLst/>
                <a:uLnTx/>
                <a:uFillTx/>
                <a:latin typeface="Century Gothic" panose="020F0302020204030204"/>
                <a:ea typeface="+mn-ea"/>
                <a:cs typeface="+mn-cs"/>
              </a:rPr>
              <a:t>Sales team focus</a:t>
            </a:r>
          </a:p>
          <a:p>
            <a:pPr marL="171450" marR="0" lvl="0" indent="-171450" algn="l" defTabSz="914400" rtl="0" eaLnBrk="1" fontAlgn="auto" latinLnBrk="0" hangingPunct="1">
              <a:lnSpc>
                <a:spcPct val="120000"/>
              </a:lnSpc>
              <a:spcBef>
                <a:spcPts val="0"/>
              </a:spcBef>
              <a:spcAft>
                <a:spcPts val="0"/>
              </a:spcAft>
              <a:buClrTx/>
              <a:buSzTx/>
              <a:buFont typeface="System Font Regular"/>
              <a:buChar char="–"/>
              <a:tabLst/>
              <a:defRPr/>
            </a:pPr>
            <a:r>
              <a:rPr lang="en-US" sz="1100">
                <a:solidFill>
                  <a:prstClr val="black"/>
                </a:solidFill>
                <a:latin typeface="Century Gothic" panose="020F0302020204030204"/>
              </a:rPr>
              <a:t>Dramatically improved basic exam equipment </a:t>
            </a:r>
            <a:endParaRPr kumimoji="0" lang="en-US" sz="1100" b="0" i="0" u="none" strike="noStrike" kern="1200" cap="none" spc="0" normalizeH="0" baseline="0" noProof="0">
              <a:ln>
                <a:noFill/>
              </a:ln>
              <a:solidFill>
                <a:prstClr val="black"/>
              </a:solidFill>
              <a:effectLst/>
              <a:uLnTx/>
              <a:uFillTx/>
              <a:latin typeface="Century Gothic" panose="020F0302020204030204"/>
              <a:ea typeface="+mn-ea"/>
              <a:cs typeface="+mn-cs"/>
            </a:endParaRPr>
          </a:p>
          <a:p>
            <a:pPr marL="171450" marR="0" lvl="0" indent="-171450" algn="l" defTabSz="914400" rtl="0" eaLnBrk="1" fontAlgn="auto" latinLnBrk="0" hangingPunct="1">
              <a:lnSpc>
                <a:spcPct val="120000"/>
              </a:lnSpc>
              <a:spcBef>
                <a:spcPts val="0"/>
              </a:spcBef>
              <a:spcAft>
                <a:spcPts val="0"/>
              </a:spcAft>
              <a:buClrTx/>
              <a:buSzTx/>
              <a:buFont typeface="System Font Regular"/>
              <a:buChar char="–"/>
              <a:tabLst/>
              <a:defRPr/>
            </a:pPr>
            <a:endParaRPr kumimoji="0" lang="en-US" sz="1100" b="0" i="0" u="none" strike="noStrike" kern="1200" cap="none" spc="0" normalizeH="0" baseline="0" noProof="0">
              <a:ln>
                <a:noFill/>
              </a:ln>
              <a:solidFill>
                <a:prstClr val="black"/>
              </a:solidFill>
              <a:effectLst/>
              <a:uLnTx/>
              <a:uFillTx/>
              <a:latin typeface="Century Gothic" panose="020F0302020204030204"/>
              <a:ea typeface="+mn-ea"/>
              <a:cs typeface="+mn-cs"/>
            </a:endParaRPr>
          </a:p>
        </p:txBody>
      </p:sp>
      <p:graphicFrame>
        <p:nvGraphicFramePr>
          <p:cNvPr id="57" name="Content Placeholder 5">
            <a:extLst>
              <a:ext uri="{FF2B5EF4-FFF2-40B4-BE49-F238E27FC236}">
                <a16:creationId xmlns:a16="http://schemas.microsoft.com/office/drawing/2014/main" id="{61AE190F-CC4C-DC4F-A975-D1F6C99C1E4C}"/>
              </a:ext>
            </a:extLst>
          </p:cNvPr>
          <p:cNvGraphicFramePr>
            <a:graphicFrameLocks/>
          </p:cNvGraphicFramePr>
          <p:nvPr/>
        </p:nvGraphicFramePr>
        <p:xfrm>
          <a:off x="595314" y="2095579"/>
          <a:ext cx="5432306" cy="2708896"/>
        </p:xfrm>
        <a:graphic>
          <a:graphicData uri="http://schemas.openxmlformats.org/drawingml/2006/chart">
            <c:chart xmlns:c="http://schemas.openxmlformats.org/drawingml/2006/chart" xmlns:r="http://schemas.openxmlformats.org/officeDocument/2006/relationships" r:id="rId8"/>
          </a:graphicData>
        </a:graphic>
      </p:graphicFrame>
      <p:sp>
        <p:nvSpPr>
          <p:cNvPr id="58" name="TextBox 57">
            <a:extLst>
              <a:ext uri="{FF2B5EF4-FFF2-40B4-BE49-F238E27FC236}">
                <a16:creationId xmlns:a16="http://schemas.microsoft.com/office/drawing/2014/main" id="{6CA8E5CD-64EC-0545-B59E-81554F44BED2}"/>
              </a:ext>
            </a:extLst>
          </p:cNvPr>
          <p:cNvSpPr txBox="1"/>
          <p:nvPr/>
        </p:nvSpPr>
        <p:spPr>
          <a:xfrm>
            <a:off x="12590032" y="2564625"/>
            <a:ext cx="1423518" cy="43088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100" normalizeH="0" baseline="0" noProof="0">
                <a:ln>
                  <a:noFill/>
                </a:ln>
                <a:solidFill>
                  <a:srgbClr val="5369E5"/>
                </a:solidFill>
                <a:effectLst/>
                <a:uLnTx/>
                <a:uFillTx/>
                <a:latin typeface="Century Gothic" panose="020F0302020204030204"/>
                <a:ea typeface="宋体" panose="02010600030101010101" pitchFamily="2" charset="-122"/>
                <a:cs typeface="+mn-cs"/>
              </a:rPr>
              <a:t>  2021</a:t>
            </a:r>
            <a:br>
              <a:rPr kumimoji="0" lang="en-US" altLang="zh-CN" sz="1100" b="1" i="0" u="none" strike="noStrike" kern="1200" cap="none" spc="100" normalizeH="0" baseline="0" noProof="0">
                <a:ln>
                  <a:noFill/>
                </a:ln>
                <a:solidFill>
                  <a:srgbClr val="5369E5"/>
                </a:solidFill>
                <a:effectLst/>
                <a:uLnTx/>
                <a:uFillTx/>
                <a:latin typeface="Century Gothic" panose="020F0302020204030204"/>
                <a:ea typeface="宋体" panose="02010600030101010101" pitchFamily="2" charset="-122"/>
                <a:cs typeface="+mn-cs"/>
              </a:rPr>
            </a:br>
            <a:endParaRPr kumimoji="0" lang="en-US" altLang="zh-CN" sz="1100" b="1" i="0" u="none" strike="noStrike" kern="1200" cap="none" spc="100" normalizeH="0" baseline="0" noProof="0">
              <a:ln>
                <a:noFill/>
              </a:ln>
              <a:solidFill>
                <a:srgbClr val="5369E5"/>
              </a:solidFill>
              <a:effectLst/>
              <a:uLnTx/>
              <a:uFillTx/>
              <a:latin typeface="Century Gothic" panose="020F0302020204030204"/>
              <a:ea typeface="宋体" panose="02010600030101010101" pitchFamily="2" charset="-122"/>
              <a:cs typeface="+mn-cs"/>
            </a:endParaRPr>
          </a:p>
        </p:txBody>
      </p:sp>
      <p:sp>
        <p:nvSpPr>
          <p:cNvPr id="59" name="TextBox 58">
            <a:extLst>
              <a:ext uri="{FF2B5EF4-FFF2-40B4-BE49-F238E27FC236}">
                <a16:creationId xmlns:a16="http://schemas.microsoft.com/office/drawing/2014/main" id="{1B2081E8-33B6-594C-8FDE-CA57C447012D}"/>
              </a:ext>
            </a:extLst>
          </p:cNvPr>
          <p:cNvSpPr txBox="1"/>
          <p:nvPr/>
        </p:nvSpPr>
        <p:spPr>
          <a:xfrm>
            <a:off x="12632562" y="3058589"/>
            <a:ext cx="593786" cy="254334"/>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a:ln>
                  <a:noFill/>
                </a:ln>
                <a:solidFill>
                  <a:srgbClr val="000000"/>
                </a:solidFill>
                <a:effectLst/>
                <a:uLnTx/>
                <a:uFillTx/>
                <a:latin typeface="Century Gothic" panose="020F0302020204030204"/>
                <a:ea typeface="宋体" panose="02010600030101010101" pitchFamily="2" charset="-122"/>
                <a:cs typeface="+mn-cs"/>
              </a:rPr>
              <a:t>33%</a:t>
            </a:r>
            <a:endParaRPr kumimoji="0" lang="zh-CN" altLang="en-US" sz="1100" b="0" i="0" u="none" strike="noStrike" kern="1200" cap="none" spc="0" normalizeH="0" baseline="0" noProof="0">
              <a:ln>
                <a:noFill/>
              </a:ln>
              <a:solidFill>
                <a:srgbClr val="000000"/>
              </a:solidFill>
              <a:effectLst/>
              <a:uLnTx/>
              <a:uFillTx/>
              <a:latin typeface="Century Gothic" panose="020F0302020204030204"/>
              <a:ea typeface="宋体" panose="02010600030101010101" pitchFamily="2" charset="-122"/>
              <a:cs typeface="+mn-cs"/>
            </a:endParaRPr>
          </a:p>
        </p:txBody>
      </p:sp>
      <p:sp>
        <p:nvSpPr>
          <p:cNvPr id="60" name="TextBox 59">
            <a:extLst>
              <a:ext uri="{FF2B5EF4-FFF2-40B4-BE49-F238E27FC236}">
                <a16:creationId xmlns:a16="http://schemas.microsoft.com/office/drawing/2014/main" id="{26BEF1A9-8C24-4647-BF86-6296160FE5F2}"/>
              </a:ext>
            </a:extLst>
          </p:cNvPr>
          <p:cNvSpPr txBox="1"/>
          <p:nvPr/>
        </p:nvSpPr>
        <p:spPr>
          <a:xfrm>
            <a:off x="12590032" y="3488093"/>
            <a:ext cx="593786" cy="254334"/>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a:ln>
                  <a:noFill/>
                </a:ln>
                <a:solidFill>
                  <a:srgbClr val="000000"/>
                </a:solidFill>
                <a:effectLst/>
                <a:uLnTx/>
                <a:uFillTx/>
                <a:latin typeface="Century Gothic" panose="020F0302020204030204"/>
                <a:ea typeface="宋体" panose="02010600030101010101" pitchFamily="2" charset="-122"/>
                <a:cs typeface="+mn-cs"/>
              </a:rPr>
              <a:t>21%</a:t>
            </a:r>
            <a:endParaRPr kumimoji="0" lang="zh-CN" altLang="en-US" sz="1100" b="0" i="0" u="none" strike="noStrike" kern="1200" cap="none" spc="0" normalizeH="0" baseline="0" noProof="0">
              <a:ln>
                <a:noFill/>
              </a:ln>
              <a:solidFill>
                <a:srgbClr val="000000"/>
              </a:solidFill>
              <a:effectLst/>
              <a:uLnTx/>
              <a:uFillTx/>
              <a:latin typeface="Century Gothic" panose="020F0302020204030204"/>
              <a:ea typeface="宋体" panose="02010600030101010101" pitchFamily="2" charset="-122"/>
              <a:cs typeface="+mn-cs"/>
            </a:endParaRPr>
          </a:p>
        </p:txBody>
      </p:sp>
      <p:sp>
        <p:nvSpPr>
          <p:cNvPr id="61" name="TextBox 60">
            <a:extLst>
              <a:ext uri="{FF2B5EF4-FFF2-40B4-BE49-F238E27FC236}">
                <a16:creationId xmlns:a16="http://schemas.microsoft.com/office/drawing/2014/main" id="{F4CEC682-953C-1344-B69A-A5B2A877F775}"/>
              </a:ext>
            </a:extLst>
          </p:cNvPr>
          <p:cNvSpPr txBox="1"/>
          <p:nvPr/>
        </p:nvSpPr>
        <p:spPr>
          <a:xfrm>
            <a:off x="12590032" y="4079134"/>
            <a:ext cx="593786" cy="254334"/>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a:ln>
                  <a:noFill/>
                </a:ln>
                <a:solidFill>
                  <a:srgbClr val="000000"/>
                </a:solidFill>
                <a:effectLst/>
                <a:uLnTx/>
                <a:uFillTx/>
                <a:latin typeface="Century Gothic" panose="020F0302020204030204"/>
                <a:ea typeface="宋体" panose="02010600030101010101" pitchFamily="2" charset="-122"/>
                <a:cs typeface="+mn-cs"/>
              </a:rPr>
              <a:t>35%</a:t>
            </a:r>
            <a:endParaRPr kumimoji="0" lang="zh-CN" altLang="en-US" sz="1100" b="0" i="0" u="none" strike="noStrike" kern="1200" cap="none" spc="0" normalizeH="0" baseline="0" noProof="0">
              <a:ln>
                <a:noFill/>
              </a:ln>
              <a:solidFill>
                <a:srgbClr val="000000"/>
              </a:solidFill>
              <a:effectLst/>
              <a:uLnTx/>
              <a:uFillTx/>
              <a:latin typeface="Century Gothic" panose="020F0302020204030204"/>
              <a:ea typeface="宋体" panose="02010600030101010101" pitchFamily="2" charset="-122"/>
              <a:cs typeface="+mn-cs"/>
            </a:endParaRPr>
          </a:p>
        </p:txBody>
      </p:sp>
      <p:sp>
        <p:nvSpPr>
          <p:cNvPr id="62" name="TextBox 61">
            <a:extLst>
              <a:ext uri="{FF2B5EF4-FFF2-40B4-BE49-F238E27FC236}">
                <a16:creationId xmlns:a16="http://schemas.microsoft.com/office/drawing/2014/main" id="{EC08CB48-9CEF-FB44-875E-347D8BAD6298}"/>
              </a:ext>
            </a:extLst>
          </p:cNvPr>
          <p:cNvSpPr txBox="1"/>
          <p:nvPr/>
        </p:nvSpPr>
        <p:spPr>
          <a:xfrm>
            <a:off x="13330476" y="3058589"/>
            <a:ext cx="593786" cy="254334"/>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a:ln>
                  <a:noFill/>
                </a:ln>
                <a:solidFill>
                  <a:srgbClr val="000000"/>
                </a:solidFill>
                <a:effectLst/>
                <a:uLnTx/>
                <a:uFillTx/>
                <a:latin typeface="Century Gothic" panose="020F0302020204030204"/>
                <a:ea typeface="宋体" panose="02010600030101010101" pitchFamily="2" charset="-122"/>
                <a:cs typeface="+mn-cs"/>
              </a:rPr>
              <a:t>50%</a:t>
            </a:r>
            <a:endParaRPr kumimoji="0" lang="zh-CN" altLang="en-US" sz="1100" b="0" i="0" u="none" strike="noStrike" kern="1200" cap="none" spc="0" normalizeH="0" baseline="0" noProof="0">
              <a:ln>
                <a:noFill/>
              </a:ln>
              <a:solidFill>
                <a:srgbClr val="000000"/>
              </a:solidFill>
              <a:effectLst/>
              <a:uLnTx/>
              <a:uFillTx/>
              <a:latin typeface="Century Gothic" panose="020F0302020204030204"/>
              <a:ea typeface="宋体" panose="02010600030101010101" pitchFamily="2" charset="-122"/>
              <a:cs typeface="+mn-cs"/>
            </a:endParaRPr>
          </a:p>
        </p:txBody>
      </p:sp>
      <p:sp>
        <p:nvSpPr>
          <p:cNvPr id="63" name="TextBox 62">
            <a:extLst>
              <a:ext uri="{FF2B5EF4-FFF2-40B4-BE49-F238E27FC236}">
                <a16:creationId xmlns:a16="http://schemas.microsoft.com/office/drawing/2014/main" id="{EAE9E131-BEA8-2647-A6C3-85ECE670782D}"/>
              </a:ext>
            </a:extLst>
          </p:cNvPr>
          <p:cNvSpPr txBox="1"/>
          <p:nvPr/>
        </p:nvSpPr>
        <p:spPr>
          <a:xfrm>
            <a:off x="13307455" y="3488093"/>
            <a:ext cx="593786" cy="254334"/>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a:ln>
                  <a:noFill/>
                </a:ln>
                <a:solidFill>
                  <a:srgbClr val="000000"/>
                </a:solidFill>
                <a:effectLst/>
                <a:uLnTx/>
                <a:uFillTx/>
                <a:latin typeface="Century Gothic" panose="020F0302020204030204"/>
                <a:ea typeface="宋体" panose="02010600030101010101" pitchFamily="2" charset="-122"/>
                <a:cs typeface="+mn-cs"/>
              </a:rPr>
              <a:t>16%</a:t>
            </a:r>
            <a:endParaRPr kumimoji="0" lang="zh-CN" altLang="en-US" sz="1100" b="0" i="0" u="none" strike="noStrike" kern="1200" cap="none" spc="0" normalizeH="0" baseline="0" noProof="0">
              <a:ln>
                <a:noFill/>
              </a:ln>
              <a:solidFill>
                <a:srgbClr val="000000"/>
              </a:solidFill>
              <a:effectLst/>
              <a:uLnTx/>
              <a:uFillTx/>
              <a:latin typeface="Century Gothic" panose="020F0302020204030204"/>
              <a:ea typeface="宋体" panose="02010600030101010101" pitchFamily="2" charset="-122"/>
              <a:cs typeface="+mn-cs"/>
            </a:endParaRPr>
          </a:p>
        </p:txBody>
      </p:sp>
      <p:sp>
        <p:nvSpPr>
          <p:cNvPr id="64" name="TextBox 63">
            <a:extLst>
              <a:ext uri="{FF2B5EF4-FFF2-40B4-BE49-F238E27FC236}">
                <a16:creationId xmlns:a16="http://schemas.microsoft.com/office/drawing/2014/main" id="{F08495E9-4CFF-6944-8602-C09310F23C28}"/>
              </a:ext>
            </a:extLst>
          </p:cNvPr>
          <p:cNvSpPr txBox="1"/>
          <p:nvPr/>
        </p:nvSpPr>
        <p:spPr>
          <a:xfrm>
            <a:off x="13307455" y="4079134"/>
            <a:ext cx="593786" cy="254334"/>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a:ln>
                  <a:noFill/>
                </a:ln>
                <a:solidFill>
                  <a:srgbClr val="000000"/>
                </a:solidFill>
                <a:effectLst/>
                <a:uLnTx/>
                <a:uFillTx/>
                <a:latin typeface="Century Gothic" panose="020F0302020204030204"/>
                <a:ea typeface="宋体" panose="02010600030101010101" pitchFamily="2" charset="-122"/>
                <a:cs typeface="+mn-cs"/>
              </a:rPr>
              <a:t>26%</a:t>
            </a:r>
            <a:endParaRPr kumimoji="0" lang="zh-CN" altLang="en-US" sz="1100" b="0" i="0" u="none" strike="noStrike" kern="1200" cap="none" spc="0" normalizeH="0" baseline="0" noProof="0">
              <a:ln>
                <a:noFill/>
              </a:ln>
              <a:solidFill>
                <a:srgbClr val="000000"/>
              </a:solidFill>
              <a:effectLst/>
              <a:uLnTx/>
              <a:uFillTx/>
              <a:latin typeface="Century Gothic" panose="020F0302020204030204"/>
              <a:ea typeface="宋体" panose="02010600030101010101" pitchFamily="2" charset="-122"/>
              <a:cs typeface="+mn-cs"/>
            </a:endParaRPr>
          </a:p>
        </p:txBody>
      </p:sp>
      <p:sp>
        <p:nvSpPr>
          <p:cNvPr id="65" name="TextBox 64">
            <a:extLst>
              <a:ext uri="{FF2B5EF4-FFF2-40B4-BE49-F238E27FC236}">
                <a16:creationId xmlns:a16="http://schemas.microsoft.com/office/drawing/2014/main" id="{96C414A1-B0CD-164F-AF59-701E7217F441}"/>
              </a:ext>
            </a:extLst>
          </p:cNvPr>
          <p:cNvSpPr txBox="1"/>
          <p:nvPr/>
        </p:nvSpPr>
        <p:spPr>
          <a:xfrm>
            <a:off x="12590032" y="3746782"/>
            <a:ext cx="593786" cy="254334"/>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a:ln>
                  <a:noFill/>
                </a:ln>
                <a:solidFill>
                  <a:srgbClr val="000000"/>
                </a:solidFill>
                <a:effectLst/>
                <a:uLnTx/>
                <a:uFillTx/>
                <a:latin typeface="Century Gothic" panose="020F0302020204030204"/>
                <a:ea typeface="宋体" panose="02010600030101010101" pitchFamily="2" charset="-122"/>
                <a:cs typeface="+mn-cs"/>
              </a:rPr>
              <a:t>11%</a:t>
            </a:r>
            <a:endParaRPr kumimoji="0" lang="zh-CN" altLang="en-US" sz="1100" b="0" i="0" u="none" strike="noStrike" kern="1200" cap="none" spc="0" normalizeH="0" baseline="0" noProof="0">
              <a:ln>
                <a:noFill/>
              </a:ln>
              <a:solidFill>
                <a:srgbClr val="000000"/>
              </a:solidFill>
              <a:effectLst/>
              <a:uLnTx/>
              <a:uFillTx/>
              <a:latin typeface="Century Gothic" panose="020F0302020204030204"/>
              <a:ea typeface="宋体" panose="02010600030101010101" pitchFamily="2" charset="-122"/>
              <a:cs typeface="+mn-cs"/>
            </a:endParaRPr>
          </a:p>
        </p:txBody>
      </p:sp>
      <p:sp>
        <p:nvSpPr>
          <p:cNvPr id="66" name="TextBox 65">
            <a:extLst>
              <a:ext uri="{FF2B5EF4-FFF2-40B4-BE49-F238E27FC236}">
                <a16:creationId xmlns:a16="http://schemas.microsoft.com/office/drawing/2014/main" id="{ED87A762-7A7B-A74C-AD4A-56B86165585E}"/>
              </a:ext>
            </a:extLst>
          </p:cNvPr>
          <p:cNvSpPr txBox="1"/>
          <p:nvPr/>
        </p:nvSpPr>
        <p:spPr>
          <a:xfrm>
            <a:off x="13307455" y="3746782"/>
            <a:ext cx="593786" cy="254334"/>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a:ln>
                  <a:noFill/>
                </a:ln>
                <a:solidFill>
                  <a:srgbClr val="000000"/>
                </a:solidFill>
                <a:effectLst/>
                <a:uLnTx/>
                <a:uFillTx/>
                <a:latin typeface="Century Gothic" panose="020F0302020204030204"/>
                <a:ea typeface="宋体" panose="02010600030101010101" pitchFamily="2" charset="-122"/>
                <a:cs typeface="+mn-cs"/>
              </a:rPr>
              <a:t>8%</a:t>
            </a:r>
            <a:endParaRPr kumimoji="0" lang="zh-CN" altLang="en-US" sz="1100" b="0" i="0" u="none" strike="noStrike" kern="1200" cap="none" spc="0" normalizeH="0" baseline="0" noProof="0">
              <a:ln>
                <a:noFill/>
              </a:ln>
              <a:solidFill>
                <a:srgbClr val="000000"/>
              </a:solidFill>
              <a:effectLst/>
              <a:uLnTx/>
              <a:uFillTx/>
              <a:latin typeface="Century Gothic" panose="020F0302020204030204"/>
              <a:ea typeface="宋体" panose="02010600030101010101" pitchFamily="2" charset="-122"/>
              <a:cs typeface="+mn-cs"/>
            </a:endParaRPr>
          </a:p>
        </p:txBody>
      </p:sp>
      <p:sp>
        <p:nvSpPr>
          <p:cNvPr id="30" name="TextBox 29">
            <a:extLst>
              <a:ext uri="{FF2B5EF4-FFF2-40B4-BE49-F238E27FC236}">
                <a16:creationId xmlns:a16="http://schemas.microsoft.com/office/drawing/2014/main" id="{36962DAA-E45C-1D4A-B107-E8FABEED6427}"/>
              </a:ext>
            </a:extLst>
          </p:cNvPr>
          <p:cNvSpPr txBox="1"/>
          <p:nvPr/>
        </p:nvSpPr>
        <p:spPr>
          <a:xfrm>
            <a:off x="2112620" y="2877621"/>
            <a:ext cx="1198596" cy="261610"/>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100" normalizeH="0" baseline="0" noProof="0">
                <a:ln>
                  <a:noFill/>
                </a:ln>
                <a:solidFill>
                  <a:srgbClr val="5369E5"/>
                </a:solidFill>
                <a:effectLst/>
                <a:uLnTx/>
                <a:uFillTx/>
                <a:latin typeface="Century Gothic" panose="020F0302020204030204"/>
                <a:ea typeface="宋体" panose="02010600030101010101" pitchFamily="2" charset="-122"/>
                <a:cs typeface="+mn-cs"/>
              </a:rPr>
              <a:t>CAGR: 5% </a:t>
            </a:r>
          </a:p>
        </p:txBody>
      </p:sp>
      <p:sp>
        <p:nvSpPr>
          <p:cNvPr id="5" name="Slide Number Placeholder 4">
            <a:extLst>
              <a:ext uri="{FF2B5EF4-FFF2-40B4-BE49-F238E27FC236}">
                <a16:creationId xmlns:a16="http://schemas.microsoft.com/office/drawing/2014/main" id="{ED283391-9CB6-254C-81DD-6BC4BC620AB2}"/>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2D468C-8F71-314C-A979-931A6F21B3BB}" type="slidenum">
              <a:rPr kumimoji="0" lang="en-US" sz="800" b="1" i="0" u="none" strike="noStrike" kern="1200" cap="none" spc="0" normalizeH="0" baseline="0" noProof="0" smtClean="0">
                <a:ln>
                  <a:noFill/>
                </a:ln>
                <a:solidFill>
                  <a:prstClr val="black">
                    <a:tint val="75000"/>
                  </a:prstClr>
                </a:solidFill>
                <a:effectLst/>
                <a:uLnTx/>
                <a:uFillTx/>
                <a:latin typeface="Century Gothic" panose="020F03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800" b="1" i="0" u="none" strike="noStrike" kern="1200" cap="none" spc="0" normalizeH="0" baseline="0" noProof="0">
              <a:ln>
                <a:noFill/>
              </a:ln>
              <a:solidFill>
                <a:prstClr val="black">
                  <a:tint val="75000"/>
                </a:prstClr>
              </a:solidFill>
              <a:effectLst/>
              <a:uLnTx/>
              <a:uFillTx/>
              <a:latin typeface="Century Gothic" panose="020F0302020204030204"/>
              <a:ea typeface="+mn-ea"/>
              <a:cs typeface="+mn-cs"/>
            </a:endParaRPr>
          </a:p>
        </p:txBody>
      </p:sp>
      <p:sp>
        <p:nvSpPr>
          <p:cNvPr id="7" name="Rectangle 6">
            <a:extLst>
              <a:ext uri="{FF2B5EF4-FFF2-40B4-BE49-F238E27FC236}">
                <a16:creationId xmlns:a16="http://schemas.microsoft.com/office/drawing/2014/main" id="{485E9753-0E53-4B67-9F0D-439912352F57}"/>
              </a:ext>
            </a:extLst>
          </p:cNvPr>
          <p:cNvSpPr/>
          <p:nvPr/>
        </p:nvSpPr>
        <p:spPr>
          <a:xfrm>
            <a:off x="12632562" y="2827781"/>
            <a:ext cx="733646" cy="2553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369E5"/>
                </a:solidFill>
                <a:effectLst/>
                <a:uLnTx/>
                <a:uFillTx/>
                <a:latin typeface="Century Gothic" panose="020F0302020204030204"/>
                <a:ea typeface="+mn-ea"/>
                <a:cs typeface="+mn-cs"/>
              </a:rPr>
              <a:t>Inc. Share</a:t>
            </a:r>
          </a:p>
        </p:txBody>
      </p:sp>
      <p:sp>
        <p:nvSpPr>
          <p:cNvPr id="35" name="Rectangle 34">
            <a:extLst>
              <a:ext uri="{FF2B5EF4-FFF2-40B4-BE49-F238E27FC236}">
                <a16:creationId xmlns:a16="http://schemas.microsoft.com/office/drawing/2014/main" id="{56B9EBF2-28E3-4D53-A7C8-CDACB6D4E132}"/>
              </a:ext>
            </a:extLst>
          </p:cNvPr>
          <p:cNvSpPr/>
          <p:nvPr/>
        </p:nvSpPr>
        <p:spPr>
          <a:xfrm>
            <a:off x="13377327" y="2763393"/>
            <a:ext cx="643473"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369E5"/>
                </a:solidFill>
                <a:effectLst/>
                <a:uLnTx/>
                <a:uFillTx/>
                <a:latin typeface="Century Gothic" panose="020F0302020204030204"/>
                <a:ea typeface="+mn-ea"/>
                <a:cs typeface="+mn-cs"/>
              </a:rPr>
              <a:t>Total Share</a:t>
            </a:r>
          </a:p>
        </p:txBody>
      </p:sp>
      <p:sp>
        <p:nvSpPr>
          <p:cNvPr id="36" name="TextBox 35">
            <a:extLst>
              <a:ext uri="{FF2B5EF4-FFF2-40B4-BE49-F238E27FC236}">
                <a16:creationId xmlns:a16="http://schemas.microsoft.com/office/drawing/2014/main" id="{ED9FA326-7364-4648-A320-7AED0C76D7A1}"/>
              </a:ext>
            </a:extLst>
          </p:cNvPr>
          <p:cNvSpPr txBox="1"/>
          <p:nvPr/>
        </p:nvSpPr>
        <p:spPr>
          <a:xfrm>
            <a:off x="4566748" y="3117695"/>
            <a:ext cx="1198596" cy="1277273"/>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a:ln>
                  <a:noFill/>
                </a:ln>
                <a:solidFill>
                  <a:srgbClr val="000000"/>
                </a:solidFill>
                <a:effectLst/>
                <a:uLnTx/>
                <a:uFillTx/>
                <a:latin typeface="Century Gothic" panose="020F0302020204030204"/>
                <a:ea typeface="宋体" panose="02010600030101010101" pitchFamily="2" charset="-122"/>
                <a:cs typeface="+mn-cs"/>
              </a:rPr>
              <a:t>Project focuses on accelerating buying cycle, rather than stealing share in US</a:t>
            </a:r>
            <a:endParaRPr kumimoji="0" lang="zh-CN" altLang="en-US" sz="1100" b="0" i="0" u="none" strike="noStrike" kern="1200" cap="none" spc="0" normalizeH="0" baseline="0" noProof="0">
              <a:ln>
                <a:noFill/>
              </a:ln>
              <a:solidFill>
                <a:srgbClr val="000000"/>
              </a:solidFill>
              <a:effectLst/>
              <a:uLnTx/>
              <a:uFillTx/>
              <a:latin typeface="Century Gothic" panose="020F0302020204030204"/>
              <a:ea typeface="宋体" panose="02010600030101010101" pitchFamily="2" charset="-122"/>
              <a:cs typeface="+mn-cs"/>
            </a:endParaRPr>
          </a:p>
        </p:txBody>
      </p:sp>
    </p:spTree>
    <p:extLst>
      <p:ext uri="{BB962C8B-B14F-4D97-AF65-F5344CB8AC3E}">
        <p14:creationId xmlns:p14="http://schemas.microsoft.com/office/powerpoint/2010/main" val="673722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E030ED28-DA3C-4EDA-9A0E-C029723EBF56}"/>
              </a:ext>
            </a:extLst>
          </p:cNvPr>
          <p:cNvSpPr>
            <a:spLocks noGrp="1"/>
          </p:cNvSpPr>
          <p:nvPr>
            <p:ph type="title"/>
          </p:nvPr>
        </p:nvSpPr>
        <p:spPr/>
        <p:txBody>
          <a:bodyPr/>
          <a:lstStyle/>
          <a:p>
            <a:r>
              <a:rPr lang="en-US"/>
              <a:t>Future Market Size: Waterfall from Potential to Current</a:t>
            </a:r>
          </a:p>
        </p:txBody>
      </p:sp>
      <p:sp>
        <p:nvSpPr>
          <p:cNvPr id="9" name="Round Single Corner Rectangle 8">
            <a:extLst>
              <a:ext uri="{FF2B5EF4-FFF2-40B4-BE49-F238E27FC236}">
                <a16:creationId xmlns:a16="http://schemas.microsoft.com/office/drawing/2014/main" id="{941ABEB1-20F0-0F45-80F0-D5299903DBAA}"/>
              </a:ext>
            </a:extLst>
          </p:cNvPr>
          <p:cNvSpPr/>
          <p:nvPr/>
        </p:nvSpPr>
        <p:spPr>
          <a:xfrm rot="10800000">
            <a:off x="10569191" y="-20888"/>
            <a:ext cx="1622809" cy="949673"/>
          </a:xfrm>
          <a:prstGeom prst="round1Rect">
            <a:avLst>
              <a:gd name="adj" fmla="val 10114"/>
            </a:avLst>
          </a:prstGeom>
          <a:solidFill>
            <a:schemeClr val="tx2">
              <a:lumMod val="20000"/>
              <a:lumOff val="80000"/>
              <a:alpha val="80000"/>
            </a:schemeClr>
          </a:solidFill>
          <a:ln w="9525">
            <a:solidFill>
              <a:schemeClr val="tx2">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a:extLst>
              <a:ext uri="{FF2B5EF4-FFF2-40B4-BE49-F238E27FC236}">
                <a16:creationId xmlns:a16="http://schemas.microsoft.com/office/drawing/2014/main" id="{FD92739E-AE88-B241-9D27-1A67E39E43AF}"/>
              </a:ext>
            </a:extLst>
          </p:cNvPr>
          <p:cNvGrpSpPr/>
          <p:nvPr/>
        </p:nvGrpSpPr>
        <p:grpSpPr>
          <a:xfrm>
            <a:off x="11438780" y="183971"/>
            <a:ext cx="578123" cy="630936"/>
            <a:chOff x="8564651" y="2299084"/>
            <a:chExt cx="578123" cy="630936"/>
          </a:xfrm>
        </p:grpSpPr>
        <p:sp>
          <p:nvSpPr>
            <p:cNvPr id="12" name="Trapezoid 11">
              <a:extLst>
                <a:ext uri="{FF2B5EF4-FFF2-40B4-BE49-F238E27FC236}">
                  <a16:creationId xmlns:a16="http://schemas.microsoft.com/office/drawing/2014/main" id="{3022E942-0603-5F43-B869-65581F578E3E}"/>
                </a:ext>
              </a:extLst>
            </p:cNvPr>
            <p:cNvSpPr/>
            <p:nvPr/>
          </p:nvSpPr>
          <p:spPr>
            <a:xfrm flipV="1">
              <a:off x="8656093" y="2497821"/>
              <a:ext cx="395189" cy="188853"/>
            </a:xfrm>
            <a:prstGeom prst="trapezoid">
              <a:avLst>
                <a:gd name="adj" fmla="val 45740"/>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15" name="Trapezoid 14">
              <a:extLst>
                <a:ext uri="{FF2B5EF4-FFF2-40B4-BE49-F238E27FC236}">
                  <a16:creationId xmlns:a16="http://schemas.microsoft.com/office/drawing/2014/main" id="{B4CDFE53-E520-134F-8B6B-2F5D1C3BDF5D}"/>
                </a:ext>
              </a:extLst>
            </p:cNvPr>
            <p:cNvSpPr/>
            <p:nvPr/>
          </p:nvSpPr>
          <p:spPr>
            <a:xfrm flipV="1">
              <a:off x="8564651" y="2299084"/>
              <a:ext cx="578123" cy="188964"/>
            </a:xfrm>
            <a:prstGeom prst="trapezoid">
              <a:avLst>
                <a:gd name="adj" fmla="val 47237"/>
              </a:avLst>
            </a:prstGeom>
            <a:solidFill>
              <a:srgbClr val="1426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16" name="Triangle 15">
              <a:extLst>
                <a:ext uri="{FF2B5EF4-FFF2-40B4-BE49-F238E27FC236}">
                  <a16:creationId xmlns:a16="http://schemas.microsoft.com/office/drawing/2014/main" id="{B2A32CC2-43D1-A240-935B-FED4E6B298BC}"/>
                </a:ext>
              </a:extLst>
            </p:cNvPr>
            <p:cNvSpPr/>
            <p:nvPr/>
          </p:nvSpPr>
          <p:spPr>
            <a:xfrm flipV="1">
              <a:off x="8746604" y="2696448"/>
              <a:ext cx="214167" cy="233572"/>
            </a:xfrm>
            <a:prstGeom prst="triangle">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17" name="Rectangle 16">
              <a:extLst>
                <a:ext uri="{FF2B5EF4-FFF2-40B4-BE49-F238E27FC236}">
                  <a16:creationId xmlns:a16="http://schemas.microsoft.com/office/drawing/2014/main" id="{F7078D44-CF54-2B4A-92B9-954EB633969F}"/>
                </a:ext>
              </a:extLst>
            </p:cNvPr>
            <p:cNvSpPr/>
            <p:nvPr/>
          </p:nvSpPr>
          <p:spPr>
            <a:xfrm>
              <a:off x="8712062" y="2304231"/>
              <a:ext cx="283301" cy="184666"/>
            </a:xfrm>
            <a:prstGeom prst="rect">
              <a:avLst/>
            </a:prstGeom>
            <a:noFill/>
          </p:spPr>
          <p:txBody>
            <a:bodyPr wrap="square">
              <a:spAutoFit/>
            </a:bodyPr>
            <a:lstStyle/>
            <a:p>
              <a:pPr marR="0" lvl="0" algn="ctr" defTabSz="457200" rtl="0" eaLnBrk="1" fontAlgn="auto" latinLnBrk="0" hangingPunct="1">
                <a:lnSpc>
                  <a:spcPct val="100000"/>
                </a:lnSpc>
                <a:spcBef>
                  <a:spcPts val="0"/>
                </a:spcBef>
                <a:spcAft>
                  <a:spcPts val="600"/>
                </a:spcAft>
                <a:buClrTx/>
                <a:buSzTx/>
                <a:tabLst/>
                <a:defRPr/>
              </a:pPr>
              <a:r>
                <a:rPr lang="en-US" sz="600">
                  <a:solidFill>
                    <a:schemeClr val="bg1"/>
                  </a:solidFill>
                </a:rPr>
                <a:t>T1</a:t>
              </a:r>
            </a:p>
          </p:txBody>
        </p:sp>
      </p:grpSp>
      <p:pic>
        <p:nvPicPr>
          <p:cNvPr id="20" name="Picture 19">
            <a:extLst>
              <a:ext uri="{FF2B5EF4-FFF2-40B4-BE49-F238E27FC236}">
                <a16:creationId xmlns:a16="http://schemas.microsoft.com/office/drawing/2014/main" id="{733344CA-EE30-EC4C-AD1B-B37CC1777840}"/>
              </a:ext>
            </a:extLst>
          </p:cNvPr>
          <p:cNvPicPr>
            <a:picLocks noChangeAspect="1"/>
          </p:cNvPicPr>
          <p:nvPr/>
        </p:nvPicPr>
        <p:blipFill>
          <a:blip r:embed="rId3">
            <a:duotone>
              <a:schemeClr val="accent1">
                <a:shade val="45000"/>
                <a:satMod val="135000"/>
              </a:schemeClr>
              <a:prstClr val="white"/>
            </a:duotone>
          </a:blip>
          <a:stretch>
            <a:fillRect/>
          </a:stretch>
        </p:blipFill>
        <p:spPr>
          <a:xfrm>
            <a:off x="10798566" y="178326"/>
            <a:ext cx="419348" cy="621792"/>
          </a:xfrm>
          <a:prstGeom prst="rect">
            <a:avLst/>
          </a:prstGeom>
        </p:spPr>
      </p:pic>
      <p:sp>
        <p:nvSpPr>
          <p:cNvPr id="2" name="Slide Number Placeholder 1">
            <a:extLst>
              <a:ext uri="{FF2B5EF4-FFF2-40B4-BE49-F238E27FC236}">
                <a16:creationId xmlns:a16="http://schemas.microsoft.com/office/drawing/2014/main" id="{3479AEB9-4CA3-074D-9D97-78DCB30CFEFD}"/>
              </a:ext>
            </a:extLst>
          </p:cNvPr>
          <p:cNvSpPr>
            <a:spLocks noGrp="1"/>
          </p:cNvSpPr>
          <p:nvPr>
            <p:ph type="sldNum" sz="quarter" idx="4"/>
          </p:nvPr>
        </p:nvSpPr>
        <p:spPr/>
        <p:txBody>
          <a:bodyPr/>
          <a:lstStyle/>
          <a:p>
            <a:fld id="{982D468C-8F71-314C-A979-931A6F21B3BB}" type="slidenum">
              <a:rPr lang="en-US" smtClean="0"/>
              <a:pPr/>
              <a:t>22</a:t>
            </a:fld>
            <a:endParaRPr lang="en-US"/>
          </a:p>
        </p:txBody>
      </p:sp>
      <p:pic>
        <p:nvPicPr>
          <p:cNvPr id="5" name="Content Placeholder 4">
            <a:extLst>
              <a:ext uri="{FF2B5EF4-FFF2-40B4-BE49-F238E27FC236}">
                <a16:creationId xmlns:a16="http://schemas.microsoft.com/office/drawing/2014/main" id="{C0945FA1-1268-4C64-A4EB-13926A497FF2}"/>
              </a:ext>
            </a:extLst>
          </p:cNvPr>
          <p:cNvPicPr>
            <a:picLocks noGrp="1" noChangeAspect="1"/>
          </p:cNvPicPr>
          <p:nvPr>
            <p:ph sz="quarter" idx="11"/>
          </p:nvPr>
        </p:nvPicPr>
        <p:blipFill>
          <a:blip r:embed="rId4"/>
          <a:stretch>
            <a:fillRect/>
          </a:stretch>
        </p:blipFill>
        <p:spPr>
          <a:xfrm>
            <a:off x="7594600" y="1837451"/>
            <a:ext cx="4133216" cy="2181225"/>
          </a:xfrm>
          <a:prstGeom prst="rect">
            <a:avLst/>
          </a:prstGeom>
        </p:spPr>
      </p:pic>
      <p:pic>
        <p:nvPicPr>
          <p:cNvPr id="6" name="Picture 5">
            <a:extLst>
              <a:ext uri="{FF2B5EF4-FFF2-40B4-BE49-F238E27FC236}">
                <a16:creationId xmlns:a16="http://schemas.microsoft.com/office/drawing/2014/main" id="{DA4E14DB-E7A8-424B-980C-C5E01D749191}"/>
              </a:ext>
            </a:extLst>
          </p:cNvPr>
          <p:cNvPicPr>
            <a:picLocks noChangeAspect="1"/>
          </p:cNvPicPr>
          <p:nvPr/>
        </p:nvPicPr>
        <p:blipFill>
          <a:blip r:embed="rId5"/>
          <a:stretch>
            <a:fillRect/>
          </a:stretch>
        </p:blipFill>
        <p:spPr>
          <a:xfrm>
            <a:off x="7594600" y="4216758"/>
            <a:ext cx="4002588" cy="2108769"/>
          </a:xfrm>
          <a:prstGeom prst="rect">
            <a:avLst/>
          </a:prstGeom>
        </p:spPr>
      </p:pic>
      <p:pic>
        <p:nvPicPr>
          <p:cNvPr id="8" name="Picture 7">
            <a:extLst>
              <a:ext uri="{FF2B5EF4-FFF2-40B4-BE49-F238E27FC236}">
                <a16:creationId xmlns:a16="http://schemas.microsoft.com/office/drawing/2014/main" id="{E904D7AE-3FB3-4970-A565-A3BC44F7E98D}"/>
              </a:ext>
            </a:extLst>
          </p:cNvPr>
          <p:cNvPicPr>
            <a:picLocks noChangeAspect="1"/>
          </p:cNvPicPr>
          <p:nvPr/>
        </p:nvPicPr>
        <p:blipFill>
          <a:blip r:embed="rId6"/>
          <a:stretch>
            <a:fillRect/>
          </a:stretch>
        </p:blipFill>
        <p:spPr>
          <a:xfrm>
            <a:off x="314830" y="1808045"/>
            <a:ext cx="7000369" cy="4291956"/>
          </a:xfrm>
          <a:prstGeom prst="rect">
            <a:avLst/>
          </a:prstGeom>
        </p:spPr>
      </p:pic>
    </p:spTree>
    <p:extLst>
      <p:ext uri="{BB962C8B-B14F-4D97-AF65-F5344CB8AC3E}">
        <p14:creationId xmlns:p14="http://schemas.microsoft.com/office/powerpoint/2010/main" val="7277430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A097EA6B-52F2-4DB3-BDF1-750AC82AB0AB}"/>
              </a:ext>
            </a:extLst>
          </p:cNvPr>
          <p:cNvSpPr>
            <a:spLocks noGrp="1"/>
          </p:cNvSpPr>
          <p:nvPr>
            <p:ph type="pic" sz="quarter" idx="18"/>
          </p:nvPr>
        </p:nvSpPr>
        <p:spPr/>
      </p:sp>
      <p:sp>
        <p:nvSpPr>
          <p:cNvPr id="5" name="Untertitel 4">
            <a:extLst>
              <a:ext uri="{FF2B5EF4-FFF2-40B4-BE49-F238E27FC236}">
                <a16:creationId xmlns:a16="http://schemas.microsoft.com/office/drawing/2014/main" id="{8F6E67F3-58BE-4329-8C72-851223D73617}"/>
              </a:ext>
            </a:extLst>
          </p:cNvPr>
          <p:cNvSpPr>
            <a:spLocks noGrp="1"/>
          </p:cNvSpPr>
          <p:nvPr>
            <p:ph type="subTitle" idx="1"/>
          </p:nvPr>
        </p:nvSpPr>
        <p:spPr/>
        <p:txBody>
          <a:bodyPr/>
          <a:lstStyle/>
          <a:p>
            <a:endParaRPr lang="en-US" dirty="0"/>
          </a:p>
        </p:txBody>
      </p:sp>
      <p:sp>
        <p:nvSpPr>
          <p:cNvPr id="4" name="Titel 3">
            <a:extLst>
              <a:ext uri="{FF2B5EF4-FFF2-40B4-BE49-F238E27FC236}">
                <a16:creationId xmlns:a16="http://schemas.microsoft.com/office/drawing/2014/main" id="{EFDE9967-7297-4990-8991-C4BD983F5E5E}"/>
              </a:ext>
            </a:extLst>
          </p:cNvPr>
          <p:cNvSpPr>
            <a:spLocks noGrp="1"/>
          </p:cNvSpPr>
          <p:nvPr>
            <p:ph type="title"/>
          </p:nvPr>
        </p:nvSpPr>
        <p:spPr/>
        <p:txBody>
          <a:bodyPr/>
          <a:lstStyle/>
          <a:p>
            <a:r>
              <a:rPr lang="en-US" dirty="0"/>
              <a:t>Country Specifics</a:t>
            </a:r>
          </a:p>
        </p:txBody>
      </p:sp>
    </p:spTree>
    <p:extLst>
      <p:ext uri="{BB962C8B-B14F-4D97-AF65-F5344CB8AC3E}">
        <p14:creationId xmlns:p14="http://schemas.microsoft.com/office/powerpoint/2010/main" val="41895643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944A4C4A-7962-4A97-8895-191BCE1EF0D0}"/>
              </a:ext>
            </a:extLst>
          </p:cNvPr>
          <p:cNvSpPr>
            <a:spLocks noGrp="1"/>
          </p:cNvSpPr>
          <p:nvPr>
            <p:ph type="title"/>
          </p:nvPr>
        </p:nvSpPr>
        <p:spPr>
          <a:xfrm>
            <a:off x="594812" y="914504"/>
            <a:ext cx="6870859" cy="1099898"/>
          </a:xfrm>
        </p:spPr>
        <p:txBody>
          <a:bodyPr/>
          <a:lstStyle/>
          <a:p>
            <a:r>
              <a:rPr lang="en-US" dirty="0"/>
              <a:t>Overview Distributor Belgium</a:t>
            </a:r>
          </a:p>
        </p:txBody>
      </p:sp>
      <p:sp>
        <p:nvSpPr>
          <p:cNvPr id="11" name="Text Placeholder 2">
            <a:extLst>
              <a:ext uri="{FF2B5EF4-FFF2-40B4-BE49-F238E27FC236}">
                <a16:creationId xmlns:a16="http://schemas.microsoft.com/office/drawing/2014/main" id="{417530A2-7F59-4297-B247-CC7FA31B886D}"/>
              </a:ext>
            </a:extLst>
          </p:cNvPr>
          <p:cNvSpPr>
            <a:spLocks noGrp="1"/>
          </p:cNvSpPr>
          <p:nvPr>
            <p:ph type="body" sz="quarter" idx="13"/>
          </p:nvPr>
        </p:nvSpPr>
        <p:spPr>
          <a:xfrm>
            <a:off x="688350" y="498222"/>
            <a:ext cx="1452642" cy="244682"/>
          </a:xfrm>
        </p:spPr>
        <p:txBody>
          <a:bodyPr/>
          <a:lstStyle/>
          <a:p>
            <a:r>
              <a:rPr lang="en-US" dirty="0"/>
              <a:t>Tier 1 Countries</a:t>
            </a:r>
          </a:p>
        </p:txBody>
      </p:sp>
      <p:graphicFrame>
        <p:nvGraphicFramePr>
          <p:cNvPr id="5" name="Inhaltsplatzhalter 2">
            <a:extLst>
              <a:ext uri="{FF2B5EF4-FFF2-40B4-BE49-F238E27FC236}">
                <a16:creationId xmlns:a16="http://schemas.microsoft.com/office/drawing/2014/main" id="{9B4976A7-BA02-48E6-9B17-4E494FAB7546}"/>
              </a:ext>
            </a:extLst>
          </p:cNvPr>
          <p:cNvGraphicFramePr>
            <a:graphicFrameLocks noGrp="1"/>
          </p:cNvGraphicFramePr>
          <p:nvPr>
            <p:ph sz="quarter" idx="16"/>
            <p:extLst>
              <p:ext uri="{D42A27DB-BD31-4B8C-83A1-F6EECF244321}">
                <p14:modId xmlns:p14="http://schemas.microsoft.com/office/powerpoint/2010/main" val="301046575"/>
              </p:ext>
            </p:extLst>
          </p:nvPr>
        </p:nvGraphicFramePr>
        <p:xfrm>
          <a:off x="594812" y="2185910"/>
          <a:ext cx="11282114" cy="375749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981857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 Placeholder 1">
            <a:extLst>
              <a:ext uri="{FF2B5EF4-FFF2-40B4-BE49-F238E27FC236}">
                <a16:creationId xmlns:a16="http://schemas.microsoft.com/office/drawing/2014/main" id="{349CFF86-9E99-4143-8CDE-2CE38E8B4C09}"/>
              </a:ext>
            </a:extLst>
          </p:cNvPr>
          <p:cNvSpPr>
            <a:spLocks noGrp="1"/>
          </p:cNvSpPr>
          <p:nvPr>
            <p:ph type="body" sz="quarter" idx="13"/>
          </p:nvPr>
        </p:nvSpPr>
        <p:spPr>
          <a:xfrm>
            <a:off x="688350" y="498222"/>
            <a:ext cx="1452642" cy="244682"/>
          </a:xfrm>
        </p:spPr>
        <p:txBody>
          <a:bodyPr/>
          <a:lstStyle/>
          <a:p>
            <a:r>
              <a:rPr lang="en-US" dirty="0"/>
              <a:t>Tier 1 Countries</a:t>
            </a:r>
          </a:p>
        </p:txBody>
      </p:sp>
      <p:sp>
        <p:nvSpPr>
          <p:cNvPr id="25" name="Title 3">
            <a:extLst>
              <a:ext uri="{FF2B5EF4-FFF2-40B4-BE49-F238E27FC236}">
                <a16:creationId xmlns:a16="http://schemas.microsoft.com/office/drawing/2014/main" id="{92A5F63D-69E8-4211-912D-7A4D551C472C}"/>
              </a:ext>
            </a:extLst>
          </p:cNvPr>
          <p:cNvSpPr>
            <a:spLocks noGrp="1"/>
          </p:cNvSpPr>
          <p:nvPr>
            <p:ph type="title"/>
          </p:nvPr>
        </p:nvSpPr>
        <p:spPr>
          <a:xfrm>
            <a:off x="594812" y="914504"/>
            <a:ext cx="9084897" cy="1099898"/>
          </a:xfrm>
        </p:spPr>
        <p:txBody>
          <a:bodyPr/>
          <a:lstStyle/>
          <a:p>
            <a:r>
              <a:rPr lang="en-US" dirty="0"/>
              <a:t>Overview Distributor The Netherlands</a:t>
            </a:r>
          </a:p>
        </p:txBody>
      </p:sp>
      <p:graphicFrame>
        <p:nvGraphicFramePr>
          <p:cNvPr id="8" name="Inhaltsplatzhalter 5">
            <a:extLst>
              <a:ext uri="{FF2B5EF4-FFF2-40B4-BE49-F238E27FC236}">
                <a16:creationId xmlns:a16="http://schemas.microsoft.com/office/drawing/2014/main" id="{0801E3CD-5D3A-41FE-B903-2E8FD4FA52C7}"/>
              </a:ext>
            </a:extLst>
          </p:cNvPr>
          <p:cNvGraphicFramePr>
            <a:graphicFrameLocks noGrp="1"/>
          </p:cNvGraphicFramePr>
          <p:nvPr>
            <p:ph sz="quarter" idx="16"/>
            <p:extLst>
              <p:ext uri="{D42A27DB-BD31-4B8C-83A1-F6EECF244321}">
                <p14:modId xmlns:p14="http://schemas.microsoft.com/office/powerpoint/2010/main" val="241623459"/>
              </p:ext>
            </p:extLst>
          </p:nvPr>
        </p:nvGraphicFramePr>
        <p:xfrm>
          <a:off x="594812" y="2715743"/>
          <a:ext cx="11282114" cy="322766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311161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852A83B-9D6C-45CD-8DEC-43B8E6ACB5BA}"/>
              </a:ext>
            </a:extLst>
          </p:cNvPr>
          <p:cNvSpPr>
            <a:spLocks noGrp="1"/>
          </p:cNvSpPr>
          <p:nvPr>
            <p:ph type="body" sz="quarter" idx="13"/>
          </p:nvPr>
        </p:nvSpPr>
        <p:spPr/>
        <p:txBody>
          <a:bodyPr/>
          <a:lstStyle/>
          <a:p>
            <a:endParaRPr lang="en-US"/>
          </a:p>
        </p:txBody>
      </p:sp>
      <p:sp>
        <p:nvSpPr>
          <p:cNvPr id="3" name="Untertitel 2">
            <a:extLst>
              <a:ext uri="{FF2B5EF4-FFF2-40B4-BE49-F238E27FC236}">
                <a16:creationId xmlns:a16="http://schemas.microsoft.com/office/drawing/2014/main" id="{C3F47F9C-D73C-4B07-B719-8EC9E395F627}"/>
              </a:ext>
            </a:extLst>
          </p:cNvPr>
          <p:cNvSpPr>
            <a:spLocks noGrp="1"/>
          </p:cNvSpPr>
          <p:nvPr>
            <p:ph type="subTitle" idx="1"/>
          </p:nvPr>
        </p:nvSpPr>
        <p:spPr/>
        <p:txBody>
          <a:bodyPr/>
          <a:lstStyle/>
          <a:p>
            <a:endParaRPr lang="en-US"/>
          </a:p>
        </p:txBody>
      </p:sp>
      <p:sp>
        <p:nvSpPr>
          <p:cNvPr id="4" name="Titel 3">
            <a:extLst>
              <a:ext uri="{FF2B5EF4-FFF2-40B4-BE49-F238E27FC236}">
                <a16:creationId xmlns:a16="http://schemas.microsoft.com/office/drawing/2014/main" id="{970F359F-3DC5-49E8-94F7-9A1FA7DE80AD}"/>
              </a:ext>
            </a:extLst>
          </p:cNvPr>
          <p:cNvSpPr>
            <a:spLocks noGrp="1"/>
          </p:cNvSpPr>
          <p:nvPr>
            <p:ph type="title"/>
          </p:nvPr>
        </p:nvSpPr>
        <p:spPr/>
        <p:txBody>
          <a:bodyPr/>
          <a:lstStyle/>
          <a:p>
            <a:endParaRPr lang="en-US"/>
          </a:p>
        </p:txBody>
      </p:sp>
      <p:sp>
        <p:nvSpPr>
          <p:cNvPr id="5" name="Inhaltsplatzhalter 4">
            <a:extLst>
              <a:ext uri="{FF2B5EF4-FFF2-40B4-BE49-F238E27FC236}">
                <a16:creationId xmlns:a16="http://schemas.microsoft.com/office/drawing/2014/main" id="{5FBD58C7-C175-4159-8231-211B45A2B831}"/>
              </a:ext>
            </a:extLst>
          </p:cNvPr>
          <p:cNvSpPr>
            <a:spLocks noGrp="1"/>
          </p:cNvSpPr>
          <p:nvPr>
            <p:ph sz="quarter" idx="16"/>
          </p:nvPr>
        </p:nvSpPr>
        <p:spPr/>
        <p:txBody>
          <a:bodyPr/>
          <a:lstStyle/>
          <a:p>
            <a:endParaRPr lang="en-US"/>
          </a:p>
        </p:txBody>
      </p:sp>
    </p:spTree>
    <p:extLst>
      <p:ext uri="{BB962C8B-B14F-4D97-AF65-F5344CB8AC3E}">
        <p14:creationId xmlns:p14="http://schemas.microsoft.com/office/powerpoint/2010/main" val="258876474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9EC27922-CB59-4B8B-A0E6-ADF34FF979F5}"/>
              </a:ext>
            </a:extLst>
          </p:cNvPr>
          <p:cNvSpPr>
            <a:spLocks noGrp="1"/>
          </p:cNvSpPr>
          <p:nvPr>
            <p:ph type="body" sz="quarter" idx="13"/>
          </p:nvPr>
        </p:nvSpPr>
        <p:spPr/>
        <p:txBody>
          <a:bodyPr/>
          <a:lstStyle/>
          <a:p>
            <a:endParaRPr lang="en-US"/>
          </a:p>
        </p:txBody>
      </p:sp>
      <p:sp>
        <p:nvSpPr>
          <p:cNvPr id="3" name="Untertitel 2">
            <a:extLst>
              <a:ext uri="{FF2B5EF4-FFF2-40B4-BE49-F238E27FC236}">
                <a16:creationId xmlns:a16="http://schemas.microsoft.com/office/drawing/2014/main" id="{784307AB-DF48-4547-A6FF-01BF6E686584}"/>
              </a:ext>
            </a:extLst>
          </p:cNvPr>
          <p:cNvSpPr>
            <a:spLocks noGrp="1"/>
          </p:cNvSpPr>
          <p:nvPr>
            <p:ph type="subTitle" idx="1"/>
          </p:nvPr>
        </p:nvSpPr>
        <p:spPr/>
        <p:txBody>
          <a:bodyPr/>
          <a:lstStyle/>
          <a:p>
            <a:endParaRPr lang="en-US"/>
          </a:p>
        </p:txBody>
      </p:sp>
      <p:sp>
        <p:nvSpPr>
          <p:cNvPr id="4" name="Titel 3">
            <a:extLst>
              <a:ext uri="{FF2B5EF4-FFF2-40B4-BE49-F238E27FC236}">
                <a16:creationId xmlns:a16="http://schemas.microsoft.com/office/drawing/2014/main" id="{9A6C8E1B-3B9E-412F-A036-EA6963FE90EB}"/>
              </a:ext>
            </a:extLst>
          </p:cNvPr>
          <p:cNvSpPr>
            <a:spLocks noGrp="1"/>
          </p:cNvSpPr>
          <p:nvPr>
            <p:ph type="title"/>
          </p:nvPr>
        </p:nvSpPr>
        <p:spPr/>
        <p:txBody>
          <a:bodyPr/>
          <a:lstStyle/>
          <a:p>
            <a:endParaRPr lang="en-US"/>
          </a:p>
        </p:txBody>
      </p:sp>
      <p:sp>
        <p:nvSpPr>
          <p:cNvPr id="5" name="Inhaltsplatzhalter 4">
            <a:extLst>
              <a:ext uri="{FF2B5EF4-FFF2-40B4-BE49-F238E27FC236}">
                <a16:creationId xmlns:a16="http://schemas.microsoft.com/office/drawing/2014/main" id="{540DE8D6-D792-40C7-A529-053BE85A4E4F}"/>
              </a:ext>
            </a:extLst>
          </p:cNvPr>
          <p:cNvSpPr>
            <a:spLocks noGrp="1"/>
          </p:cNvSpPr>
          <p:nvPr>
            <p:ph sz="quarter" idx="16"/>
          </p:nvPr>
        </p:nvSpPr>
        <p:spPr/>
        <p:txBody>
          <a:bodyPr/>
          <a:lstStyle/>
          <a:p>
            <a:endParaRPr lang="en-US"/>
          </a:p>
        </p:txBody>
      </p:sp>
    </p:spTree>
    <p:extLst>
      <p:ext uri="{BB962C8B-B14F-4D97-AF65-F5344CB8AC3E}">
        <p14:creationId xmlns:p14="http://schemas.microsoft.com/office/powerpoint/2010/main" val="338430026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1EC6E30-5BA8-4B5B-815B-CB0750D574EF}"/>
              </a:ext>
            </a:extLst>
          </p:cNvPr>
          <p:cNvSpPr>
            <a:spLocks noGrp="1"/>
          </p:cNvSpPr>
          <p:nvPr>
            <p:ph type="body" sz="quarter" idx="13"/>
          </p:nvPr>
        </p:nvSpPr>
        <p:spPr/>
        <p:txBody>
          <a:bodyPr/>
          <a:lstStyle/>
          <a:p>
            <a:endParaRPr lang="en-US"/>
          </a:p>
        </p:txBody>
      </p:sp>
      <p:sp>
        <p:nvSpPr>
          <p:cNvPr id="3" name="Untertitel 2">
            <a:extLst>
              <a:ext uri="{FF2B5EF4-FFF2-40B4-BE49-F238E27FC236}">
                <a16:creationId xmlns:a16="http://schemas.microsoft.com/office/drawing/2014/main" id="{0A380B7F-9738-4D31-A5C1-DFB8EFBC3821}"/>
              </a:ext>
            </a:extLst>
          </p:cNvPr>
          <p:cNvSpPr>
            <a:spLocks noGrp="1"/>
          </p:cNvSpPr>
          <p:nvPr>
            <p:ph type="subTitle" idx="1"/>
          </p:nvPr>
        </p:nvSpPr>
        <p:spPr/>
        <p:txBody>
          <a:bodyPr/>
          <a:lstStyle/>
          <a:p>
            <a:endParaRPr lang="en-US"/>
          </a:p>
        </p:txBody>
      </p:sp>
      <p:sp>
        <p:nvSpPr>
          <p:cNvPr id="4" name="Titel 3">
            <a:extLst>
              <a:ext uri="{FF2B5EF4-FFF2-40B4-BE49-F238E27FC236}">
                <a16:creationId xmlns:a16="http://schemas.microsoft.com/office/drawing/2014/main" id="{E54C4150-3297-4E1B-BBA2-09ABEE43C22E}"/>
              </a:ext>
            </a:extLst>
          </p:cNvPr>
          <p:cNvSpPr>
            <a:spLocks noGrp="1"/>
          </p:cNvSpPr>
          <p:nvPr>
            <p:ph type="title"/>
          </p:nvPr>
        </p:nvSpPr>
        <p:spPr/>
        <p:txBody>
          <a:bodyPr/>
          <a:lstStyle/>
          <a:p>
            <a:endParaRPr lang="en-US"/>
          </a:p>
        </p:txBody>
      </p:sp>
      <p:sp>
        <p:nvSpPr>
          <p:cNvPr id="5" name="Inhaltsplatzhalter 4">
            <a:extLst>
              <a:ext uri="{FF2B5EF4-FFF2-40B4-BE49-F238E27FC236}">
                <a16:creationId xmlns:a16="http://schemas.microsoft.com/office/drawing/2014/main" id="{343EE632-3142-483C-B38F-828A65041960}"/>
              </a:ext>
            </a:extLst>
          </p:cNvPr>
          <p:cNvSpPr>
            <a:spLocks noGrp="1"/>
          </p:cNvSpPr>
          <p:nvPr>
            <p:ph sz="quarter" idx="16"/>
          </p:nvPr>
        </p:nvSpPr>
        <p:spPr/>
        <p:txBody>
          <a:bodyPr/>
          <a:lstStyle/>
          <a:p>
            <a:endParaRPr lang="en-US"/>
          </a:p>
        </p:txBody>
      </p:sp>
    </p:spTree>
    <p:extLst>
      <p:ext uri="{BB962C8B-B14F-4D97-AF65-F5344CB8AC3E}">
        <p14:creationId xmlns:p14="http://schemas.microsoft.com/office/powerpoint/2010/main" val="350160588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BD34D5C3-9BD9-45E0-ACAC-F55C4AF9480D}"/>
              </a:ext>
            </a:extLst>
          </p:cNvPr>
          <p:cNvSpPr>
            <a:spLocks noGrp="1"/>
          </p:cNvSpPr>
          <p:nvPr>
            <p:ph type="body" sz="quarter" idx="13"/>
          </p:nvPr>
        </p:nvSpPr>
        <p:spPr/>
        <p:txBody>
          <a:bodyPr/>
          <a:lstStyle/>
          <a:p>
            <a:endParaRPr lang="en-US"/>
          </a:p>
        </p:txBody>
      </p:sp>
      <p:sp>
        <p:nvSpPr>
          <p:cNvPr id="4" name="Titel 3">
            <a:extLst>
              <a:ext uri="{FF2B5EF4-FFF2-40B4-BE49-F238E27FC236}">
                <a16:creationId xmlns:a16="http://schemas.microsoft.com/office/drawing/2014/main" id="{94CCDF7D-9397-4C0D-B054-CFB5DE264946}"/>
              </a:ext>
            </a:extLst>
          </p:cNvPr>
          <p:cNvSpPr>
            <a:spLocks noGrp="1"/>
          </p:cNvSpPr>
          <p:nvPr>
            <p:ph type="title"/>
          </p:nvPr>
        </p:nvSpPr>
        <p:spPr>
          <a:xfrm>
            <a:off x="594812" y="914504"/>
            <a:ext cx="6854203" cy="650527"/>
          </a:xfrm>
        </p:spPr>
        <p:txBody>
          <a:bodyPr/>
          <a:lstStyle/>
          <a:p>
            <a:r>
              <a:rPr lang="en-US" dirty="0"/>
              <a:t>Heine as the Key Competitor</a:t>
            </a:r>
          </a:p>
        </p:txBody>
      </p:sp>
      <p:sp>
        <p:nvSpPr>
          <p:cNvPr id="5" name="Inhaltsplatzhalter 4">
            <a:extLst>
              <a:ext uri="{FF2B5EF4-FFF2-40B4-BE49-F238E27FC236}">
                <a16:creationId xmlns:a16="http://schemas.microsoft.com/office/drawing/2014/main" id="{100C4C01-C182-496E-A399-86E4B4E7B018}"/>
              </a:ext>
            </a:extLst>
          </p:cNvPr>
          <p:cNvSpPr>
            <a:spLocks noGrp="1"/>
          </p:cNvSpPr>
          <p:nvPr>
            <p:ph sz="quarter" idx="16"/>
          </p:nvPr>
        </p:nvSpPr>
        <p:spPr/>
        <p:txBody>
          <a:bodyPr/>
          <a:lstStyle/>
          <a:p>
            <a:endParaRPr lang="en-US" dirty="0"/>
          </a:p>
        </p:txBody>
      </p:sp>
    </p:spTree>
    <p:extLst>
      <p:ext uri="{BB962C8B-B14F-4D97-AF65-F5344CB8AC3E}">
        <p14:creationId xmlns:p14="http://schemas.microsoft.com/office/powerpoint/2010/main" val="12396189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60045" y="668092"/>
            <a:ext cx="7756476" cy="580004"/>
          </a:xfrm>
        </p:spPr>
        <p:txBody>
          <a:bodyPr/>
          <a:lstStyle/>
          <a:p>
            <a:r>
              <a:rPr lang="en-US" dirty="0"/>
              <a:t>Competition is Driving Continuous Improvement</a:t>
            </a:r>
          </a:p>
        </p:txBody>
      </p:sp>
      <p:graphicFrame>
        <p:nvGraphicFramePr>
          <p:cNvPr id="5" name="Table 4"/>
          <p:cNvGraphicFramePr/>
          <p:nvPr>
            <p:extLst>
              <p:ext uri="{D42A27DB-BD31-4B8C-83A1-F6EECF244321}">
                <p14:modId xmlns:p14="http://schemas.microsoft.com/office/powerpoint/2010/main" val="2078605892"/>
              </p:ext>
            </p:extLst>
          </p:nvPr>
        </p:nvGraphicFramePr>
        <p:xfrm>
          <a:off x="1666308" y="1191248"/>
          <a:ext cx="6898636" cy="5375837"/>
        </p:xfrm>
        <a:graphic>
          <a:graphicData uri="http://schemas.openxmlformats.org/drawingml/2006/table">
            <a:tbl>
              <a:tblPr firstRow="1" bandRow="1">
                <a:tableStyleId>{5C22544A-7EE6-4342-B048-85BDC9FD1C3A}</a:tableStyleId>
              </a:tblPr>
              <a:tblGrid>
                <a:gridCol w="808022">
                  <a:extLst>
                    <a:ext uri="{9D8B030D-6E8A-4147-A177-3AD203B41FA5}">
                      <a16:colId xmlns:a16="http://schemas.microsoft.com/office/drawing/2014/main" val="2719300802"/>
                    </a:ext>
                  </a:extLst>
                </a:gridCol>
                <a:gridCol w="2030922">
                  <a:extLst>
                    <a:ext uri="{9D8B030D-6E8A-4147-A177-3AD203B41FA5}">
                      <a16:colId xmlns:a16="http://schemas.microsoft.com/office/drawing/2014/main" val="3708226665"/>
                    </a:ext>
                  </a:extLst>
                </a:gridCol>
                <a:gridCol w="2014883">
                  <a:extLst>
                    <a:ext uri="{9D8B030D-6E8A-4147-A177-3AD203B41FA5}">
                      <a16:colId xmlns:a16="http://schemas.microsoft.com/office/drawing/2014/main" val="2100965908"/>
                    </a:ext>
                  </a:extLst>
                </a:gridCol>
                <a:gridCol w="2044809">
                  <a:extLst>
                    <a:ext uri="{9D8B030D-6E8A-4147-A177-3AD203B41FA5}">
                      <a16:colId xmlns:a16="http://schemas.microsoft.com/office/drawing/2014/main" val="974587862"/>
                    </a:ext>
                  </a:extLst>
                </a:gridCol>
              </a:tblGrid>
              <a:tr h="565120">
                <a:tc>
                  <a:txBody>
                    <a:bodyPr/>
                    <a:lstStyle/>
                    <a:p>
                      <a:pPr marL="0" algn="ctr" rtl="0" latinLnBrk="0">
                        <a:spcBef>
                          <a:spcPts val="0"/>
                        </a:spcBef>
                        <a:spcAft>
                          <a:spcPts val="0"/>
                        </a:spcAft>
                      </a:pPr>
                      <a:endParaRPr lang="en-US" sz="1100" dirty="0">
                        <a:effectLst/>
                      </a:endParaRPr>
                    </a:p>
                  </a:txBody>
                  <a:tcPr marL="0" marR="0" marT="0" marB="0" anchor="ctr"/>
                </a:tc>
                <a:tc>
                  <a:txBody>
                    <a:bodyPr/>
                    <a:lstStyle/>
                    <a:p>
                      <a:pPr marL="0" algn="ctr" rtl="0" latinLnBrk="0">
                        <a:spcBef>
                          <a:spcPts val="0"/>
                        </a:spcBef>
                        <a:spcAft>
                          <a:spcPts val="0"/>
                        </a:spcAft>
                      </a:pPr>
                      <a:r>
                        <a:rPr lang="en-US" sz="1100" dirty="0">
                          <a:effectLst/>
                        </a:rPr>
                        <a:t>WELCH ALLYN</a:t>
                      </a:r>
                    </a:p>
                  </a:txBody>
                  <a:tcPr marL="0" marR="0" marT="0" marB="0" anchor="ctr">
                    <a:lnB w="12700" cap="flat" cmpd="sng" algn="ctr">
                      <a:solidFill>
                        <a:schemeClr val="tx1"/>
                      </a:solidFill>
                      <a:prstDash val="solid"/>
                      <a:round/>
                      <a:headEnd type="none" w="med" len="med"/>
                      <a:tailEnd type="none" w="med" len="med"/>
                    </a:lnB>
                  </a:tcPr>
                </a:tc>
                <a:tc>
                  <a:txBody>
                    <a:bodyPr/>
                    <a:lstStyle/>
                    <a:p>
                      <a:pPr marL="0" algn="ctr" rtl="0" latinLnBrk="0">
                        <a:spcBef>
                          <a:spcPts val="0"/>
                        </a:spcBef>
                        <a:spcAft>
                          <a:spcPts val="0"/>
                        </a:spcAft>
                      </a:pPr>
                      <a:r>
                        <a:rPr lang="en-US" sz="1100" kern="1200" dirty="0">
                          <a:effectLst/>
                        </a:rPr>
                        <a:t>RIESTER / ADC</a:t>
                      </a:r>
                      <a:endParaRPr lang="en-US" sz="1100" dirty="0">
                        <a:effectLst/>
                      </a:endParaRPr>
                    </a:p>
                  </a:txBody>
                  <a:tcPr marL="0" marR="0" marT="0" marB="0" anchor="ctr">
                    <a:lnB w="12700" cap="flat" cmpd="sng" algn="ctr">
                      <a:solidFill>
                        <a:schemeClr val="tx1"/>
                      </a:solidFill>
                      <a:prstDash val="solid"/>
                      <a:round/>
                      <a:headEnd type="none" w="med" len="med"/>
                      <a:tailEnd type="none" w="med" len="med"/>
                    </a:lnB>
                  </a:tcPr>
                </a:tc>
                <a:tc>
                  <a:txBody>
                    <a:bodyPr/>
                    <a:lstStyle/>
                    <a:p>
                      <a:pPr marL="0" algn="ctr" rtl="0" eaLnBrk="1" latinLnBrk="0" hangingPunct="1">
                        <a:spcBef>
                          <a:spcPts val="0"/>
                        </a:spcBef>
                        <a:spcAft>
                          <a:spcPts val="0"/>
                        </a:spcAft>
                      </a:pPr>
                      <a:r>
                        <a:rPr lang="en-US" sz="1100" kern="1200" dirty="0">
                          <a:effectLst/>
                        </a:rPr>
                        <a:t>HEINE</a:t>
                      </a:r>
                      <a:endParaRPr lang="en-US" sz="1100" dirty="0">
                        <a:effectLst/>
                      </a:endParaRPr>
                    </a:p>
                  </a:txBody>
                  <a:tcPr marL="0" marR="0" marT="0" marB="0"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85185794"/>
                  </a:ext>
                </a:extLst>
              </a:tr>
              <a:tr h="1144417">
                <a:tc>
                  <a:txBody>
                    <a:bodyPr/>
                    <a:lstStyle/>
                    <a:p>
                      <a:pPr marL="0" algn="ctr" rtl="0" latinLnBrk="0">
                        <a:spcBef>
                          <a:spcPts val="0"/>
                        </a:spcBef>
                        <a:spcAft>
                          <a:spcPts val="0"/>
                        </a:spcAft>
                      </a:pPr>
                      <a:r>
                        <a:rPr lang="en-US" sz="1100" b="1" dirty="0">
                          <a:solidFill>
                            <a:schemeClr val="bg1"/>
                          </a:solidFill>
                          <a:effectLst/>
                        </a:rPr>
                        <a:t>Wall</a:t>
                      </a:r>
                    </a:p>
                    <a:p>
                      <a:pPr marL="0" algn="ctr" rtl="0" latinLnBrk="0">
                        <a:spcBef>
                          <a:spcPts val="0"/>
                        </a:spcBef>
                        <a:spcAft>
                          <a:spcPts val="0"/>
                        </a:spcAft>
                      </a:pPr>
                      <a:r>
                        <a:rPr lang="en-US" sz="1100" b="1" dirty="0">
                          <a:solidFill>
                            <a:schemeClr val="bg1"/>
                          </a:solidFill>
                          <a:effectLst/>
                        </a:rPr>
                        <a:t>Units</a:t>
                      </a:r>
                    </a:p>
                  </a:txBody>
                  <a:tcPr marL="0" marR="0" marT="0" marB="0" anchor="ctr">
                    <a:lnR w="12700" cap="flat" cmpd="sng" algn="ctr">
                      <a:solidFill>
                        <a:schemeClr val="tx1"/>
                      </a:solidFill>
                      <a:prstDash val="solid"/>
                      <a:round/>
                      <a:headEnd type="none" w="med" len="med"/>
                      <a:tailEnd type="none" w="med" len="med"/>
                    </a:lnR>
                    <a:solidFill>
                      <a:schemeClr val="tx2"/>
                    </a:solidFill>
                  </a:tcPr>
                </a:tc>
                <a:tc>
                  <a:txBody>
                    <a:bodyPr/>
                    <a:lstStyle/>
                    <a:p>
                      <a:pPr marL="0" rtl="0" latinLnBrk="0">
                        <a:spcBef>
                          <a:spcPts val="0"/>
                        </a:spcBef>
                        <a:spcAft>
                          <a:spcPts val="0"/>
                        </a:spcAft>
                      </a:pPr>
                      <a:endParaRPr lang="en-US" sz="1100" dirty="0">
                        <a:effectLs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rtl="0" latinLnBrk="0">
                        <a:spcBef>
                          <a:spcPts val="0"/>
                        </a:spcBef>
                        <a:spcAft>
                          <a:spcPts val="0"/>
                        </a:spcAft>
                      </a:pPr>
                      <a:endParaRPr lang="en-US" sz="1100" dirty="0">
                        <a:effectLs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rtl="0" eaLnBrk="1" latinLnBrk="0" hangingPunct="1">
                        <a:spcBef>
                          <a:spcPts val="0"/>
                        </a:spcBef>
                        <a:spcAft>
                          <a:spcPts val="0"/>
                        </a:spcAft>
                      </a:pPr>
                      <a:endParaRPr lang="en-US" sz="1100" dirty="0">
                        <a:effectLs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96701467"/>
                  </a:ext>
                </a:extLst>
              </a:tr>
              <a:tr h="1369170">
                <a:tc>
                  <a:txBody>
                    <a:bodyPr/>
                    <a:lstStyle/>
                    <a:p>
                      <a:pPr marL="0" algn="ctr" rtl="0" latinLnBrk="0">
                        <a:spcBef>
                          <a:spcPts val="0"/>
                        </a:spcBef>
                        <a:spcAft>
                          <a:spcPts val="0"/>
                        </a:spcAft>
                      </a:pPr>
                      <a:r>
                        <a:rPr lang="en-US" sz="1100" b="1" dirty="0">
                          <a:solidFill>
                            <a:schemeClr val="bg1"/>
                          </a:solidFill>
                          <a:effectLst/>
                        </a:rPr>
                        <a:t>Diagnostic</a:t>
                      </a:r>
                    </a:p>
                    <a:p>
                      <a:pPr marL="0" algn="ctr" rtl="0" latinLnBrk="0">
                        <a:spcBef>
                          <a:spcPts val="0"/>
                        </a:spcBef>
                        <a:spcAft>
                          <a:spcPts val="0"/>
                        </a:spcAft>
                      </a:pPr>
                      <a:r>
                        <a:rPr lang="en-US" sz="1100" b="1" dirty="0">
                          <a:solidFill>
                            <a:schemeClr val="bg1"/>
                          </a:solidFill>
                          <a:effectLst/>
                        </a:rPr>
                        <a:t>Heads</a:t>
                      </a:r>
                    </a:p>
                  </a:txBody>
                  <a:tcPr marL="0" marR="0" marT="0" marB="0" anchor="ctr">
                    <a:lnR w="12700" cap="flat" cmpd="sng" algn="ctr">
                      <a:solidFill>
                        <a:schemeClr val="tx1"/>
                      </a:solidFill>
                      <a:prstDash val="solid"/>
                      <a:round/>
                      <a:headEnd type="none" w="med" len="med"/>
                      <a:tailEnd type="none" w="med" len="med"/>
                    </a:lnR>
                    <a:solidFill>
                      <a:schemeClr val="tx2"/>
                    </a:solidFill>
                  </a:tcPr>
                </a:tc>
                <a:tc>
                  <a:txBody>
                    <a:bodyPr/>
                    <a:lstStyle/>
                    <a:p>
                      <a:pPr marL="0" rtl="0" latinLnBrk="0">
                        <a:spcBef>
                          <a:spcPts val="0"/>
                        </a:spcBef>
                        <a:spcAft>
                          <a:spcPts val="0"/>
                        </a:spcAft>
                      </a:pPr>
                      <a:endParaRPr lang="en-US" sz="1100" dirty="0">
                        <a:effectLs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rtl="0" latinLnBrk="0">
                        <a:spcBef>
                          <a:spcPts val="0"/>
                        </a:spcBef>
                        <a:spcAft>
                          <a:spcPts val="0"/>
                        </a:spcAft>
                      </a:pPr>
                      <a:endParaRPr lang="en-US" sz="1100" dirty="0">
                        <a:effectLs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rtl="0" eaLnBrk="1" latinLnBrk="0" hangingPunct="1">
                        <a:spcBef>
                          <a:spcPts val="0"/>
                        </a:spcBef>
                        <a:spcAft>
                          <a:spcPts val="0"/>
                        </a:spcAft>
                      </a:pPr>
                      <a:endParaRPr lang="en-US" sz="1100" dirty="0">
                        <a:effectLs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37464743"/>
                  </a:ext>
                </a:extLst>
              </a:tr>
              <a:tr h="1077792">
                <a:tc>
                  <a:txBody>
                    <a:bodyPr/>
                    <a:lstStyle/>
                    <a:p>
                      <a:pPr marL="0" algn="ctr" rtl="0" latinLnBrk="0">
                        <a:spcBef>
                          <a:spcPts val="0"/>
                        </a:spcBef>
                        <a:spcAft>
                          <a:spcPts val="0"/>
                        </a:spcAft>
                      </a:pPr>
                      <a:r>
                        <a:rPr lang="en-US" sz="1100" b="1" dirty="0">
                          <a:solidFill>
                            <a:schemeClr val="bg1"/>
                          </a:solidFill>
                          <a:effectLst/>
                        </a:rPr>
                        <a:t>Student</a:t>
                      </a:r>
                      <a:r>
                        <a:rPr lang="en-US" sz="1100" b="1" baseline="0" dirty="0">
                          <a:solidFill>
                            <a:schemeClr val="bg1"/>
                          </a:solidFill>
                          <a:effectLst/>
                        </a:rPr>
                        <a:t> Sets</a:t>
                      </a:r>
                      <a:endParaRPr lang="en-US" sz="1100" b="1" dirty="0">
                        <a:solidFill>
                          <a:schemeClr val="bg1"/>
                        </a:solidFill>
                        <a:effectLst/>
                      </a:endParaRPr>
                    </a:p>
                  </a:txBody>
                  <a:tcPr marL="0" marR="0" marT="0" marB="0" anchor="ctr">
                    <a:lnR w="12700" cap="flat" cmpd="sng" algn="ctr">
                      <a:solidFill>
                        <a:schemeClr val="tx1"/>
                      </a:solidFill>
                      <a:prstDash val="solid"/>
                      <a:round/>
                      <a:headEnd type="none" w="med" len="med"/>
                      <a:tailEnd type="none" w="med" len="med"/>
                    </a:lnR>
                    <a:solidFill>
                      <a:schemeClr val="tx2"/>
                    </a:solidFill>
                  </a:tcPr>
                </a:tc>
                <a:tc>
                  <a:txBody>
                    <a:bodyPr/>
                    <a:lstStyle/>
                    <a:p>
                      <a:pPr marL="0" rtl="0" latinLnBrk="0">
                        <a:spcBef>
                          <a:spcPts val="0"/>
                        </a:spcBef>
                        <a:spcAft>
                          <a:spcPts val="0"/>
                        </a:spcAft>
                      </a:pPr>
                      <a:endParaRPr lang="en-US" sz="1100" dirty="0">
                        <a:effectLs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rtl="0" latinLnBrk="0">
                        <a:spcBef>
                          <a:spcPts val="0"/>
                        </a:spcBef>
                        <a:spcAft>
                          <a:spcPts val="0"/>
                        </a:spcAft>
                      </a:pPr>
                      <a:endParaRPr lang="en-US" sz="1100" dirty="0">
                        <a:effectLs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rtl="0" eaLnBrk="1" latinLnBrk="0" hangingPunct="1">
                        <a:spcBef>
                          <a:spcPts val="0"/>
                        </a:spcBef>
                        <a:spcAft>
                          <a:spcPts val="0"/>
                        </a:spcAft>
                      </a:pPr>
                      <a:endParaRPr lang="en-US" sz="1100" dirty="0">
                        <a:effectLs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4034870"/>
                  </a:ext>
                </a:extLst>
              </a:tr>
              <a:tr h="1219338">
                <a:tc>
                  <a:txBody>
                    <a:bodyPr/>
                    <a:lstStyle/>
                    <a:p>
                      <a:pPr marL="0" algn="ctr" rtl="0" latinLnBrk="0">
                        <a:spcBef>
                          <a:spcPts val="0"/>
                        </a:spcBef>
                        <a:spcAft>
                          <a:spcPts val="0"/>
                        </a:spcAft>
                      </a:pPr>
                      <a:r>
                        <a:rPr lang="en-US" sz="1100" b="1" dirty="0">
                          <a:solidFill>
                            <a:schemeClr val="bg1"/>
                          </a:solidFill>
                          <a:effectLst/>
                        </a:rPr>
                        <a:t>Unique</a:t>
                      </a:r>
                      <a:r>
                        <a:rPr lang="en-US" sz="1100" b="1" baseline="0" dirty="0">
                          <a:solidFill>
                            <a:schemeClr val="bg1"/>
                          </a:solidFill>
                          <a:effectLst/>
                        </a:rPr>
                        <a:t> Products</a:t>
                      </a:r>
                      <a:endParaRPr lang="en-US" sz="1100" b="1" dirty="0">
                        <a:solidFill>
                          <a:schemeClr val="bg1"/>
                        </a:solidFill>
                        <a:effectLst/>
                      </a:endParaRPr>
                    </a:p>
                  </a:txBody>
                  <a:tcPr marL="0" marR="0" marT="0" marB="0" anchor="ctr">
                    <a:lnR w="12700" cap="flat" cmpd="sng" algn="ctr">
                      <a:solidFill>
                        <a:schemeClr val="tx1"/>
                      </a:solidFill>
                      <a:prstDash val="solid"/>
                      <a:round/>
                      <a:headEnd type="none" w="med" len="med"/>
                      <a:tailEnd type="none" w="med" len="med"/>
                    </a:lnR>
                    <a:solidFill>
                      <a:schemeClr val="tx2"/>
                    </a:solidFill>
                  </a:tcPr>
                </a:tc>
                <a:tc>
                  <a:txBody>
                    <a:bodyPr/>
                    <a:lstStyle/>
                    <a:p>
                      <a:pPr marL="0" rtl="0" latinLnBrk="0">
                        <a:spcBef>
                          <a:spcPts val="0"/>
                        </a:spcBef>
                        <a:spcAft>
                          <a:spcPts val="0"/>
                        </a:spcAft>
                      </a:pPr>
                      <a:endParaRPr lang="en-US" sz="1100" dirty="0">
                        <a:effectLs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rtl="0" latinLnBrk="0">
                        <a:spcBef>
                          <a:spcPts val="0"/>
                        </a:spcBef>
                        <a:spcAft>
                          <a:spcPts val="0"/>
                        </a:spcAft>
                      </a:pPr>
                      <a:endParaRPr lang="en-US" sz="1100" dirty="0">
                        <a:effectLs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rtl="0" eaLnBrk="1" latinLnBrk="0" hangingPunct="1">
                        <a:spcBef>
                          <a:spcPts val="0"/>
                        </a:spcBef>
                        <a:spcAft>
                          <a:spcPts val="0"/>
                        </a:spcAft>
                      </a:pPr>
                      <a:endParaRPr lang="en-US" sz="1100" dirty="0">
                        <a:effectLs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30279008"/>
                  </a:ext>
                </a:extLst>
              </a:tr>
            </a:tbl>
          </a:graphicData>
        </a:graphic>
      </p:graphicFrame>
      <p:pic>
        <p:nvPicPr>
          <p:cNvPr id="4" name="Picture 3"/>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7048110" y="2066521"/>
            <a:ext cx="899759" cy="701142"/>
          </a:xfrm>
          <a:prstGeom prst="rect">
            <a:avLst/>
          </a:prstGeom>
          <a:noFill/>
        </p:spPr>
      </p:pic>
      <p:sp>
        <p:nvSpPr>
          <p:cNvPr id="3" name="TextBox 2"/>
          <p:cNvSpPr txBox="1"/>
          <p:nvPr/>
        </p:nvSpPr>
        <p:spPr>
          <a:xfrm>
            <a:off x="6688158" y="2665128"/>
            <a:ext cx="1865077" cy="335646"/>
          </a:xfrm>
          <a:prstGeom prst="rect">
            <a:avLst/>
          </a:prstGeom>
          <a:noFill/>
        </p:spPr>
        <p:txBody>
          <a:bodyPr wrap="square" tIns="90000" bIns="90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0000"/>
                </a:solidFill>
                <a:effectLst/>
                <a:uLnTx/>
                <a:uFillTx/>
                <a:latin typeface="Century Gothic" panose="020F0302020204030204"/>
                <a:ea typeface="+mn-ea"/>
                <a:cs typeface="+mn-cs"/>
              </a:rPr>
              <a:t>NEW 2017</a:t>
            </a:r>
          </a:p>
        </p:txBody>
      </p:sp>
      <p:sp>
        <p:nvSpPr>
          <p:cNvPr id="8" name="TextBox 7"/>
          <p:cNvSpPr txBox="1"/>
          <p:nvPr/>
        </p:nvSpPr>
        <p:spPr>
          <a:xfrm>
            <a:off x="4626307" y="2671784"/>
            <a:ext cx="1865077" cy="335646"/>
          </a:xfrm>
          <a:prstGeom prst="rect">
            <a:avLst/>
          </a:prstGeom>
          <a:noFill/>
        </p:spPr>
        <p:txBody>
          <a:bodyPr wrap="square" tIns="90000" bIns="90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0000"/>
                </a:solidFill>
                <a:effectLst/>
                <a:uLnTx/>
                <a:uFillTx/>
                <a:latin typeface="Century Gothic" panose="020F0302020204030204"/>
                <a:ea typeface="+mn-ea"/>
                <a:cs typeface="+mn-cs"/>
              </a:rPr>
              <a:t>NEW 2015</a:t>
            </a:r>
          </a:p>
        </p:txBody>
      </p:sp>
      <p:pic>
        <p:nvPicPr>
          <p:cNvPr id="9" name="Picture 8"/>
          <p:cNvPicPr>
            <a:picLocks noChangeAspect="1"/>
          </p:cNvPicPr>
          <p:nvPr/>
        </p:nvPicPr>
        <p:blipFill rotWithShape="1">
          <a:blip r:embed="rId4" cstate="email">
            <a:extLst>
              <a:ext uri="{28A0092B-C50C-407E-A947-70E740481C1C}">
                <a14:useLocalDpi xmlns:a14="http://schemas.microsoft.com/office/drawing/2010/main"/>
              </a:ext>
            </a:extLst>
          </a:blip>
          <a:srcRect t="12106" r="19883"/>
          <a:stretch/>
        </p:blipFill>
        <p:spPr>
          <a:xfrm>
            <a:off x="4617690" y="3019249"/>
            <a:ext cx="783603" cy="1022674"/>
          </a:xfrm>
          <a:prstGeom prst="rect">
            <a:avLst/>
          </a:prstGeom>
        </p:spPr>
      </p:pic>
      <p:pic>
        <p:nvPicPr>
          <p:cNvPr id="10" name="Picture 9"/>
          <p:cNvPicPr>
            <a:picLocks noChangeAspect="1"/>
          </p:cNvPicPr>
          <p:nvPr/>
        </p:nvPicPr>
        <p:blipFill rotWithShape="1">
          <a:blip r:embed="rId5" cstate="email">
            <a:extLst>
              <a:ext uri="{28A0092B-C50C-407E-A947-70E740481C1C}">
                <a14:useLocalDpi xmlns:a14="http://schemas.microsoft.com/office/drawing/2010/main"/>
              </a:ext>
            </a:extLst>
          </a:blip>
          <a:srcRect r="-226"/>
          <a:stretch/>
        </p:blipFill>
        <p:spPr>
          <a:xfrm>
            <a:off x="5877501" y="3028577"/>
            <a:ext cx="410845" cy="997909"/>
          </a:xfrm>
          <a:prstGeom prst="rect">
            <a:avLst/>
          </a:prstGeom>
        </p:spPr>
      </p:pic>
      <p:sp>
        <p:nvSpPr>
          <p:cNvPr id="11" name="TextBox 10"/>
          <p:cNvSpPr txBox="1"/>
          <p:nvPr/>
        </p:nvSpPr>
        <p:spPr>
          <a:xfrm>
            <a:off x="4907506" y="3937550"/>
            <a:ext cx="1096910" cy="335646"/>
          </a:xfrm>
          <a:prstGeom prst="rect">
            <a:avLst/>
          </a:prstGeom>
          <a:noFill/>
        </p:spPr>
        <p:txBody>
          <a:bodyPr wrap="square" tIns="90000" bIns="90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0000"/>
                </a:solidFill>
                <a:effectLst/>
                <a:uLnTx/>
                <a:uFillTx/>
                <a:latin typeface="Century Gothic" panose="020F0302020204030204"/>
                <a:ea typeface="+mn-ea"/>
                <a:cs typeface="+mn-cs"/>
              </a:rPr>
              <a:t>NEW 2016</a:t>
            </a:r>
          </a:p>
        </p:txBody>
      </p:sp>
      <p:sp>
        <p:nvSpPr>
          <p:cNvPr id="12" name="TextBox 11"/>
          <p:cNvSpPr txBox="1"/>
          <p:nvPr/>
        </p:nvSpPr>
        <p:spPr>
          <a:xfrm>
            <a:off x="4354877" y="1740946"/>
            <a:ext cx="2497233" cy="335646"/>
          </a:xfrm>
          <a:prstGeom prst="rect">
            <a:avLst/>
          </a:prstGeom>
          <a:noFill/>
        </p:spPr>
        <p:txBody>
          <a:bodyPr wrap="square" tIns="90000" bIns="90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prstClr val="black"/>
                </a:solidFill>
                <a:effectLst/>
                <a:uLnTx/>
                <a:uFillTx/>
                <a:latin typeface="Century Gothic" panose="020F0302020204030204"/>
                <a:ea typeface="+mn-ea"/>
                <a:cs typeface="+mn-cs"/>
              </a:rPr>
              <a:t>Ri</a:t>
            </a:r>
            <a:r>
              <a:rPr kumimoji="0" lang="en-US" sz="1000" b="0" i="0" u="none" strike="noStrike" kern="1200" cap="none" spc="0" normalizeH="0" baseline="0" noProof="0" dirty="0">
                <a:ln>
                  <a:noFill/>
                </a:ln>
                <a:solidFill>
                  <a:prstClr val="black"/>
                </a:solidFill>
                <a:effectLst/>
                <a:uLnTx/>
                <a:uFillTx/>
                <a:latin typeface="Century Gothic" panose="020F0302020204030204"/>
                <a:ea typeface="+mn-ea"/>
                <a:cs typeface="+mn-cs"/>
              </a:rPr>
              <a:t>-former Diagnostic Station</a:t>
            </a:r>
          </a:p>
        </p:txBody>
      </p:sp>
      <p:sp>
        <p:nvSpPr>
          <p:cNvPr id="13" name="TextBox 12"/>
          <p:cNvSpPr txBox="1"/>
          <p:nvPr/>
        </p:nvSpPr>
        <p:spPr>
          <a:xfrm>
            <a:off x="6536013" y="1736947"/>
            <a:ext cx="2497233" cy="335646"/>
          </a:xfrm>
          <a:prstGeom prst="rect">
            <a:avLst/>
          </a:prstGeom>
          <a:noFill/>
        </p:spPr>
        <p:txBody>
          <a:bodyPr wrap="square" tIns="90000" bIns="90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entury Gothic" panose="020F0302020204030204"/>
                <a:ea typeface="+mn-ea"/>
                <a:cs typeface="+mn-cs"/>
              </a:rPr>
              <a:t>EN200 Diagnostic Centre</a:t>
            </a:r>
          </a:p>
        </p:txBody>
      </p:sp>
      <p:pic>
        <p:nvPicPr>
          <p:cNvPr id="17" name="Picture 16"/>
          <p:cNvPicPr>
            <a:picLocks noChangeAspect="1"/>
          </p:cNvPicPr>
          <p:nvPr/>
        </p:nvPicPr>
        <p:blipFill rotWithShape="1">
          <a:blip r:embed="rId6" cstate="email">
            <a:extLst>
              <a:ext uri="{BEBA8EAE-BF5A-486C-A8C5-ECC9F3942E4B}">
                <a14:imgProps xmlns:a14="http://schemas.microsoft.com/office/drawing/2010/main">
                  <a14:imgLayer r:embed="rId7">
                    <a14:imgEffect>
                      <a14:backgroundRemoval t="6013" b="93096" l="9948" r="90052">
                        <a14:foregroundMark x1="80105" y1="11136" x2="49738" y2="8018"/>
                        <a14:foregroundMark x1="49738" y1="8018" x2="19372" y2="12695"/>
                        <a14:foregroundMark x1="19372" y1="12695" x2="14136" y2="11136"/>
                        <a14:foregroundMark x1="18063" y1="9577" x2="12827" y2="6682"/>
                        <a14:foregroundMark x1="38482" y1="26726" x2="37696" y2="78619"/>
                        <a14:foregroundMark x1="37696" y1="78619" x2="37696" y2="59020"/>
                        <a14:foregroundMark x1="41099" y1="72829" x2="53403" y2="91314"/>
                        <a14:foregroundMark x1="29843" y1="93541" x2="51571" y2="91759"/>
                        <a14:foregroundMark x1="46335" y1="67261" x2="52094" y2="87305"/>
                        <a14:foregroundMark x1="10995" y1="10022" x2="18848" y2="27394"/>
                        <a14:foregroundMark x1="25916" y1="6682" x2="49476" y2="10022"/>
                        <a14:foregroundMark x1="37696" y1="6236" x2="54712" y2="8909"/>
                        <a14:foregroundMark x1="50262" y1="53898" x2="47906" y2="78174"/>
                        <a14:foregroundMark x1="47906" y1="78174" x2="55497" y2="29621"/>
                      </a14:backgroundRemoval>
                    </a14:imgEffect>
                  </a14:imgLayer>
                </a14:imgProps>
              </a:ext>
              <a:ext uri="{28A0092B-C50C-407E-A947-70E740481C1C}">
                <a14:useLocalDpi xmlns:a14="http://schemas.microsoft.com/office/drawing/2010/main"/>
              </a:ext>
            </a:extLst>
          </a:blip>
          <a:srcRect/>
          <a:stretch/>
        </p:blipFill>
        <p:spPr>
          <a:xfrm>
            <a:off x="6764943" y="3012466"/>
            <a:ext cx="849285" cy="997909"/>
          </a:xfrm>
          <a:prstGeom prst="rect">
            <a:avLst/>
          </a:prstGeom>
        </p:spPr>
      </p:pic>
      <p:pic>
        <p:nvPicPr>
          <p:cNvPr id="18" name="Picture 17"/>
          <p:cNvPicPr>
            <a:picLocks noChangeAspect="1"/>
          </p:cNvPicPr>
          <p:nvPr/>
        </p:nvPicPr>
        <p:blipFill rotWithShape="1">
          <a:blip r:embed="rId8" cstate="email">
            <a:extLst>
              <a:ext uri="{28A0092B-C50C-407E-A947-70E740481C1C}">
                <a14:useLocalDpi xmlns:a14="http://schemas.microsoft.com/office/drawing/2010/main"/>
              </a:ext>
            </a:extLst>
          </a:blip>
          <a:srcRect r="-2145"/>
          <a:stretch/>
        </p:blipFill>
        <p:spPr>
          <a:xfrm>
            <a:off x="7717271" y="3084421"/>
            <a:ext cx="809020" cy="622323"/>
          </a:xfrm>
          <a:prstGeom prst="rect">
            <a:avLst/>
          </a:prstGeom>
        </p:spPr>
      </p:pic>
      <p:pic>
        <p:nvPicPr>
          <p:cNvPr id="24" name="Picture 23"/>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147419" y="4404012"/>
            <a:ext cx="860717" cy="903640"/>
          </a:xfrm>
          <a:prstGeom prst="rect">
            <a:avLst/>
          </a:prstGeom>
        </p:spPr>
      </p:pic>
      <p:pic>
        <p:nvPicPr>
          <p:cNvPr id="25" name="Picture 24"/>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7066303" y="4396725"/>
            <a:ext cx="757918" cy="757918"/>
          </a:xfrm>
          <a:prstGeom prst="rect">
            <a:avLst/>
          </a:prstGeom>
        </p:spPr>
      </p:pic>
      <p:sp>
        <p:nvSpPr>
          <p:cNvPr id="27" name="TextBox 26"/>
          <p:cNvSpPr txBox="1"/>
          <p:nvPr/>
        </p:nvSpPr>
        <p:spPr>
          <a:xfrm>
            <a:off x="6714612" y="5073478"/>
            <a:ext cx="1621315" cy="335646"/>
          </a:xfrm>
          <a:prstGeom prst="rect">
            <a:avLst/>
          </a:prstGeom>
          <a:noFill/>
        </p:spPr>
        <p:txBody>
          <a:bodyPr wrap="square" tIns="90000" bIns="90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0000"/>
                </a:solidFill>
                <a:effectLst/>
                <a:uLnTx/>
                <a:uFillTx/>
                <a:latin typeface="Century Gothic" panose="020F0302020204030204"/>
                <a:ea typeface="+mn-ea"/>
                <a:cs typeface="+mn-cs"/>
              </a:rPr>
              <a:t>NEW USB handle</a:t>
            </a:r>
          </a:p>
        </p:txBody>
      </p:sp>
      <p:sp>
        <p:nvSpPr>
          <p:cNvPr id="32" name="TextBox 31"/>
          <p:cNvSpPr txBox="1"/>
          <p:nvPr/>
        </p:nvSpPr>
        <p:spPr>
          <a:xfrm>
            <a:off x="6700914" y="3962849"/>
            <a:ext cx="906232" cy="335646"/>
          </a:xfrm>
          <a:prstGeom prst="rect">
            <a:avLst/>
          </a:prstGeom>
          <a:noFill/>
        </p:spPr>
        <p:txBody>
          <a:bodyPr wrap="square" tIns="90000" bIns="90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0000"/>
                </a:solidFill>
                <a:effectLst/>
                <a:uLnTx/>
                <a:uFillTx/>
                <a:latin typeface="Century Gothic" panose="020F0302020204030204"/>
                <a:ea typeface="+mn-ea"/>
                <a:cs typeface="+mn-cs"/>
              </a:rPr>
              <a:t>NEW 2015</a:t>
            </a:r>
          </a:p>
        </p:txBody>
      </p:sp>
      <p:pic>
        <p:nvPicPr>
          <p:cNvPr id="6" name="Picture 5"/>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3154930" y="3191363"/>
            <a:ext cx="572316" cy="572316"/>
          </a:xfrm>
          <a:prstGeom prst="rect">
            <a:avLst/>
          </a:prstGeom>
        </p:spPr>
      </p:pic>
      <p:sp>
        <p:nvSpPr>
          <p:cNvPr id="33" name="TextBox 32"/>
          <p:cNvSpPr txBox="1"/>
          <p:nvPr/>
        </p:nvSpPr>
        <p:spPr>
          <a:xfrm>
            <a:off x="2986672" y="3888028"/>
            <a:ext cx="809368" cy="474655"/>
          </a:xfrm>
          <a:prstGeom prst="rect">
            <a:avLst/>
          </a:prstGeom>
          <a:noFill/>
        </p:spPr>
        <p:txBody>
          <a:bodyPr wrap="square" tIns="83077" bIns="83077"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97" b="0" i="0" u="none" strike="noStrike" kern="1200" cap="none" spc="0" normalizeH="0" baseline="0" noProof="0" dirty="0">
                <a:ln>
                  <a:noFill/>
                </a:ln>
                <a:solidFill>
                  <a:prstClr val="black"/>
                </a:solidFill>
                <a:effectLst/>
                <a:uLnTx/>
                <a:uFillTx/>
                <a:latin typeface="Century Gothic" panose="020F0302020204030204"/>
                <a:ea typeface="+mn-ea"/>
                <a:cs typeface="+mn-cs"/>
              </a:rPr>
              <a:t>200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97" b="0" i="0" u="none" strike="noStrike" kern="1200" cap="none" spc="0" normalizeH="0" baseline="0" noProof="0" dirty="0" err="1">
                <a:ln>
                  <a:noFill/>
                </a:ln>
                <a:solidFill>
                  <a:prstClr val="black"/>
                </a:solidFill>
                <a:effectLst/>
                <a:uLnTx/>
                <a:uFillTx/>
                <a:latin typeface="Century Gothic" panose="020F0302020204030204"/>
                <a:ea typeface="+mn-ea"/>
                <a:cs typeface="+mn-cs"/>
              </a:rPr>
              <a:t>PanOptic</a:t>
            </a:r>
            <a:endParaRPr kumimoji="0" lang="en-US" sz="997" b="0" i="0" u="none" strike="noStrike" kern="1200" cap="none" spc="0" normalizeH="0" baseline="0" noProof="0" dirty="0">
              <a:ln>
                <a:noFill/>
              </a:ln>
              <a:solidFill>
                <a:prstClr val="black"/>
              </a:solidFill>
              <a:effectLst/>
              <a:uLnTx/>
              <a:uFillTx/>
              <a:latin typeface="Century Gothic" panose="020F0302020204030204"/>
              <a:ea typeface="+mn-ea"/>
              <a:cs typeface="+mn-cs"/>
            </a:endParaRPr>
          </a:p>
        </p:txBody>
      </p:sp>
      <p:pic>
        <p:nvPicPr>
          <p:cNvPr id="14" name="Picture 13"/>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2597235" y="3192508"/>
            <a:ext cx="571171" cy="571171"/>
          </a:xfrm>
          <a:prstGeom prst="rect">
            <a:avLst/>
          </a:prstGeom>
        </p:spPr>
      </p:pic>
      <p:sp>
        <p:nvSpPr>
          <p:cNvPr id="34" name="TextBox 33"/>
          <p:cNvSpPr txBox="1"/>
          <p:nvPr/>
        </p:nvSpPr>
        <p:spPr>
          <a:xfrm>
            <a:off x="2283288" y="3888028"/>
            <a:ext cx="981083" cy="474655"/>
          </a:xfrm>
          <a:prstGeom prst="rect">
            <a:avLst/>
          </a:prstGeom>
          <a:noFill/>
        </p:spPr>
        <p:txBody>
          <a:bodyPr wrap="square" tIns="83077" bIns="83077"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97" b="0" i="0" u="none" strike="noStrike" kern="1200" cap="none" spc="0" normalizeH="0" baseline="0" noProof="0" dirty="0">
                <a:ln>
                  <a:noFill/>
                </a:ln>
                <a:solidFill>
                  <a:prstClr val="black"/>
                </a:solidFill>
                <a:effectLst/>
                <a:uLnTx/>
                <a:uFillTx/>
                <a:latin typeface="Century Gothic" panose="020F0302020204030204"/>
                <a:ea typeface="+mn-ea"/>
                <a:cs typeface="+mn-cs"/>
              </a:rPr>
              <a:t>1990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97" b="0" i="0" u="none" strike="noStrike" kern="1200" cap="none" spc="0" normalizeH="0" baseline="0" noProof="0" dirty="0">
                <a:ln>
                  <a:noFill/>
                </a:ln>
                <a:solidFill>
                  <a:prstClr val="black"/>
                </a:solidFill>
                <a:effectLst/>
                <a:uLnTx/>
                <a:uFillTx/>
                <a:latin typeface="Century Gothic" panose="020F0302020204030204"/>
                <a:ea typeface="+mn-ea"/>
                <a:cs typeface="+mn-cs"/>
              </a:rPr>
              <a:t>117 </a:t>
            </a:r>
            <a:r>
              <a:rPr kumimoji="0" lang="en-US" sz="997" b="0" i="0" u="none" strike="noStrike" kern="1200" cap="none" spc="0" normalizeH="0" baseline="0" noProof="0" dirty="0" err="1">
                <a:ln>
                  <a:noFill/>
                </a:ln>
                <a:solidFill>
                  <a:prstClr val="black"/>
                </a:solidFill>
                <a:effectLst/>
                <a:uLnTx/>
                <a:uFillTx/>
                <a:latin typeface="Century Gothic" panose="020F0302020204030204"/>
                <a:ea typeface="+mn-ea"/>
                <a:cs typeface="+mn-cs"/>
              </a:rPr>
              <a:t>Oph</a:t>
            </a:r>
            <a:endParaRPr kumimoji="0" lang="en-US" sz="997" b="0" i="0" u="none" strike="noStrike" kern="1200" cap="none" spc="0" normalizeH="0" baseline="0" noProof="0" dirty="0">
              <a:ln>
                <a:noFill/>
              </a:ln>
              <a:solidFill>
                <a:prstClr val="black"/>
              </a:solidFill>
              <a:effectLst/>
              <a:uLnTx/>
              <a:uFillTx/>
              <a:latin typeface="Century Gothic" panose="020F0302020204030204"/>
              <a:ea typeface="+mn-ea"/>
              <a:cs typeface="+mn-cs"/>
            </a:endParaRPr>
          </a:p>
        </p:txBody>
      </p:sp>
      <p:pic>
        <p:nvPicPr>
          <p:cNvPr id="16" name="Picture 15"/>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3770598" y="3171702"/>
            <a:ext cx="560354" cy="560354"/>
          </a:xfrm>
          <a:prstGeom prst="rect">
            <a:avLst/>
          </a:prstGeom>
        </p:spPr>
      </p:pic>
      <p:sp>
        <p:nvSpPr>
          <p:cNvPr id="35" name="TextBox 34"/>
          <p:cNvSpPr txBox="1"/>
          <p:nvPr/>
        </p:nvSpPr>
        <p:spPr>
          <a:xfrm>
            <a:off x="3692582" y="3888028"/>
            <a:ext cx="875081" cy="474655"/>
          </a:xfrm>
          <a:prstGeom prst="rect">
            <a:avLst/>
          </a:prstGeom>
          <a:noFill/>
        </p:spPr>
        <p:txBody>
          <a:bodyPr wrap="square" tIns="83077" bIns="83077"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97" b="0" i="0" u="none" strike="noStrike" kern="1200" cap="none" spc="0" normalizeH="0" baseline="0" noProof="0" dirty="0">
                <a:ln>
                  <a:noFill/>
                </a:ln>
                <a:solidFill>
                  <a:prstClr val="black"/>
                </a:solidFill>
                <a:effectLst/>
                <a:uLnTx/>
                <a:uFillTx/>
                <a:latin typeface="Century Gothic" panose="020F0302020204030204"/>
                <a:ea typeface="+mn-ea"/>
                <a:cs typeface="+mn-cs"/>
              </a:rPr>
              <a:t>200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a:ln>
                  <a:noFill/>
                </a:ln>
                <a:solidFill>
                  <a:prstClr val="black"/>
                </a:solidFill>
                <a:effectLst/>
                <a:uLnTx/>
                <a:uFillTx/>
                <a:latin typeface="Century Gothic" panose="020F0302020204030204"/>
                <a:ea typeface="+mn-ea"/>
                <a:cs typeface="+mn-cs"/>
              </a:rPr>
              <a:t>MacroView</a:t>
            </a:r>
            <a:endParaRPr kumimoji="0" lang="en-US" sz="997" b="0" i="0" u="none" strike="noStrike" kern="1200" cap="none" spc="0" normalizeH="0" baseline="0" noProof="0" dirty="0">
              <a:ln>
                <a:noFill/>
              </a:ln>
              <a:solidFill>
                <a:prstClr val="black"/>
              </a:solidFill>
              <a:effectLst/>
              <a:uLnTx/>
              <a:uFillTx/>
              <a:latin typeface="Century Gothic" panose="020F0302020204030204"/>
              <a:ea typeface="+mn-ea"/>
              <a:cs typeface="+mn-cs"/>
            </a:endParaRPr>
          </a:p>
        </p:txBody>
      </p:sp>
      <p:pic>
        <p:nvPicPr>
          <p:cNvPr id="36" name="Picture 35"/>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2939091" y="1899113"/>
            <a:ext cx="986636" cy="986636"/>
          </a:xfrm>
          <a:prstGeom prst="rect">
            <a:avLst/>
          </a:prstGeom>
        </p:spPr>
      </p:pic>
      <p:pic>
        <p:nvPicPr>
          <p:cNvPr id="4100" name="Picture 4" descr="97200-MS: Diagnostic Set with MacroView, Coaxial Ophth, Li-Ion Handle and Hard Case"/>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2691100" y="4440493"/>
            <a:ext cx="798354" cy="798354"/>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descr="Image result for pocket led welch allyn blueberry"/>
          <p:cNvPicPr>
            <a:picLocks noChangeAspect="1" noChangeArrowheads="1"/>
          </p:cNvPicPr>
          <p:nvPr/>
        </p:nvPicPr>
        <p:blipFill rotWithShape="1">
          <a:blip r:embed="rId16" cstate="email">
            <a:extLst>
              <a:ext uri="{BEBA8EAE-BF5A-486C-A8C5-ECC9F3942E4B}">
                <a14:imgProps xmlns:a14="http://schemas.microsoft.com/office/drawing/2010/main">
                  <a14:imgLayer r:embed="rId17">
                    <a14:imgEffect>
                      <a14:backgroundRemoval t="0" b="98943" l="0" r="100000"/>
                    </a14:imgEffect>
                  </a14:imgLayer>
                </a14:imgProps>
              </a:ext>
              <a:ext uri="{28A0092B-C50C-407E-A947-70E740481C1C}">
                <a14:useLocalDpi xmlns:a14="http://schemas.microsoft.com/office/drawing/2010/main"/>
              </a:ext>
            </a:extLst>
          </a:blip>
          <a:srcRect/>
          <a:stretch/>
        </p:blipFill>
        <p:spPr bwMode="auto">
          <a:xfrm>
            <a:off x="3727246" y="4255212"/>
            <a:ext cx="568817" cy="891253"/>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0"/>
          <p:cNvPicPr>
            <a:picLocks noChangeAspect="1"/>
          </p:cNvPicPr>
          <p:nvPr/>
        </p:nvPicPr>
        <p:blipFill>
          <a:blip r:embed="rId18" cstate="email">
            <a:extLst>
              <a:ext uri="{28A0092B-C50C-407E-A947-70E740481C1C}">
                <a14:useLocalDpi xmlns:a14="http://schemas.microsoft.com/office/drawing/2010/main"/>
              </a:ext>
            </a:extLst>
          </a:blip>
          <a:srcRect/>
          <a:stretch>
            <a:fillRect/>
          </a:stretch>
        </p:blipFill>
        <p:spPr>
          <a:xfrm>
            <a:off x="7697974" y="5375793"/>
            <a:ext cx="807555" cy="533113"/>
          </a:xfrm>
          <a:prstGeom prst="rect">
            <a:avLst/>
          </a:prstGeom>
        </p:spPr>
      </p:pic>
      <p:pic>
        <p:nvPicPr>
          <p:cNvPr id="38" name="Picture 37"/>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rot="19871680">
            <a:off x="2857230" y="5507845"/>
            <a:ext cx="927850" cy="927850"/>
          </a:xfrm>
          <a:prstGeom prst="rect">
            <a:avLst/>
          </a:prstGeom>
        </p:spPr>
      </p:pic>
      <p:pic>
        <p:nvPicPr>
          <p:cNvPr id="39" name="Picture 38"/>
          <p:cNvPicPr>
            <a:picLocks noChangeAspect="1"/>
          </p:cNvPicPr>
          <p:nvPr/>
        </p:nvPicPr>
        <p:blipFill>
          <a:blip r:embed="rId20">
            <a:extLst>
              <a:ext uri="{28A0092B-C50C-407E-A947-70E740481C1C}">
                <a14:useLocalDpi xmlns:a14="http://schemas.microsoft.com/office/drawing/2010/main"/>
              </a:ext>
            </a:extLst>
          </a:blip>
          <a:stretch>
            <a:fillRect/>
          </a:stretch>
        </p:blipFill>
        <p:spPr>
          <a:xfrm>
            <a:off x="4567663" y="5409124"/>
            <a:ext cx="1365840" cy="1092671"/>
          </a:xfrm>
          <a:prstGeom prst="rect">
            <a:avLst/>
          </a:prstGeom>
        </p:spPr>
      </p:pic>
      <p:pic>
        <p:nvPicPr>
          <p:cNvPr id="42" name="Picture 41"/>
          <p:cNvPicPr>
            <a:picLocks noChangeAspect="1"/>
          </p:cNvPicPr>
          <p:nvPr/>
        </p:nvPicPr>
        <p:blipFill rotWithShape="1">
          <a:blip r:embed="rId21" cstate="email">
            <a:extLst>
              <a:ext uri="{28A0092B-C50C-407E-A947-70E740481C1C}">
                <a14:useLocalDpi xmlns:a14="http://schemas.microsoft.com/office/drawing/2010/main"/>
              </a:ext>
            </a:extLst>
          </a:blip>
          <a:srcRect/>
          <a:stretch/>
        </p:blipFill>
        <p:spPr>
          <a:xfrm>
            <a:off x="6582675" y="5411928"/>
            <a:ext cx="744691" cy="427508"/>
          </a:xfrm>
          <a:prstGeom prst="rect">
            <a:avLst/>
          </a:prstGeom>
        </p:spPr>
      </p:pic>
      <p:sp>
        <p:nvSpPr>
          <p:cNvPr id="43" name="TextBox 42"/>
          <p:cNvSpPr txBox="1"/>
          <p:nvPr/>
        </p:nvSpPr>
        <p:spPr>
          <a:xfrm>
            <a:off x="6644023" y="5745414"/>
            <a:ext cx="1771397" cy="335646"/>
          </a:xfrm>
          <a:prstGeom prst="rect">
            <a:avLst/>
          </a:prstGeom>
          <a:noFill/>
        </p:spPr>
        <p:txBody>
          <a:bodyPr wrap="square" tIns="90000" bIns="90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0000"/>
                </a:solidFill>
                <a:effectLst/>
                <a:uLnTx/>
                <a:uFillTx/>
                <a:latin typeface="Century Gothic" panose="020F0302020204030204"/>
                <a:ea typeface="+mn-ea"/>
                <a:cs typeface="+mn-cs"/>
              </a:rPr>
              <a:t>4 hour USB charge</a:t>
            </a:r>
          </a:p>
        </p:txBody>
      </p:sp>
      <p:sp>
        <p:nvSpPr>
          <p:cNvPr id="31" name="Rectangle 30"/>
          <p:cNvSpPr/>
          <p:nvPr/>
        </p:nvSpPr>
        <p:spPr>
          <a:xfrm>
            <a:off x="3936241" y="3328021"/>
            <a:ext cx="4572000" cy="348109"/>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62" b="0" i="0" u="none" strike="noStrike" kern="1200" cap="none" spc="0" normalizeH="0" baseline="0" noProof="0" dirty="0">
              <a:ln>
                <a:noFill/>
              </a:ln>
              <a:solidFill>
                <a:prstClr val="black"/>
              </a:solidFill>
              <a:effectLst/>
              <a:uLnTx/>
              <a:uFillTx/>
              <a:latin typeface="Century Gothic" panose="020F0302020204030204"/>
              <a:ea typeface="+mn-ea"/>
              <a:cs typeface="+mn-cs"/>
            </a:endParaRPr>
          </a:p>
        </p:txBody>
      </p:sp>
      <p:sp>
        <p:nvSpPr>
          <p:cNvPr id="50" name="TextBox 49"/>
          <p:cNvSpPr txBox="1"/>
          <p:nvPr/>
        </p:nvSpPr>
        <p:spPr>
          <a:xfrm>
            <a:off x="2314424" y="1740946"/>
            <a:ext cx="2497233" cy="335646"/>
          </a:xfrm>
          <a:prstGeom prst="rect">
            <a:avLst/>
          </a:prstGeom>
          <a:noFill/>
        </p:spPr>
        <p:txBody>
          <a:bodyPr wrap="square" tIns="90000" bIns="90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entury Gothic" panose="020F0302020204030204"/>
                <a:ea typeface="+mn-ea"/>
                <a:cs typeface="+mn-cs"/>
              </a:rPr>
              <a:t>777 Integrated Wall System</a:t>
            </a:r>
          </a:p>
        </p:txBody>
      </p:sp>
      <p:grpSp>
        <p:nvGrpSpPr>
          <p:cNvPr id="20" name="Group 19">
            <a:extLst>
              <a:ext uri="{FF2B5EF4-FFF2-40B4-BE49-F238E27FC236}">
                <a16:creationId xmlns:a16="http://schemas.microsoft.com/office/drawing/2014/main" id="{C1E9C674-8844-44FA-BEE1-3019C2FBEB9E}"/>
              </a:ext>
            </a:extLst>
          </p:cNvPr>
          <p:cNvGrpSpPr/>
          <p:nvPr/>
        </p:nvGrpSpPr>
        <p:grpSpPr>
          <a:xfrm>
            <a:off x="6676920" y="6029638"/>
            <a:ext cx="1659007" cy="536608"/>
            <a:chOff x="5829922" y="3340234"/>
            <a:chExt cx="2222982" cy="780977"/>
          </a:xfrm>
        </p:grpSpPr>
        <p:pic>
          <p:nvPicPr>
            <p:cNvPr id="19" name="Picture 18">
              <a:extLst>
                <a:ext uri="{FF2B5EF4-FFF2-40B4-BE49-F238E27FC236}">
                  <a16:creationId xmlns:a16="http://schemas.microsoft.com/office/drawing/2014/main" id="{84055713-D3CB-410F-8B21-D6670753B4D9}"/>
                </a:ext>
              </a:extLst>
            </p:cNvPr>
            <p:cNvPicPr>
              <a:picLocks noChangeAspect="1"/>
            </p:cNvPicPr>
            <p:nvPr/>
          </p:nvPicPr>
          <p:blipFill>
            <a:blip r:embed="rId22" cstate="email">
              <a:extLst>
                <a:ext uri="{BEBA8EAE-BF5A-486C-A8C5-ECC9F3942E4B}">
                  <a14:imgProps xmlns:a14="http://schemas.microsoft.com/office/drawing/2010/main">
                    <a14:imgLayer r:embed="rId23">
                      <a14:imgEffect>
                        <a14:backgroundRemoval t="5495" b="93407" l="4319" r="95017">
                          <a14:foregroundMark x1="10299" y1="70879" x2="18272" y2="75824"/>
                          <a14:foregroundMark x1="5648" y1="72527" x2="10299" y2="90659"/>
                          <a14:foregroundMark x1="4983" y1="80220" x2="6645" y2="76923"/>
                          <a14:foregroundMark x1="4651" y1="80220" x2="11960" y2="93407"/>
                          <a14:foregroundMark x1="48837" y1="35714" x2="62126" y2="32418"/>
                          <a14:foregroundMark x1="42857" y1="7692" x2="61130" y2="17582"/>
                          <a14:foregroundMark x1="93688" y1="36264" x2="90365" y2="65385"/>
                          <a14:foregroundMark x1="90365" y1="65385" x2="75748" y2="82418"/>
                          <a14:foregroundMark x1="75748" y1="82418" x2="74751" y2="82967"/>
                          <a14:foregroundMark x1="76080" y1="82967" x2="76080" y2="82967"/>
                          <a14:foregroundMark x1="77076" y1="84066" x2="79402" y2="81319"/>
                          <a14:foregroundMark x1="80399" y1="85165" x2="83721" y2="73077"/>
                          <a14:foregroundMark x1="95017" y1="50000" x2="85050" y2="25824"/>
                          <a14:foregroundMark x1="85050" y1="25824" x2="77076" y2="24176"/>
                          <a14:foregroundMark x1="48173" y1="5495" x2="66445" y2="15385"/>
                          <a14:foregroundMark x1="4983" y1="75824" x2="10299" y2="91209"/>
                          <a14:foregroundMark x1="5648" y1="84066" x2="6977" y2="91209"/>
                          <a14:foregroundMark x1="4651" y1="78022" x2="6645" y2="93407"/>
                          <a14:foregroundMark x1="5980" y1="72527" x2="9967" y2="73626"/>
                        </a14:backgroundRemoval>
                      </a14:imgEffect>
                    </a14:imgLayer>
                  </a14:imgProps>
                </a:ext>
                <a:ext uri="{28A0092B-C50C-407E-A947-70E740481C1C}">
                  <a14:useLocalDpi xmlns:a14="http://schemas.microsoft.com/office/drawing/2010/main"/>
                </a:ext>
              </a:extLst>
            </a:blip>
            <a:stretch>
              <a:fillRect/>
            </a:stretch>
          </p:blipFill>
          <p:spPr>
            <a:xfrm>
              <a:off x="5829922" y="3340234"/>
              <a:ext cx="1291616" cy="780977"/>
            </a:xfrm>
            <a:prstGeom prst="rect">
              <a:avLst/>
            </a:prstGeom>
          </p:spPr>
        </p:pic>
        <p:sp>
          <p:nvSpPr>
            <p:cNvPr id="47" name="TextBox 46">
              <a:extLst>
                <a:ext uri="{FF2B5EF4-FFF2-40B4-BE49-F238E27FC236}">
                  <a16:creationId xmlns:a16="http://schemas.microsoft.com/office/drawing/2014/main" id="{9A09F6AC-9CF0-4BEC-8EC4-F21F8CA69DC6}"/>
                </a:ext>
              </a:extLst>
            </p:cNvPr>
            <p:cNvSpPr txBox="1"/>
            <p:nvPr/>
          </p:nvSpPr>
          <p:spPr>
            <a:xfrm>
              <a:off x="6959291" y="3502636"/>
              <a:ext cx="1093613" cy="421882"/>
            </a:xfrm>
            <a:prstGeom prst="rect">
              <a:avLst/>
            </a:prstGeom>
            <a:noFill/>
          </p:spPr>
          <p:txBody>
            <a:bodyPr wrap="square" tIns="90000" bIns="90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0000"/>
                  </a:solidFill>
                  <a:effectLst/>
                  <a:uLnTx/>
                  <a:uFillTx/>
                  <a:latin typeface="Century Gothic" panose="020F0302020204030204"/>
                  <a:ea typeface="+mn-ea"/>
                  <a:cs typeface="+mn-cs"/>
                </a:rPr>
                <a:t>NEW 2017</a:t>
              </a:r>
            </a:p>
          </p:txBody>
        </p:sp>
      </p:grpSp>
      <p:pic>
        <p:nvPicPr>
          <p:cNvPr id="15" name="Grafik 14">
            <a:extLst>
              <a:ext uri="{FF2B5EF4-FFF2-40B4-BE49-F238E27FC236}">
                <a16:creationId xmlns:a16="http://schemas.microsoft.com/office/drawing/2014/main" id="{D95D3A1E-1D0C-4750-9178-B581E0F2C1CC}"/>
              </a:ext>
            </a:extLst>
          </p:cNvPr>
          <p:cNvPicPr>
            <a:picLocks noChangeAspect="1"/>
          </p:cNvPicPr>
          <p:nvPr/>
        </p:nvPicPr>
        <p:blipFill>
          <a:blip r:embed="rId24"/>
          <a:stretch>
            <a:fillRect/>
          </a:stretch>
        </p:blipFill>
        <p:spPr>
          <a:xfrm>
            <a:off x="5000396" y="2123030"/>
            <a:ext cx="1020435" cy="548754"/>
          </a:xfrm>
          <a:prstGeom prst="rect">
            <a:avLst/>
          </a:prstGeom>
        </p:spPr>
      </p:pic>
      <p:sp>
        <p:nvSpPr>
          <p:cNvPr id="44" name="TextBox 10">
            <a:extLst>
              <a:ext uri="{FF2B5EF4-FFF2-40B4-BE49-F238E27FC236}">
                <a16:creationId xmlns:a16="http://schemas.microsoft.com/office/drawing/2014/main" id="{5DB480D2-32F5-404E-A8E3-93AAB1034887}"/>
              </a:ext>
            </a:extLst>
          </p:cNvPr>
          <p:cNvSpPr txBox="1"/>
          <p:nvPr/>
        </p:nvSpPr>
        <p:spPr>
          <a:xfrm>
            <a:off x="3432409" y="5029316"/>
            <a:ext cx="1096910" cy="335646"/>
          </a:xfrm>
          <a:prstGeom prst="rect">
            <a:avLst/>
          </a:prstGeom>
          <a:noFill/>
        </p:spPr>
        <p:txBody>
          <a:bodyPr wrap="square" tIns="90000" bIns="90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0000"/>
                </a:solidFill>
                <a:effectLst/>
                <a:uLnTx/>
                <a:uFillTx/>
                <a:latin typeface="Century Gothic" panose="020F0302020204030204"/>
                <a:ea typeface="+mn-ea"/>
                <a:cs typeface="+mn-cs"/>
              </a:rPr>
              <a:t>NEW 2014</a:t>
            </a:r>
          </a:p>
        </p:txBody>
      </p:sp>
    </p:spTree>
    <p:extLst>
      <p:ext uri="{BB962C8B-B14F-4D97-AF65-F5344CB8AC3E}">
        <p14:creationId xmlns:p14="http://schemas.microsoft.com/office/powerpoint/2010/main" val="415946292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20F54D6E-4C36-4CD5-9282-E47832D19B50}"/>
              </a:ext>
            </a:extLst>
          </p:cNvPr>
          <p:cNvSpPr>
            <a:spLocks noGrp="1"/>
          </p:cNvSpPr>
          <p:nvPr>
            <p:ph type="body" sz="quarter" idx="13"/>
          </p:nvPr>
        </p:nvSpPr>
        <p:spPr/>
        <p:txBody>
          <a:bodyPr/>
          <a:lstStyle/>
          <a:p>
            <a:endParaRPr lang="en-US"/>
          </a:p>
        </p:txBody>
      </p:sp>
      <p:sp>
        <p:nvSpPr>
          <p:cNvPr id="4" name="Titel 3">
            <a:extLst>
              <a:ext uri="{FF2B5EF4-FFF2-40B4-BE49-F238E27FC236}">
                <a16:creationId xmlns:a16="http://schemas.microsoft.com/office/drawing/2014/main" id="{EAE741AF-0D2E-4233-AFB1-F953B57259C2}"/>
              </a:ext>
            </a:extLst>
          </p:cNvPr>
          <p:cNvSpPr>
            <a:spLocks noGrp="1"/>
          </p:cNvSpPr>
          <p:nvPr>
            <p:ph type="title"/>
          </p:nvPr>
        </p:nvSpPr>
        <p:spPr/>
        <p:txBody>
          <a:bodyPr/>
          <a:lstStyle/>
          <a:p>
            <a:r>
              <a:rPr lang="en-US" dirty="0"/>
              <a:t>Countries in Scope</a:t>
            </a:r>
          </a:p>
        </p:txBody>
      </p:sp>
      <p:pic>
        <p:nvPicPr>
          <p:cNvPr id="9" name="Inhaltsplatzhalter 8">
            <a:extLst>
              <a:ext uri="{FF2B5EF4-FFF2-40B4-BE49-F238E27FC236}">
                <a16:creationId xmlns:a16="http://schemas.microsoft.com/office/drawing/2014/main" id="{365971A3-A4BB-4E69-8B1F-750656B0411F}"/>
              </a:ext>
            </a:extLst>
          </p:cNvPr>
          <p:cNvPicPr>
            <a:picLocks noGrp="1" noChangeAspect="1"/>
          </p:cNvPicPr>
          <p:nvPr>
            <p:ph sz="quarter" idx="16"/>
          </p:nvPr>
        </p:nvPicPr>
        <p:blipFill rotWithShape="1">
          <a:blip r:embed="rId2"/>
          <a:srcRect t="20805" r="33838" b="6043"/>
          <a:stretch/>
        </p:blipFill>
        <p:spPr>
          <a:xfrm>
            <a:off x="299516" y="2681620"/>
            <a:ext cx="5526462" cy="3335224"/>
          </a:xfrm>
          <a:prstGeom prst="rect">
            <a:avLst/>
          </a:prstGeom>
          <a:ln>
            <a:solidFill>
              <a:schemeClr val="accent1"/>
            </a:solidFill>
          </a:ln>
        </p:spPr>
      </p:pic>
      <p:pic>
        <p:nvPicPr>
          <p:cNvPr id="10" name="Grafik 9">
            <a:extLst>
              <a:ext uri="{FF2B5EF4-FFF2-40B4-BE49-F238E27FC236}">
                <a16:creationId xmlns:a16="http://schemas.microsoft.com/office/drawing/2014/main" id="{E38B0F7F-7567-4DE3-80A9-C65CFE859B22}"/>
              </a:ext>
            </a:extLst>
          </p:cNvPr>
          <p:cNvPicPr>
            <a:picLocks noChangeAspect="1"/>
          </p:cNvPicPr>
          <p:nvPr/>
        </p:nvPicPr>
        <p:blipFill rotWithShape="1">
          <a:blip r:embed="rId3"/>
          <a:srcRect l="1514" t="21330" r="32145" b="8382"/>
          <a:stretch/>
        </p:blipFill>
        <p:spPr>
          <a:xfrm>
            <a:off x="6366024" y="1393786"/>
            <a:ext cx="5472938" cy="3165072"/>
          </a:xfrm>
          <a:prstGeom prst="rect">
            <a:avLst/>
          </a:prstGeom>
          <a:ln>
            <a:solidFill>
              <a:schemeClr val="accent1"/>
            </a:solidFill>
          </a:ln>
        </p:spPr>
      </p:pic>
      <p:sp>
        <p:nvSpPr>
          <p:cNvPr id="11" name="Textfeld 10">
            <a:extLst>
              <a:ext uri="{FF2B5EF4-FFF2-40B4-BE49-F238E27FC236}">
                <a16:creationId xmlns:a16="http://schemas.microsoft.com/office/drawing/2014/main" id="{8C9FD45D-1CAF-4F9A-9989-67980FF630D0}"/>
              </a:ext>
            </a:extLst>
          </p:cNvPr>
          <p:cNvSpPr txBox="1"/>
          <p:nvPr/>
        </p:nvSpPr>
        <p:spPr>
          <a:xfrm>
            <a:off x="688350" y="2014402"/>
            <a:ext cx="1773496" cy="369332"/>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dirty="0"/>
              <a:t>Europe</a:t>
            </a:r>
          </a:p>
        </p:txBody>
      </p:sp>
      <p:sp>
        <p:nvSpPr>
          <p:cNvPr id="12" name="Textfeld 11">
            <a:extLst>
              <a:ext uri="{FF2B5EF4-FFF2-40B4-BE49-F238E27FC236}">
                <a16:creationId xmlns:a16="http://schemas.microsoft.com/office/drawing/2014/main" id="{695450D4-DC12-41B9-BD12-45291083BC9F}"/>
              </a:ext>
            </a:extLst>
          </p:cNvPr>
          <p:cNvSpPr txBox="1"/>
          <p:nvPr/>
        </p:nvSpPr>
        <p:spPr>
          <a:xfrm>
            <a:off x="6787662" y="852854"/>
            <a:ext cx="1705707" cy="369332"/>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dirty="0"/>
              <a:t>MEATI</a:t>
            </a:r>
          </a:p>
        </p:txBody>
      </p:sp>
    </p:spTree>
    <p:extLst>
      <p:ext uri="{BB962C8B-B14F-4D97-AF65-F5344CB8AC3E}">
        <p14:creationId xmlns:p14="http://schemas.microsoft.com/office/powerpoint/2010/main" val="3560786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23BB1B5-DF65-4B95-B8E1-70941A3CE06A}"/>
              </a:ext>
            </a:extLst>
          </p:cNvPr>
          <p:cNvSpPr>
            <a:spLocks noGrp="1"/>
          </p:cNvSpPr>
          <p:nvPr>
            <p:ph type="title"/>
          </p:nvPr>
        </p:nvSpPr>
        <p:spPr>
          <a:xfrm>
            <a:off x="594812" y="940881"/>
            <a:ext cx="11002376" cy="580004"/>
          </a:xfrm>
        </p:spPr>
        <p:txBody>
          <a:bodyPr/>
          <a:lstStyle/>
          <a:p>
            <a:r>
              <a:rPr lang="en-US" dirty="0"/>
              <a:t>ENHANCE Launch consists out of</a:t>
            </a:r>
          </a:p>
        </p:txBody>
      </p:sp>
      <p:sp>
        <p:nvSpPr>
          <p:cNvPr id="3" name="Inhaltsplatzhalter 2">
            <a:extLst>
              <a:ext uri="{FF2B5EF4-FFF2-40B4-BE49-F238E27FC236}">
                <a16:creationId xmlns:a16="http://schemas.microsoft.com/office/drawing/2014/main" id="{E44C893D-5A75-4B08-9260-F1D02841F89E}"/>
              </a:ext>
            </a:extLst>
          </p:cNvPr>
          <p:cNvSpPr>
            <a:spLocks noGrp="1"/>
          </p:cNvSpPr>
          <p:nvPr>
            <p:ph sz="quarter" idx="11"/>
          </p:nvPr>
        </p:nvSpPr>
        <p:spPr>
          <a:xfrm>
            <a:off x="594812" y="1666109"/>
            <a:ext cx="11002376" cy="4840199"/>
          </a:xfrm>
        </p:spPr>
        <p:txBody>
          <a:bodyPr/>
          <a:lstStyle/>
          <a:p>
            <a:r>
              <a:rPr lang="en-US" dirty="0"/>
              <a:t>New heads ( better, best)</a:t>
            </a:r>
          </a:p>
          <a:p>
            <a:endParaRPr lang="en-US" dirty="0"/>
          </a:p>
          <a:p>
            <a:r>
              <a:rPr lang="en-US" dirty="0"/>
              <a:t>New handles</a:t>
            </a:r>
          </a:p>
          <a:p>
            <a:endParaRPr lang="en-US" dirty="0"/>
          </a:p>
          <a:p>
            <a:r>
              <a:rPr lang="en-US" dirty="0" err="1"/>
              <a:t>LumiView</a:t>
            </a:r>
            <a:r>
              <a:rPr lang="en-US" dirty="0"/>
              <a:t> Clear Specula</a:t>
            </a:r>
          </a:p>
          <a:p>
            <a:endParaRPr lang="en-US" dirty="0"/>
          </a:p>
          <a:p>
            <a:r>
              <a:rPr lang="en-US" dirty="0"/>
              <a:t>New Charging (Table &amp; USB)</a:t>
            </a:r>
          </a:p>
          <a:p>
            <a:endParaRPr lang="en-US" dirty="0"/>
          </a:p>
          <a:p>
            <a:r>
              <a:rPr lang="en-US" dirty="0"/>
              <a:t>Mobile phone bracket</a:t>
            </a:r>
          </a:p>
          <a:p>
            <a:endParaRPr lang="en-US" dirty="0"/>
          </a:p>
          <a:p>
            <a:r>
              <a:rPr lang="en-US" dirty="0"/>
              <a:t>App</a:t>
            </a:r>
          </a:p>
          <a:p>
            <a:endParaRPr lang="en-US" dirty="0"/>
          </a:p>
        </p:txBody>
      </p:sp>
      <p:pic>
        <p:nvPicPr>
          <p:cNvPr id="4" name="Grafik 3">
            <a:extLst>
              <a:ext uri="{FF2B5EF4-FFF2-40B4-BE49-F238E27FC236}">
                <a16:creationId xmlns:a16="http://schemas.microsoft.com/office/drawing/2014/main" id="{0C8C5B3A-F4BA-4831-B88A-F884DF2F2E8D}"/>
              </a:ext>
            </a:extLst>
          </p:cNvPr>
          <p:cNvPicPr>
            <a:picLocks noChangeAspect="1"/>
          </p:cNvPicPr>
          <p:nvPr/>
        </p:nvPicPr>
        <p:blipFill>
          <a:blip r:embed="rId2"/>
          <a:stretch>
            <a:fillRect/>
          </a:stretch>
        </p:blipFill>
        <p:spPr>
          <a:xfrm>
            <a:off x="9595141" y="148359"/>
            <a:ext cx="1741546" cy="1306160"/>
          </a:xfrm>
          <a:prstGeom prst="rect">
            <a:avLst/>
          </a:prstGeom>
          <a:ln>
            <a:solidFill>
              <a:schemeClr val="accent1"/>
            </a:solidFill>
          </a:ln>
        </p:spPr>
      </p:pic>
      <p:pic>
        <p:nvPicPr>
          <p:cNvPr id="5" name="Grafik 4">
            <a:extLst>
              <a:ext uri="{FF2B5EF4-FFF2-40B4-BE49-F238E27FC236}">
                <a16:creationId xmlns:a16="http://schemas.microsoft.com/office/drawing/2014/main" id="{03588A1A-49DC-48E4-BD3C-93C5D277F5BD}"/>
              </a:ext>
            </a:extLst>
          </p:cNvPr>
          <p:cNvPicPr>
            <a:picLocks noChangeAspect="1"/>
          </p:cNvPicPr>
          <p:nvPr/>
        </p:nvPicPr>
        <p:blipFill>
          <a:blip r:embed="rId3"/>
          <a:stretch>
            <a:fillRect/>
          </a:stretch>
        </p:blipFill>
        <p:spPr>
          <a:xfrm>
            <a:off x="7825096" y="395140"/>
            <a:ext cx="1509544" cy="1132158"/>
          </a:xfrm>
          <a:prstGeom prst="rect">
            <a:avLst/>
          </a:prstGeom>
          <a:ln>
            <a:solidFill>
              <a:schemeClr val="accent1"/>
            </a:solidFill>
          </a:ln>
        </p:spPr>
      </p:pic>
      <p:pic>
        <p:nvPicPr>
          <p:cNvPr id="6" name="Grafik 5">
            <a:extLst>
              <a:ext uri="{FF2B5EF4-FFF2-40B4-BE49-F238E27FC236}">
                <a16:creationId xmlns:a16="http://schemas.microsoft.com/office/drawing/2014/main" id="{F321A91E-8D19-4CD4-A47F-CE7165EF9BE6}"/>
              </a:ext>
            </a:extLst>
          </p:cNvPr>
          <p:cNvPicPr>
            <a:picLocks noChangeAspect="1"/>
          </p:cNvPicPr>
          <p:nvPr/>
        </p:nvPicPr>
        <p:blipFill>
          <a:blip r:embed="rId4"/>
          <a:stretch>
            <a:fillRect/>
          </a:stretch>
        </p:blipFill>
        <p:spPr>
          <a:xfrm>
            <a:off x="4500057" y="1873086"/>
            <a:ext cx="2374790" cy="1206781"/>
          </a:xfrm>
          <a:prstGeom prst="rect">
            <a:avLst/>
          </a:prstGeom>
          <a:ln>
            <a:solidFill>
              <a:schemeClr val="accent1"/>
            </a:solidFill>
          </a:ln>
        </p:spPr>
      </p:pic>
      <p:pic>
        <p:nvPicPr>
          <p:cNvPr id="7" name="Grafik 6">
            <a:extLst>
              <a:ext uri="{FF2B5EF4-FFF2-40B4-BE49-F238E27FC236}">
                <a16:creationId xmlns:a16="http://schemas.microsoft.com/office/drawing/2014/main" id="{817D65DA-9552-48FC-BF6B-C14AD8600283}"/>
              </a:ext>
            </a:extLst>
          </p:cNvPr>
          <p:cNvPicPr>
            <a:picLocks noChangeAspect="1"/>
          </p:cNvPicPr>
          <p:nvPr/>
        </p:nvPicPr>
        <p:blipFill>
          <a:blip r:embed="rId5"/>
          <a:stretch>
            <a:fillRect/>
          </a:stretch>
        </p:blipFill>
        <p:spPr>
          <a:xfrm>
            <a:off x="9730305" y="3257496"/>
            <a:ext cx="1834759" cy="1376070"/>
          </a:xfrm>
          <a:prstGeom prst="rect">
            <a:avLst/>
          </a:prstGeom>
        </p:spPr>
      </p:pic>
      <p:pic>
        <p:nvPicPr>
          <p:cNvPr id="8" name="Grafik 7">
            <a:extLst>
              <a:ext uri="{FF2B5EF4-FFF2-40B4-BE49-F238E27FC236}">
                <a16:creationId xmlns:a16="http://schemas.microsoft.com/office/drawing/2014/main" id="{7F79E1C7-0F9A-4F32-8223-C9CF4B1C4F39}"/>
              </a:ext>
            </a:extLst>
          </p:cNvPr>
          <p:cNvPicPr>
            <a:picLocks noChangeAspect="1"/>
          </p:cNvPicPr>
          <p:nvPr/>
        </p:nvPicPr>
        <p:blipFill>
          <a:blip r:embed="rId6"/>
          <a:stretch>
            <a:fillRect/>
          </a:stretch>
        </p:blipFill>
        <p:spPr>
          <a:xfrm>
            <a:off x="9088232" y="1344319"/>
            <a:ext cx="1509544" cy="1132158"/>
          </a:xfrm>
          <a:prstGeom prst="rect">
            <a:avLst/>
          </a:prstGeom>
          <a:ln>
            <a:solidFill>
              <a:schemeClr val="accent1"/>
            </a:solidFill>
          </a:ln>
        </p:spPr>
      </p:pic>
      <p:pic>
        <p:nvPicPr>
          <p:cNvPr id="9" name="Grafik 8">
            <a:extLst>
              <a:ext uri="{FF2B5EF4-FFF2-40B4-BE49-F238E27FC236}">
                <a16:creationId xmlns:a16="http://schemas.microsoft.com/office/drawing/2014/main" id="{780DD2E4-877C-4BB1-A382-82AEB7EA07F2}"/>
              </a:ext>
            </a:extLst>
          </p:cNvPr>
          <p:cNvPicPr>
            <a:picLocks noChangeAspect="1"/>
          </p:cNvPicPr>
          <p:nvPr/>
        </p:nvPicPr>
        <p:blipFill>
          <a:blip r:embed="rId7"/>
          <a:stretch>
            <a:fillRect/>
          </a:stretch>
        </p:blipFill>
        <p:spPr>
          <a:xfrm>
            <a:off x="9730305" y="5236757"/>
            <a:ext cx="2165486" cy="1217727"/>
          </a:xfrm>
          <a:prstGeom prst="rect">
            <a:avLst/>
          </a:prstGeom>
          <a:ln>
            <a:solidFill>
              <a:schemeClr val="accent1"/>
            </a:solidFill>
          </a:ln>
        </p:spPr>
      </p:pic>
      <p:pic>
        <p:nvPicPr>
          <p:cNvPr id="10" name="Grafik 9">
            <a:extLst>
              <a:ext uri="{FF2B5EF4-FFF2-40B4-BE49-F238E27FC236}">
                <a16:creationId xmlns:a16="http://schemas.microsoft.com/office/drawing/2014/main" id="{8D8DDAEC-0259-40EB-B4A4-79AA172099AE}"/>
              </a:ext>
            </a:extLst>
          </p:cNvPr>
          <p:cNvPicPr>
            <a:picLocks noChangeAspect="1"/>
          </p:cNvPicPr>
          <p:nvPr/>
        </p:nvPicPr>
        <p:blipFill>
          <a:blip r:embed="rId8"/>
          <a:stretch>
            <a:fillRect/>
          </a:stretch>
        </p:blipFill>
        <p:spPr>
          <a:xfrm>
            <a:off x="7314426" y="2549089"/>
            <a:ext cx="1548219" cy="1912764"/>
          </a:xfrm>
          <a:prstGeom prst="rect">
            <a:avLst/>
          </a:prstGeom>
          <a:ln>
            <a:solidFill>
              <a:schemeClr val="accent1"/>
            </a:solidFill>
          </a:ln>
        </p:spPr>
      </p:pic>
      <p:pic>
        <p:nvPicPr>
          <p:cNvPr id="11" name="Grafik 10">
            <a:extLst>
              <a:ext uri="{FF2B5EF4-FFF2-40B4-BE49-F238E27FC236}">
                <a16:creationId xmlns:a16="http://schemas.microsoft.com/office/drawing/2014/main" id="{59867EB7-CD12-4E67-8338-6DDD3641C748}"/>
              </a:ext>
            </a:extLst>
          </p:cNvPr>
          <p:cNvPicPr>
            <a:picLocks noChangeAspect="1"/>
          </p:cNvPicPr>
          <p:nvPr/>
        </p:nvPicPr>
        <p:blipFill>
          <a:blip r:embed="rId9"/>
          <a:stretch>
            <a:fillRect/>
          </a:stretch>
        </p:blipFill>
        <p:spPr>
          <a:xfrm>
            <a:off x="4859473" y="4525463"/>
            <a:ext cx="1641429" cy="1231072"/>
          </a:xfrm>
          <a:prstGeom prst="rect">
            <a:avLst/>
          </a:prstGeom>
          <a:ln>
            <a:solidFill>
              <a:schemeClr val="accent1"/>
            </a:solidFill>
          </a:ln>
        </p:spPr>
      </p:pic>
      <p:pic>
        <p:nvPicPr>
          <p:cNvPr id="12" name="Grafik 11">
            <a:extLst>
              <a:ext uri="{FF2B5EF4-FFF2-40B4-BE49-F238E27FC236}">
                <a16:creationId xmlns:a16="http://schemas.microsoft.com/office/drawing/2014/main" id="{CB52E4A3-741F-4E2D-B2D3-FC3C7A9ED599}"/>
              </a:ext>
            </a:extLst>
          </p:cNvPr>
          <p:cNvPicPr>
            <a:picLocks noChangeAspect="1"/>
          </p:cNvPicPr>
          <p:nvPr/>
        </p:nvPicPr>
        <p:blipFill>
          <a:blip r:embed="rId10"/>
          <a:stretch>
            <a:fillRect/>
          </a:stretch>
        </p:blipFill>
        <p:spPr>
          <a:xfrm>
            <a:off x="7088837" y="5006762"/>
            <a:ext cx="1999395" cy="1499546"/>
          </a:xfrm>
          <a:prstGeom prst="rect">
            <a:avLst/>
          </a:prstGeom>
          <a:ln>
            <a:solidFill>
              <a:schemeClr val="accent1"/>
            </a:solidFill>
          </a:ln>
        </p:spPr>
      </p:pic>
    </p:spTree>
    <p:extLst>
      <p:ext uri="{BB962C8B-B14F-4D97-AF65-F5344CB8AC3E}">
        <p14:creationId xmlns:p14="http://schemas.microsoft.com/office/powerpoint/2010/main" val="16454723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el 14">
            <a:extLst>
              <a:ext uri="{FF2B5EF4-FFF2-40B4-BE49-F238E27FC236}">
                <a16:creationId xmlns:a16="http://schemas.microsoft.com/office/drawing/2014/main" id="{63E88C5F-4002-4F65-9460-8E72103AC349}"/>
              </a:ext>
            </a:extLst>
          </p:cNvPr>
          <p:cNvSpPr>
            <a:spLocks noGrp="1"/>
          </p:cNvSpPr>
          <p:nvPr>
            <p:ph type="title"/>
          </p:nvPr>
        </p:nvSpPr>
        <p:spPr>
          <a:xfrm>
            <a:off x="594812" y="914504"/>
            <a:ext cx="9375665" cy="637982"/>
          </a:xfrm>
        </p:spPr>
        <p:txBody>
          <a:bodyPr/>
          <a:lstStyle/>
          <a:p>
            <a:r>
              <a:rPr lang="en-US" dirty="0"/>
              <a:t>Product Offer Today versus Tomorrow </a:t>
            </a:r>
          </a:p>
        </p:txBody>
      </p:sp>
      <p:sp>
        <p:nvSpPr>
          <p:cNvPr id="16" name="Textplatzhalter 15">
            <a:extLst>
              <a:ext uri="{FF2B5EF4-FFF2-40B4-BE49-F238E27FC236}">
                <a16:creationId xmlns:a16="http://schemas.microsoft.com/office/drawing/2014/main" id="{D7FB268A-51BF-4300-8126-CED1FBDD5883}"/>
              </a:ext>
            </a:extLst>
          </p:cNvPr>
          <p:cNvSpPr>
            <a:spLocks noGrp="1"/>
          </p:cNvSpPr>
          <p:nvPr>
            <p:ph type="body" sz="quarter" idx="13"/>
          </p:nvPr>
        </p:nvSpPr>
        <p:spPr/>
        <p:txBody>
          <a:bodyPr/>
          <a:lstStyle/>
          <a:p>
            <a:endParaRPr lang="en-US"/>
          </a:p>
        </p:txBody>
      </p:sp>
      <p:graphicFrame>
        <p:nvGraphicFramePr>
          <p:cNvPr id="18" name="Tabelle 18">
            <a:extLst>
              <a:ext uri="{FF2B5EF4-FFF2-40B4-BE49-F238E27FC236}">
                <a16:creationId xmlns:a16="http://schemas.microsoft.com/office/drawing/2014/main" id="{36D21EDA-835C-44EA-B9E4-EAB0C73392FD}"/>
              </a:ext>
            </a:extLst>
          </p:cNvPr>
          <p:cNvGraphicFramePr>
            <a:graphicFrameLocks noGrp="1"/>
          </p:cNvGraphicFramePr>
          <p:nvPr>
            <p:ph sz="quarter" idx="16"/>
            <p:extLst>
              <p:ext uri="{D42A27DB-BD31-4B8C-83A1-F6EECF244321}">
                <p14:modId xmlns:p14="http://schemas.microsoft.com/office/powerpoint/2010/main" val="3458559171"/>
              </p:ext>
            </p:extLst>
          </p:nvPr>
        </p:nvGraphicFramePr>
        <p:xfrm>
          <a:off x="583465" y="1723292"/>
          <a:ext cx="11282361" cy="1910672"/>
        </p:xfrm>
        <a:graphic>
          <a:graphicData uri="http://schemas.openxmlformats.org/drawingml/2006/table">
            <a:tbl>
              <a:tblPr firstRow="1" bandRow="1">
                <a:tableStyleId>{5C22544A-7EE6-4342-B048-85BDC9FD1C3A}</a:tableStyleId>
              </a:tblPr>
              <a:tblGrid>
                <a:gridCol w="3760787">
                  <a:extLst>
                    <a:ext uri="{9D8B030D-6E8A-4147-A177-3AD203B41FA5}">
                      <a16:colId xmlns:a16="http://schemas.microsoft.com/office/drawing/2014/main" val="1606838464"/>
                    </a:ext>
                  </a:extLst>
                </a:gridCol>
                <a:gridCol w="3760787">
                  <a:extLst>
                    <a:ext uri="{9D8B030D-6E8A-4147-A177-3AD203B41FA5}">
                      <a16:colId xmlns:a16="http://schemas.microsoft.com/office/drawing/2014/main" val="1070316487"/>
                    </a:ext>
                  </a:extLst>
                </a:gridCol>
                <a:gridCol w="3760787">
                  <a:extLst>
                    <a:ext uri="{9D8B030D-6E8A-4147-A177-3AD203B41FA5}">
                      <a16:colId xmlns:a16="http://schemas.microsoft.com/office/drawing/2014/main" val="4210573521"/>
                    </a:ext>
                  </a:extLst>
                </a:gridCol>
              </a:tblGrid>
              <a:tr h="501162">
                <a:tc>
                  <a:txBody>
                    <a:bodyPr/>
                    <a:lstStyle/>
                    <a:p>
                      <a:r>
                        <a:rPr lang="en-US" dirty="0"/>
                        <a:t>Good</a:t>
                      </a:r>
                    </a:p>
                  </a:txBody>
                  <a:tcPr/>
                </a:tc>
                <a:tc>
                  <a:txBody>
                    <a:bodyPr/>
                    <a:lstStyle/>
                    <a:p>
                      <a:r>
                        <a:rPr lang="en-US" dirty="0"/>
                        <a:t>Better</a:t>
                      </a:r>
                    </a:p>
                  </a:txBody>
                  <a:tcPr/>
                </a:tc>
                <a:tc>
                  <a:txBody>
                    <a:bodyPr/>
                    <a:lstStyle/>
                    <a:p>
                      <a:r>
                        <a:rPr lang="en-US" dirty="0"/>
                        <a:t>Best</a:t>
                      </a:r>
                    </a:p>
                  </a:txBody>
                  <a:tcPr/>
                </a:tc>
                <a:extLst>
                  <a:ext uri="{0D108BD9-81ED-4DB2-BD59-A6C34878D82A}">
                    <a16:rowId xmlns:a16="http://schemas.microsoft.com/office/drawing/2014/main" val="79233624"/>
                  </a:ext>
                </a:extLst>
              </a:tr>
              <a:tr h="1409510">
                <a:tc>
                  <a:txBody>
                    <a:bodyPr/>
                    <a:lstStyle/>
                    <a:p>
                      <a:endParaRPr lang="en-US" dirty="0"/>
                    </a:p>
                  </a:txBody>
                  <a:tcPr>
                    <a:solidFill>
                      <a:schemeClr val="bg1"/>
                    </a:solidFill>
                  </a:tcPr>
                </a:tc>
                <a:tc>
                  <a:txBody>
                    <a:bodyPr/>
                    <a:lstStyle/>
                    <a:p>
                      <a:endParaRPr lang="en-US" dirty="0"/>
                    </a:p>
                  </a:txBody>
                  <a:tcPr>
                    <a:solidFill>
                      <a:schemeClr val="bg1"/>
                    </a:solidFill>
                  </a:tcPr>
                </a:tc>
                <a:tc>
                  <a:txBody>
                    <a:bodyPr/>
                    <a:lstStyle/>
                    <a:p>
                      <a:endParaRPr lang="en-US" dirty="0"/>
                    </a:p>
                  </a:txBody>
                  <a:tcPr>
                    <a:solidFill>
                      <a:schemeClr val="bg1"/>
                    </a:solidFill>
                  </a:tcPr>
                </a:tc>
                <a:extLst>
                  <a:ext uri="{0D108BD9-81ED-4DB2-BD59-A6C34878D82A}">
                    <a16:rowId xmlns:a16="http://schemas.microsoft.com/office/drawing/2014/main" val="1611484855"/>
                  </a:ext>
                </a:extLst>
              </a:tr>
            </a:tbl>
          </a:graphicData>
        </a:graphic>
      </p:graphicFrame>
      <p:sp>
        <p:nvSpPr>
          <p:cNvPr id="10" name="Inhaltsplatzhalter 6">
            <a:extLst>
              <a:ext uri="{FF2B5EF4-FFF2-40B4-BE49-F238E27FC236}">
                <a16:creationId xmlns:a16="http://schemas.microsoft.com/office/drawing/2014/main" id="{D0C5FBA6-BB55-4143-A0C6-83096D70CF3D}"/>
              </a:ext>
            </a:extLst>
          </p:cNvPr>
          <p:cNvSpPr txBox="1">
            <a:spLocks/>
          </p:cNvSpPr>
          <p:nvPr/>
        </p:nvSpPr>
        <p:spPr>
          <a:xfrm>
            <a:off x="647942" y="3050044"/>
            <a:ext cx="3320498" cy="2949672"/>
          </a:xfrm>
          <a:prstGeom prst="rect">
            <a:avLst/>
          </a:prstGeom>
        </p:spPr>
        <p:txBody>
          <a:bodyPr/>
          <a:lstStyle>
            <a:lvl1pPr marL="0" indent="0" algn="l" defTabSz="914400" rtl="0" eaLnBrk="1" latinLnBrk="0" hangingPunct="1">
              <a:lnSpc>
                <a:spcPct val="125000"/>
              </a:lnSpc>
              <a:spcBef>
                <a:spcPts val="0"/>
              </a:spcBef>
              <a:buFont typeface="Arial" panose="020B0604020202020204" pitchFamily="34" charset="0"/>
              <a:buNone/>
              <a:defRPr sz="1400" kern="1200">
                <a:solidFill>
                  <a:schemeClr val="tx1"/>
                </a:solidFill>
                <a:latin typeface="+mn-lt"/>
                <a:ea typeface="+mn-ea"/>
                <a:cs typeface="+mn-cs"/>
              </a:defRPr>
            </a:lvl1pPr>
            <a:lvl2pPr marL="11113" indent="0" algn="l" defTabSz="914400" rtl="0" eaLnBrk="1" latinLnBrk="0" hangingPunct="1">
              <a:lnSpc>
                <a:spcPct val="110000"/>
              </a:lnSpc>
              <a:spcBef>
                <a:spcPts val="0"/>
              </a:spcBef>
              <a:buFont typeface="Arial" panose="020B0604020202020204" pitchFamily="34" charset="0"/>
              <a:buNone/>
              <a:tabLst/>
              <a:defRPr sz="1400" kern="1200">
                <a:solidFill>
                  <a:schemeClr val="tx1"/>
                </a:solidFill>
                <a:latin typeface="+mn-lt"/>
                <a:ea typeface="+mn-ea"/>
                <a:cs typeface="+mn-cs"/>
              </a:defRPr>
            </a:lvl2pPr>
            <a:lvl3pPr marL="230188" indent="-219075" algn="l" defTabSz="914400" rtl="0" eaLnBrk="1" latinLnBrk="0" hangingPunct="1">
              <a:lnSpc>
                <a:spcPct val="110000"/>
              </a:lnSpc>
              <a:spcBef>
                <a:spcPts val="0"/>
              </a:spcBef>
              <a:spcAft>
                <a:spcPts val="0"/>
              </a:spcAft>
              <a:buFont typeface="System Font Regular"/>
              <a:buChar char="–"/>
              <a:tabLst/>
              <a:defRPr sz="1400" kern="1200">
                <a:solidFill>
                  <a:schemeClr val="tx1"/>
                </a:solidFill>
                <a:latin typeface="+mn-lt"/>
                <a:ea typeface="+mn-ea"/>
                <a:cs typeface="+mn-cs"/>
              </a:defRPr>
            </a:lvl3pPr>
            <a:lvl4pPr marL="342900" indent="-176213" algn="l" defTabSz="914400" rtl="0" eaLnBrk="1" latinLnBrk="0" hangingPunct="1">
              <a:lnSpc>
                <a:spcPct val="110000"/>
              </a:lnSpc>
              <a:spcBef>
                <a:spcPts val="0"/>
              </a:spcBef>
              <a:buFont typeface="System Font Regular"/>
              <a:buChar char="+"/>
              <a:tabLst/>
              <a:defRPr sz="1400" kern="1200">
                <a:solidFill>
                  <a:schemeClr val="tx1"/>
                </a:solidFill>
                <a:latin typeface="+mn-lt"/>
                <a:ea typeface="+mn-ea"/>
                <a:cs typeface="+mn-cs"/>
              </a:defRPr>
            </a:lvl4pPr>
            <a:lvl5pPr marL="574675" indent="-176213" algn="l" defTabSz="914400" rtl="0" eaLnBrk="1" latinLnBrk="0" hangingPunct="1">
              <a:lnSpc>
                <a:spcPct val="110000"/>
              </a:lnSpc>
              <a:spcBef>
                <a:spcPts val="0"/>
              </a:spcBef>
              <a:buFont typeface="System Font Regular"/>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11" name="Inhaltsplatzhalter 8">
            <a:extLst>
              <a:ext uri="{FF2B5EF4-FFF2-40B4-BE49-F238E27FC236}">
                <a16:creationId xmlns:a16="http://schemas.microsoft.com/office/drawing/2014/main" id="{907CF15C-79D4-4D60-9DDE-E4E8952F5196}"/>
              </a:ext>
            </a:extLst>
          </p:cNvPr>
          <p:cNvSpPr txBox="1">
            <a:spLocks/>
          </p:cNvSpPr>
          <p:nvPr/>
        </p:nvSpPr>
        <p:spPr>
          <a:xfrm>
            <a:off x="7889170" y="3018954"/>
            <a:ext cx="3320498" cy="2949672"/>
          </a:xfrm>
          <a:prstGeom prst="rect">
            <a:avLst/>
          </a:prstGeom>
        </p:spPr>
        <p:txBody>
          <a:bodyPr/>
          <a:lstStyle>
            <a:lvl1pPr marL="0" indent="0" algn="l" defTabSz="914400" rtl="0" eaLnBrk="1" latinLnBrk="0" hangingPunct="1">
              <a:lnSpc>
                <a:spcPct val="125000"/>
              </a:lnSpc>
              <a:spcBef>
                <a:spcPts val="0"/>
              </a:spcBef>
              <a:buFont typeface="Arial" panose="020B0604020202020204" pitchFamily="34" charset="0"/>
              <a:buNone/>
              <a:defRPr sz="1400" kern="1200">
                <a:solidFill>
                  <a:schemeClr val="tx1"/>
                </a:solidFill>
                <a:latin typeface="+mn-lt"/>
                <a:ea typeface="+mn-ea"/>
                <a:cs typeface="+mn-cs"/>
              </a:defRPr>
            </a:lvl1pPr>
            <a:lvl2pPr marL="11113" indent="0" algn="l" defTabSz="914400" rtl="0" eaLnBrk="1" latinLnBrk="0" hangingPunct="1">
              <a:lnSpc>
                <a:spcPct val="110000"/>
              </a:lnSpc>
              <a:spcBef>
                <a:spcPts val="0"/>
              </a:spcBef>
              <a:buFont typeface="Arial" panose="020B0604020202020204" pitchFamily="34" charset="0"/>
              <a:buNone/>
              <a:tabLst/>
              <a:defRPr sz="1400" kern="1200">
                <a:solidFill>
                  <a:schemeClr val="tx1"/>
                </a:solidFill>
                <a:latin typeface="+mn-lt"/>
                <a:ea typeface="+mn-ea"/>
                <a:cs typeface="+mn-cs"/>
              </a:defRPr>
            </a:lvl2pPr>
            <a:lvl3pPr marL="230188" indent="-219075" algn="l" defTabSz="914400" rtl="0" eaLnBrk="1" latinLnBrk="0" hangingPunct="1">
              <a:lnSpc>
                <a:spcPct val="110000"/>
              </a:lnSpc>
              <a:spcBef>
                <a:spcPts val="0"/>
              </a:spcBef>
              <a:spcAft>
                <a:spcPts val="0"/>
              </a:spcAft>
              <a:buFont typeface="System Font Regular"/>
              <a:buChar char="–"/>
              <a:tabLst/>
              <a:defRPr sz="1400" kern="1200">
                <a:solidFill>
                  <a:schemeClr val="tx1"/>
                </a:solidFill>
                <a:latin typeface="+mn-lt"/>
                <a:ea typeface="+mn-ea"/>
                <a:cs typeface="+mn-cs"/>
              </a:defRPr>
            </a:lvl3pPr>
            <a:lvl4pPr marL="342900" indent="-176213" algn="l" defTabSz="914400" rtl="0" eaLnBrk="1" latinLnBrk="0" hangingPunct="1">
              <a:lnSpc>
                <a:spcPct val="110000"/>
              </a:lnSpc>
              <a:spcBef>
                <a:spcPts val="0"/>
              </a:spcBef>
              <a:buFont typeface="System Font Regular"/>
              <a:buChar char="+"/>
              <a:tabLst/>
              <a:defRPr sz="1400" kern="1200">
                <a:solidFill>
                  <a:schemeClr val="tx1"/>
                </a:solidFill>
                <a:latin typeface="+mn-lt"/>
                <a:ea typeface="+mn-ea"/>
                <a:cs typeface="+mn-cs"/>
              </a:defRPr>
            </a:lvl4pPr>
            <a:lvl5pPr marL="574675" indent="-176213" algn="l" defTabSz="914400" rtl="0" eaLnBrk="1" latinLnBrk="0" hangingPunct="1">
              <a:lnSpc>
                <a:spcPct val="110000"/>
              </a:lnSpc>
              <a:spcBef>
                <a:spcPts val="0"/>
              </a:spcBef>
              <a:buFont typeface="System Font Regular"/>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p:txBody>
      </p:sp>
      <p:sp>
        <p:nvSpPr>
          <p:cNvPr id="12" name="Inhaltsplatzhalter 7">
            <a:extLst>
              <a:ext uri="{FF2B5EF4-FFF2-40B4-BE49-F238E27FC236}">
                <a16:creationId xmlns:a16="http://schemas.microsoft.com/office/drawing/2014/main" id="{80575472-0B1C-400B-A552-8CC0C5FF13AC}"/>
              </a:ext>
            </a:extLst>
          </p:cNvPr>
          <p:cNvSpPr txBox="1">
            <a:spLocks/>
          </p:cNvSpPr>
          <p:nvPr/>
        </p:nvSpPr>
        <p:spPr>
          <a:xfrm>
            <a:off x="4268866" y="3807069"/>
            <a:ext cx="3320498" cy="1319800"/>
          </a:xfrm>
          <a:prstGeom prst="rect">
            <a:avLst/>
          </a:prstGeom>
        </p:spPr>
        <p:txBody>
          <a:bodyPr/>
          <a:lstStyle>
            <a:lvl1pPr marL="0" indent="0" algn="l" defTabSz="914400" rtl="0" eaLnBrk="1" latinLnBrk="0" hangingPunct="1">
              <a:lnSpc>
                <a:spcPct val="125000"/>
              </a:lnSpc>
              <a:spcBef>
                <a:spcPts val="0"/>
              </a:spcBef>
              <a:buFont typeface="Arial" panose="020B0604020202020204" pitchFamily="34" charset="0"/>
              <a:buNone/>
              <a:defRPr sz="1400" kern="1200">
                <a:solidFill>
                  <a:schemeClr val="tx1"/>
                </a:solidFill>
                <a:latin typeface="+mn-lt"/>
                <a:ea typeface="+mn-ea"/>
                <a:cs typeface="+mn-cs"/>
              </a:defRPr>
            </a:lvl1pPr>
            <a:lvl2pPr marL="11113" indent="0" algn="l" defTabSz="914400" rtl="0" eaLnBrk="1" latinLnBrk="0" hangingPunct="1">
              <a:lnSpc>
                <a:spcPct val="110000"/>
              </a:lnSpc>
              <a:spcBef>
                <a:spcPts val="0"/>
              </a:spcBef>
              <a:buFont typeface="Arial" panose="020B0604020202020204" pitchFamily="34" charset="0"/>
              <a:buNone/>
              <a:tabLst/>
              <a:defRPr sz="1400" kern="1200">
                <a:solidFill>
                  <a:schemeClr val="tx1"/>
                </a:solidFill>
                <a:latin typeface="+mn-lt"/>
                <a:ea typeface="+mn-ea"/>
                <a:cs typeface="+mn-cs"/>
              </a:defRPr>
            </a:lvl2pPr>
            <a:lvl3pPr marL="230188" indent="-219075" algn="l" defTabSz="914400" rtl="0" eaLnBrk="1" latinLnBrk="0" hangingPunct="1">
              <a:lnSpc>
                <a:spcPct val="110000"/>
              </a:lnSpc>
              <a:spcBef>
                <a:spcPts val="0"/>
              </a:spcBef>
              <a:spcAft>
                <a:spcPts val="0"/>
              </a:spcAft>
              <a:buFont typeface="System Font Regular"/>
              <a:buChar char="–"/>
              <a:tabLst/>
              <a:defRPr sz="1400" kern="1200">
                <a:solidFill>
                  <a:schemeClr val="tx1"/>
                </a:solidFill>
                <a:latin typeface="+mn-lt"/>
                <a:ea typeface="+mn-ea"/>
                <a:cs typeface="+mn-cs"/>
              </a:defRPr>
            </a:lvl3pPr>
            <a:lvl4pPr marL="342900" indent="-176213" algn="l" defTabSz="914400" rtl="0" eaLnBrk="1" latinLnBrk="0" hangingPunct="1">
              <a:lnSpc>
                <a:spcPct val="110000"/>
              </a:lnSpc>
              <a:spcBef>
                <a:spcPts val="0"/>
              </a:spcBef>
              <a:buFont typeface="System Font Regular"/>
              <a:buChar char="+"/>
              <a:tabLst/>
              <a:defRPr sz="1400" kern="1200">
                <a:solidFill>
                  <a:schemeClr val="tx1"/>
                </a:solidFill>
                <a:latin typeface="+mn-lt"/>
                <a:ea typeface="+mn-ea"/>
                <a:cs typeface="+mn-cs"/>
              </a:defRPr>
            </a:lvl4pPr>
            <a:lvl5pPr marL="574675" indent="-176213" algn="l" defTabSz="914400" rtl="0" eaLnBrk="1" latinLnBrk="0" hangingPunct="1">
              <a:lnSpc>
                <a:spcPct val="110000"/>
              </a:lnSpc>
              <a:spcBef>
                <a:spcPts val="0"/>
              </a:spcBef>
              <a:buFont typeface="System Font Regular"/>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13" name="Inhaltsplatzhalter 6">
            <a:extLst>
              <a:ext uri="{FF2B5EF4-FFF2-40B4-BE49-F238E27FC236}">
                <a16:creationId xmlns:a16="http://schemas.microsoft.com/office/drawing/2014/main" id="{BA81BED5-B962-4025-B981-F73BEA6D479A}"/>
              </a:ext>
            </a:extLst>
          </p:cNvPr>
          <p:cNvSpPr txBox="1">
            <a:spLocks/>
          </p:cNvSpPr>
          <p:nvPr/>
        </p:nvSpPr>
        <p:spPr>
          <a:xfrm>
            <a:off x="583465" y="3816305"/>
            <a:ext cx="3320498" cy="1319800"/>
          </a:xfrm>
          <a:prstGeom prst="rect">
            <a:avLst/>
          </a:prstGeom>
        </p:spPr>
        <p:txBody>
          <a:bodyPr/>
          <a:lstStyle>
            <a:lvl1pPr marL="0" indent="0" algn="l" defTabSz="914400" rtl="0" eaLnBrk="1" latinLnBrk="0" hangingPunct="1">
              <a:lnSpc>
                <a:spcPct val="125000"/>
              </a:lnSpc>
              <a:spcBef>
                <a:spcPts val="0"/>
              </a:spcBef>
              <a:buFont typeface="Arial" panose="020B0604020202020204" pitchFamily="34" charset="0"/>
              <a:buNone/>
              <a:defRPr sz="1400" kern="1200">
                <a:solidFill>
                  <a:schemeClr val="tx1"/>
                </a:solidFill>
                <a:latin typeface="+mn-lt"/>
                <a:ea typeface="+mn-ea"/>
                <a:cs typeface="+mn-cs"/>
              </a:defRPr>
            </a:lvl1pPr>
            <a:lvl2pPr marL="11113" indent="0" algn="l" defTabSz="914400" rtl="0" eaLnBrk="1" latinLnBrk="0" hangingPunct="1">
              <a:lnSpc>
                <a:spcPct val="110000"/>
              </a:lnSpc>
              <a:spcBef>
                <a:spcPts val="0"/>
              </a:spcBef>
              <a:buFont typeface="Arial" panose="020B0604020202020204" pitchFamily="34" charset="0"/>
              <a:buNone/>
              <a:tabLst/>
              <a:defRPr sz="1400" kern="1200">
                <a:solidFill>
                  <a:schemeClr val="tx1"/>
                </a:solidFill>
                <a:latin typeface="+mn-lt"/>
                <a:ea typeface="+mn-ea"/>
                <a:cs typeface="+mn-cs"/>
              </a:defRPr>
            </a:lvl2pPr>
            <a:lvl3pPr marL="230188" indent="-219075" algn="l" defTabSz="914400" rtl="0" eaLnBrk="1" latinLnBrk="0" hangingPunct="1">
              <a:lnSpc>
                <a:spcPct val="110000"/>
              </a:lnSpc>
              <a:spcBef>
                <a:spcPts val="0"/>
              </a:spcBef>
              <a:spcAft>
                <a:spcPts val="0"/>
              </a:spcAft>
              <a:buFont typeface="System Font Regular"/>
              <a:buChar char="–"/>
              <a:tabLst/>
              <a:defRPr sz="1400" kern="1200">
                <a:solidFill>
                  <a:schemeClr val="tx1"/>
                </a:solidFill>
                <a:latin typeface="+mn-lt"/>
                <a:ea typeface="+mn-ea"/>
                <a:cs typeface="+mn-cs"/>
              </a:defRPr>
            </a:lvl3pPr>
            <a:lvl4pPr marL="342900" indent="-176213" algn="l" defTabSz="914400" rtl="0" eaLnBrk="1" latinLnBrk="0" hangingPunct="1">
              <a:lnSpc>
                <a:spcPct val="110000"/>
              </a:lnSpc>
              <a:spcBef>
                <a:spcPts val="0"/>
              </a:spcBef>
              <a:buFont typeface="System Font Regular"/>
              <a:buChar char="+"/>
              <a:tabLst/>
              <a:defRPr sz="1400" kern="1200">
                <a:solidFill>
                  <a:schemeClr val="tx1"/>
                </a:solidFill>
                <a:latin typeface="+mn-lt"/>
                <a:ea typeface="+mn-ea"/>
                <a:cs typeface="+mn-cs"/>
              </a:defRPr>
            </a:lvl4pPr>
            <a:lvl5pPr marL="574675" indent="-176213" algn="l" defTabSz="914400" rtl="0" eaLnBrk="1" latinLnBrk="0" hangingPunct="1">
              <a:lnSpc>
                <a:spcPct val="110000"/>
              </a:lnSpc>
              <a:spcBef>
                <a:spcPts val="0"/>
              </a:spcBef>
              <a:buFont typeface="System Font Regular"/>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14" name="Inhaltsplatzhalter 8">
            <a:extLst>
              <a:ext uri="{FF2B5EF4-FFF2-40B4-BE49-F238E27FC236}">
                <a16:creationId xmlns:a16="http://schemas.microsoft.com/office/drawing/2014/main" id="{535F34D6-AA93-413A-A906-E89ED9EE633E}"/>
              </a:ext>
            </a:extLst>
          </p:cNvPr>
          <p:cNvSpPr txBox="1">
            <a:spLocks/>
          </p:cNvSpPr>
          <p:nvPr/>
        </p:nvSpPr>
        <p:spPr>
          <a:xfrm>
            <a:off x="7880377" y="3816305"/>
            <a:ext cx="3320498" cy="1319800"/>
          </a:xfrm>
          <a:prstGeom prst="rect">
            <a:avLst/>
          </a:prstGeom>
        </p:spPr>
        <p:txBody>
          <a:bodyPr/>
          <a:lstStyle>
            <a:lvl1pPr marL="0" indent="0" algn="l" defTabSz="914400" rtl="0" eaLnBrk="1" latinLnBrk="0" hangingPunct="1">
              <a:lnSpc>
                <a:spcPct val="125000"/>
              </a:lnSpc>
              <a:spcBef>
                <a:spcPts val="0"/>
              </a:spcBef>
              <a:buFont typeface="Arial" panose="020B0604020202020204" pitchFamily="34" charset="0"/>
              <a:buNone/>
              <a:defRPr sz="1400" kern="1200">
                <a:solidFill>
                  <a:schemeClr val="tx1"/>
                </a:solidFill>
                <a:latin typeface="+mn-lt"/>
                <a:ea typeface="+mn-ea"/>
                <a:cs typeface="+mn-cs"/>
              </a:defRPr>
            </a:lvl1pPr>
            <a:lvl2pPr marL="11113" indent="0" algn="l" defTabSz="914400" rtl="0" eaLnBrk="1" latinLnBrk="0" hangingPunct="1">
              <a:lnSpc>
                <a:spcPct val="110000"/>
              </a:lnSpc>
              <a:spcBef>
                <a:spcPts val="0"/>
              </a:spcBef>
              <a:buFont typeface="Arial" panose="020B0604020202020204" pitchFamily="34" charset="0"/>
              <a:buNone/>
              <a:tabLst/>
              <a:defRPr sz="1400" kern="1200">
                <a:solidFill>
                  <a:schemeClr val="tx1"/>
                </a:solidFill>
                <a:latin typeface="+mn-lt"/>
                <a:ea typeface="+mn-ea"/>
                <a:cs typeface="+mn-cs"/>
              </a:defRPr>
            </a:lvl2pPr>
            <a:lvl3pPr marL="230188" indent="-219075" algn="l" defTabSz="914400" rtl="0" eaLnBrk="1" latinLnBrk="0" hangingPunct="1">
              <a:lnSpc>
                <a:spcPct val="110000"/>
              </a:lnSpc>
              <a:spcBef>
                <a:spcPts val="0"/>
              </a:spcBef>
              <a:spcAft>
                <a:spcPts val="0"/>
              </a:spcAft>
              <a:buFont typeface="System Font Regular"/>
              <a:buChar char="–"/>
              <a:tabLst/>
              <a:defRPr sz="1400" kern="1200">
                <a:solidFill>
                  <a:schemeClr val="tx1"/>
                </a:solidFill>
                <a:latin typeface="+mn-lt"/>
                <a:ea typeface="+mn-ea"/>
                <a:cs typeface="+mn-cs"/>
              </a:defRPr>
            </a:lvl3pPr>
            <a:lvl4pPr marL="342900" indent="-176213" algn="l" defTabSz="914400" rtl="0" eaLnBrk="1" latinLnBrk="0" hangingPunct="1">
              <a:lnSpc>
                <a:spcPct val="110000"/>
              </a:lnSpc>
              <a:spcBef>
                <a:spcPts val="0"/>
              </a:spcBef>
              <a:buFont typeface="System Font Regular"/>
              <a:buChar char="+"/>
              <a:tabLst/>
              <a:defRPr sz="1400" kern="1200">
                <a:solidFill>
                  <a:schemeClr val="tx1"/>
                </a:solidFill>
                <a:latin typeface="+mn-lt"/>
                <a:ea typeface="+mn-ea"/>
                <a:cs typeface="+mn-cs"/>
              </a:defRPr>
            </a:lvl4pPr>
            <a:lvl5pPr marL="574675" indent="-176213" algn="l" defTabSz="914400" rtl="0" eaLnBrk="1" latinLnBrk="0" hangingPunct="1">
              <a:lnSpc>
                <a:spcPct val="110000"/>
              </a:lnSpc>
              <a:spcBef>
                <a:spcPts val="0"/>
              </a:spcBef>
              <a:buFont typeface="System Font Regular"/>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p:txBody>
      </p:sp>
      <p:graphicFrame>
        <p:nvGraphicFramePr>
          <p:cNvPr id="20" name="Tabelle 20">
            <a:extLst>
              <a:ext uri="{FF2B5EF4-FFF2-40B4-BE49-F238E27FC236}">
                <a16:creationId xmlns:a16="http://schemas.microsoft.com/office/drawing/2014/main" id="{831A497A-61B4-46CC-93A1-E98E1549089D}"/>
              </a:ext>
            </a:extLst>
          </p:cNvPr>
          <p:cNvGraphicFramePr>
            <a:graphicFrameLocks noGrp="1"/>
          </p:cNvGraphicFramePr>
          <p:nvPr>
            <p:extLst>
              <p:ext uri="{D42A27DB-BD31-4B8C-83A1-F6EECF244321}">
                <p14:modId xmlns:p14="http://schemas.microsoft.com/office/powerpoint/2010/main" val="1477445432"/>
              </p:ext>
            </p:extLst>
          </p:nvPr>
        </p:nvGraphicFramePr>
        <p:xfrm>
          <a:off x="592258" y="3950370"/>
          <a:ext cx="11273568" cy="1910672"/>
        </p:xfrm>
        <a:graphic>
          <a:graphicData uri="http://schemas.openxmlformats.org/drawingml/2006/table">
            <a:tbl>
              <a:tblPr firstRow="1" bandRow="1">
                <a:tableStyleId>{5C22544A-7EE6-4342-B048-85BDC9FD1C3A}</a:tableStyleId>
              </a:tblPr>
              <a:tblGrid>
                <a:gridCol w="3757856">
                  <a:extLst>
                    <a:ext uri="{9D8B030D-6E8A-4147-A177-3AD203B41FA5}">
                      <a16:colId xmlns:a16="http://schemas.microsoft.com/office/drawing/2014/main" val="2137235031"/>
                    </a:ext>
                  </a:extLst>
                </a:gridCol>
                <a:gridCol w="3757856">
                  <a:extLst>
                    <a:ext uri="{9D8B030D-6E8A-4147-A177-3AD203B41FA5}">
                      <a16:colId xmlns:a16="http://schemas.microsoft.com/office/drawing/2014/main" val="3635833688"/>
                    </a:ext>
                  </a:extLst>
                </a:gridCol>
                <a:gridCol w="3757856">
                  <a:extLst>
                    <a:ext uri="{9D8B030D-6E8A-4147-A177-3AD203B41FA5}">
                      <a16:colId xmlns:a16="http://schemas.microsoft.com/office/drawing/2014/main" val="939742714"/>
                    </a:ext>
                  </a:extLst>
                </a:gridCol>
              </a:tblGrid>
              <a:tr h="551506">
                <a:tc>
                  <a:txBody>
                    <a:bodyPr/>
                    <a:lstStyle/>
                    <a:p>
                      <a:r>
                        <a:rPr lang="en-US" dirty="0"/>
                        <a:t>Good</a:t>
                      </a:r>
                    </a:p>
                  </a:txBody>
                  <a:tcPr/>
                </a:tc>
                <a:tc>
                  <a:txBody>
                    <a:bodyPr/>
                    <a:lstStyle/>
                    <a:p>
                      <a:r>
                        <a:rPr lang="en-US" dirty="0"/>
                        <a:t>Better</a:t>
                      </a:r>
                    </a:p>
                  </a:txBody>
                  <a:tcPr/>
                </a:tc>
                <a:tc>
                  <a:txBody>
                    <a:bodyPr/>
                    <a:lstStyle/>
                    <a:p>
                      <a:r>
                        <a:rPr lang="en-US" dirty="0"/>
                        <a:t>Best</a:t>
                      </a:r>
                    </a:p>
                  </a:txBody>
                  <a:tcPr/>
                </a:tc>
                <a:extLst>
                  <a:ext uri="{0D108BD9-81ED-4DB2-BD59-A6C34878D82A}">
                    <a16:rowId xmlns:a16="http://schemas.microsoft.com/office/drawing/2014/main" val="4005474814"/>
                  </a:ext>
                </a:extLst>
              </a:tr>
              <a:tr h="1359166">
                <a:tc>
                  <a:txBody>
                    <a:bodyPr/>
                    <a:lstStyle/>
                    <a:p>
                      <a:endParaRPr lang="en-US" dirty="0"/>
                    </a:p>
                  </a:txBody>
                  <a:tcPr>
                    <a:solidFill>
                      <a:schemeClr val="bg1"/>
                    </a:solidFill>
                  </a:tcPr>
                </a:tc>
                <a:tc>
                  <a:txBody>
                    <a:bodyPr/>
                    <a:lstStyle/>
                    <a:p>
                      <a:endParaRPr lang="en-US" dirty="0"/>
                    </a:p>
                  </a:txBody>
                  <a:tcPr>
                    <a:solidFill>
                      <a:schemeClr val="bg1"/>
                    </a:solidFill>
                  </a:tcPr>
                </a:tc>
                <a:tc>
                  <a:txBody>
                    <a:bodyPr/>
                    <a:lstStyle/>
                    <a:p>
                      <a:endParaRPr lang="en-US" dirty="0"/>
                    </a:p>
                  </a:txBody>
                  <a:tcPr>
                    <a:solidFill>
                      <a:schemeClr val="bg1"/>
                    </a:solidFill>
                  </a:tcPr>
                </a:tc>
                <a:extLst>
                  <a:ext uri="{0D108BD9-81ED-4DB2-BD59-A6C34878D82A}">
                    <a16:rowId xmlns:a16="http://schemas.microsoft.com/office/drawing/2014/main" val="488354467"/>
                  </a:ext>
                </a:extLst>
              </a:tr>
            </a:tbl>
          </a:graphicData>
        </a:graphic>
      </p:graphicFrame>
      <p:pic>
        <p:nvPicPr>
          <p:cNvPr id="22" name="Grafik 21">
            <a:extLst>
              <a:ext uri="{FF2B5EF4-FFF2-40B4-BE49-F238E27FC236}">
                <a16:creationId xmlns:a16="http://schemas.microsoft.com/office/drawing/2014/main" id="{881BD00B-CB9D-4369-95EB-230117725B94}"/>
              </a:ext>
            </a:extLst>
          </p:cNvPr>
          <p:cNvPicPr>
            <a:picLocks noChangeAspect="1"/>
          </p:cNvPicPr>
          <p:nvPr/>
        </p:nvPicPr>
        <p:blipFill rotWithShape="1">
          <a:blip r:embed="rId2"/>
          <a:srcRect t="54557"/>
          <a:stretch/>
        </p:blipFill>
        <p:spPr>
          <a:xfrm>
            <a:off x="750381" y="2658703"/>
            <a:ext cx="469755" cy="1086090"/>
          </a:xfrm>
          <a:prstGeom prst="rect">
            <a:avLst/>
          </a:prstGeom>
        </p:spPr>
      </p:pic>
      <p:pic>
        <p:nvPicPr>
          <p:cNvPr id="23" name="Grafik 22">
            <a:extLst>
              <a:ext uri="{FF2B5EF4-FFF2-40B4-BE49-F238E27FC236}">
                <a16:creationId xmlns:a16="http://schemas.microsoft.com/office/drawing/2014/main" id="{C96F571B-D034-485E-ACD7-1311B70A2048}"/>
              </a:ext>
            </a:extLst>
          </p:cNvPr>
          <p:cNvPicPr>
            <a:picLocks noChangeAspect="1"/>
          </p:cNvPicPr>
          <p:nvPr/>
        </p:nvPicPr>
        <p:blipFill rotWithShape="1">
          <a:blip r:embed="rId2"/>
          <a:srcRect l="1752" t="4354" r="27924" b="43945"/>
          <a:stretch/>
        </p:blipFill>
        <p:spPr>
          <a:xfrm>
            <a:off x="3307624" y="4542980"/>
            <a:ext cx="497994" cy="1893102"/>
          </a:xfrm>
          <a:prstGeom prst="rect">
            <a:avLst/>
          </a:prstGeom>
        </p:spPr>
      </p:pic>
      <p:pic>
        <p:nvPicPr>
          <p:cNvPr id="24" name="Grafik 23">
            <a:extLst>
              <a:ext uri="{FF2B5EF4-FFF2-40B4-BE49-F238E27FC236}">
                <a16:creationId xmlns:a16="http://schemas.microsoft.com/office/drawing/2014/main" id="{9BFFD16D-7B15-40C7-917D-1F7635B4098D}"/>
              </a:ext>
            </a:extLst>
          </p:cNvPr>
          <p:cNvPicPr>
            <a:picLocks noChangeAspect="1"/>
          </p:cNvPicPr>
          <p:nvPr/>
        </p:nvPicPr>
        <p:blipFill>
          <a:blip r:embed="rId3"/>
          <a:stretch>
            <a:fillRect/>
          </a:stretch>
        </p:blipFill>
        <p:spPr>
          <a:xfrm>
            <a:off x="4263471" y="2296254"/>
            <a:ext cx="1220665" cy="1220665"/>
          </a:xfrm>
          <a:prstGeom prst="rect">
            <a:avLst/>
          </a:prstGeom>
        </p:spPr>
      </p:pic>
      <p:pic>
        <p:nvPicPr>
          <p:cNvPr id="25" name="Grafik 24">
            <a:extLst>
              <a:ext uri="{FF2B5EF4-FFF2-40B4-BE49-F238E27FC236}">
                <a16:creationId xmlns:a16="http://schemas.microsoft.com/office/drawing/2014/main" id="{AF9B5658-A403-4873-B04B-A435C76B12A1}"/>
              </a:ext>
            </a:extLst>
          </p:cNvPr>
          <p:cNvPicPr>
            <a:picLocks noChangeAspect="1"/>
          </p:cNvPicPr>
          <p:nvPr/>
        </p:nvPicPr>
        <p:blipFill rotWithShape="1">
          <a:blip r:embed="rId4"/>
          <a:srcRect l="21739" t="5572" r="21250" b="5317"/>
          <a:stretch/>
        </p:blipFill>
        <p:spPr>
          <a:xfrm>
            <a:off x="7880377" y="2198907"/>
            <a:ext cx="1047444" cy="1629327"/>
          </a:xfrm>
          <a:prstGeom prst="rect">
            <a:avLst/>
          </a:prstGeom>
        </p:spPr>
      </p:pic>
      <p:pic>
        <p:nvPicPr>
          <p:cNvPr id="26" name="Grafik 25">
            <a:extLst>
              <a:ext uri="{FF2B5EF4-FFF2-40B4-BE49-F238E27FC236}">
                <a16:creationId xmlns:a16="http://schemas.microsoft.com/office/drawing/2014/main" id="{51D8E63C-63C8-4903-A42D-8CC881D6D36B}"/>
              </a:ext>
            </a:extLst>
          </p:cNvPr>
          <p:cNvPicPr>
            <a:picLocks noChangeAspect="1"/>
          </p:cNvPicPr>
          <p:nvPr/>
        </p:nvPicPr>
        <p:blipFill rotWithShape="1">
          <a:blip r:embed="rId5"/>
          <a:srcRect l="8093" t="8407" r="7845" b="3370"/>
          <a:stretch/>
        </p:blipFill>
        <p:spPr>
          <a:xfrm>
            <a:off x="10058400" y="4622365"/>
            <a:ext cx="1160061" cy="916789"/>
          </a:xfrm>
          <a:prstGeom prst="rect">
            <a:avLst/>
          </a:prstGeom>
          <a:ln>
            <a:solidFill>
              <a:schemeClr val="bg1"/>
            </a:solidFill>
          </a:ln>
        </p:spPr>
      </p:pic>
      <p:pic>
        <p:nvPicPr>
          <p:cNvPr id="27" name="Grafik 26">
            <a:extLst>
              <a:ext uri="{FF2B5EF4-FFF2-40B4-BE49-F238E27FC236}">
                <a16:creationId xmlns:a16="http://schemas.microsoft.com/office/drawing/2014/main" id="{6B4E3737-957F-48CF-B4B5-FF092BF7A014}"/>
              </a:ext>
            </a:extLst>
          </p:cNvPr>
          <p:cNvPicPr>
            <a:picLocks noChangeAspect="1"/>
          </p:cNvPicPr>
          <p:nvPr/>
        </p:nvPicPr>
        <p:blipFill>
          <a:blip r:embed="rId6"/>
          <a:stretch>
            <a:fillRect/>
          </a:stretch>
        </p:blipFill>
        <p:spPr>
          <a:xfrm>
            <a:off x="1036038" y="2252908"/>
            <a:ext cx="573074" cy="566977"/>
          </a:xfrm>
          <a:prstGeom prst="rect">
            <a:avLst/>
          </a:prstGeom>
        </p:spPr>
      </p:pic>
      <p:pic>
        <p:nvPicPr>
          <p:cNvPr id="28" name="Grafik 27">
            <a:extLst>
              <a:ext uri="{FF2B5EF4-FFF2-40B4-BE49-F238E27FC236}">
                <a16:creationId xmlns:a16="http://schemas.microsoft.com/office/drawing/2014/main" id="{B6947CC4-6332-4FBC-84E7-004A3112FF5C}"/>
              </a:ext>
            </a:extLst>
          </p:cNvPr>
          <p:cNvPicPr>
            <a:picLocks noChangeAspect="1"/>
          </p:cNvPicPr>
          <p:nvPr/>
        </p:nvPicPr>
        <p:blipFill>
          <a:blip r:embed="rId7"/>
          <a:stretch>
            <a:fillRect/>
          </a:stretch>
        </p:blipFill>
        <p:spPr>
          <a:xfrm>
            <a:off x="7090594" y="2263585"/>
            <a:ext cx="826110" cy="826110"/>
          </a:xfrm>
          <a:prstGeom prst="rect">
            <a:avLst/>
          </a:prstGeom>
        </p:spPr>
      </p:pic>
      <p:pic>
        <p:nvPicPr>
          <p:cNvPr id="29" name="Picture 4">
            <a:extLst>
              <a:ext uri="{FF2B5EF4-FFF2-40B4-BE49-F238E27FC236}">
                <a16:creationId xmlns:a16="http://schemas.microsoft.com/office/drawing/2014/main" id="{E2B41163-B98D-4A81-8A18-6AB08F92C16C}"/>
              </a:ext>
            </a:extLst>
          </p:cNvPr>
          <p:cNvPicPr>
            <a:picLocks noChangeAspect="1"/>
          </p:cNvPicPr>
          <p:nvPr/>
        </p:nvPicPr>
        <p:blipFill rotWithShape="1">
          <a:blip r:embed="rId8">
            <a:extLst>
              <a:ext uri="{28A0092B-C50C-407E-A947-70E740481C1C}">
                <a14:useLocalDpi xmlns:a14="http://schemas.microsoft.com/office/drawing/2010/main" val="0"/>
              </a:ext>
            </a:extLst>
          </a:blip>
          <a:srcRect l="10830" t="7265" r="62246"/>
          <a:stretch/>
        </p:blipFill>
        <p:spPr>
          <a:xfrm flipH="1">
            <a:off x="4536304" y="4560981"/>
            <a:ext cx="591405" cy="1319800"/>
          </a:xfrm>
          <a:prstGeom prst="rect">
            <a:avLst/>
          </a:prstGeom>
        </p:spPr>
      </p:pic>
      <p:pic>
        <p:nvPicPr>
          <p:cNvPr id="30" name="Grafik 29">
            <a:extLst>
              <a:ext uri="{FF2B5EF4-FFF2-40B4-BE49-F238E27FC236}">
                <a16:creationId xmlns:a16="http://schemas.microsoft.com/office/drawing/2014/main" id="{6A702A19-D381-4806-8BB7-E7F30411EF8A}"/>
              </a:ext>
            </a:extLst>
          </p:cNvPr>
          <p:cNvPicPr>
            <a:picLocks noChangeAspect="1"/>
          </p:cNvPicPr>
          <p:nvPr/>
        </p:nvPicPr>
        <p:blipFill rotWithShape="1">
          <a:blip r:embed="rId9"/>
          <a:srcRect l="10109" t="8314" r="63162" b="4635"/>
          <a:stretch/>
        </p:blipFill>
        <p:spPr>
          <a:xfrm>
            <a:off x="5510744" y="4970722"/>
            <a:ext cx="669591" cy="1413223"/>
          </a:xfrm>
          <a:prstGeom prst="rect">
            <a:avLst/>
          </a:prstGeom>
        </p:spPr>
      </p:pic>
      <p:pic>
        <p:nvPicPr>
          <p:cNvPr id="31" name="Grafik 30">
            <a:extLst>
              <a:ext uri="{FF2B5EF4-FFF2-40B4-BE49-F238E27FC236}">
                <a16:creationId xmlns:a16="http://schemas.microsoft.com/office/drawing/2014/main" id="{E7B08A11-DDBD-4AC0-A4EA-974166BDCC54}"/>
              </a:ext>
            </a:extLst>
          </p:cNvPr>
          <p:cNvPicPr>
            <a:picLocks noChangeAspect="1"/>
          </p:cNvPicPr>
          <p:nvPr/>
        </p:nvPicPr>
        <p:blipFill rotWithShape="1">
          <a:blip r:embed="rId10"/>
          <a:srcRect l="11300" t="385" r="68473" b="2948"/>
          <a:stretch/>
        </p:blipFill>
        <p:spPr>
          <a:xfrm>
            <a:off x="6536725" y="4502461"/>
            <a:ext cx="517791" cy="1674987"/>
          </a:xfrm>
          <a:prstGeom prst="rect">
            <a:avLst/>
          </a:prstGeom>
        </p:spPr>
      </p:pic>
      <p:pic>
        <p:nvPicPr>
          <p:cNvPr id="32" name="Grafik 31">
            <a:extLst>
              <a:ext uri="{FF2B5EF4-FFF2-40B4-BE49-F238E27FC236}">
                <a16:creationId xmlns:a16="http://schemas.microsoft.com/office/drawing/2014/main" id="{8318927E-B36D-4127-912F-5336F8729CAA}"/>
              </a:ext>
            </a:extLst>
          </p:cNvPr>
          <p:cNvPicPr>
            <a:picLocks noChangeAspect="1"/>
          </p:cNvPicPr>
          <p:nvPr/>
        </p:nvPicPr>
        <p:blipFill rotWithShape="1">
          <a:blip r:embed="rId11"/>
          <a:srcRect l="13971" t="10615" r="39213" b="16718"/>
          <a:stretch/>
        </p:blipFill>
        <p:spPr>
          <a:xfrm>
            <a:off x="9191227" y="4495904"/>
            <a:ext cx="716383" cy="841725"/>
          </a:xfrm>
          <a:prstGeom prst="rect">
            <a:avLst/>
          </a:prstGeom>
          <a:ln>
            <a:solidFill>
              <a:schemeClr val="bg1"/>
            </a:solidFill>
          </a:ln>
        </p:spPr>
      </p:pic>
      <p:pic>
        <p:nvPicPr>
          <p:cNvPr id="33" name="Grafik 32">
            <a:extLst>
              <a:ext uri="{FF2B5EF4-FFF2-40B4-BE49-F238E27FC236}">
                <a16:creationId xmlns:a16="http://schemas.microsoft.com/office/drawing/2014/main" id="{029A3A33-531E-4101-9D82-C1C253177C7C}"/>
              </a:ext>
            </a:extLst>
          </p:cNvPr>
          <p:cNvPicPr>
            <a:picLocks noChangeAspect="1"/>
          </p:cNvPicPr>
          <p:nvPr/>
        </p:nvPicPr>
        <p:blipFill>
          <a:blip r:embed="rId12"/>
          <a:stretch>
            <a:fillRect/>
          </a:stretch>
        </p:blipFill>
        <p:spPr>
          <a:xfrm>
            <a:off x="8729208" y="5396078"/>
            <a:ext cx="1403182" cy="1413223"/>
          </a:xfrm>
          <a:prstGeom prst="rect">
            <a:avLst/>
          </a:prstGeom>
        </p:spPr>
      </p:pic>
      <p:pic>
        <p:nvPicPr>
          <p:cNvPr id="34" name="Grafik 33">
            <a:extLst>
              <a:ext uri="{FF2B5EF4-FFF2-40B4-BE49-F238E27FC236}">
                <a16:creationId xmlns:a16="http://schemas.microsoft.com/office/drawing/2014/main" id="{652D4A3C-2BE3-4AFD-931B-857FBB15A798}"/>
              </a:ext>
            </a:extLst>
          </p:cNvPr>
          <p:cNvPicPr>
            <a:picLocks noChangeAspect="1"/>
          </p:cNvPicPr>
          <p:nvPr/>
        </p:nvPicPr>
        <p:blipFill>
          <a:blip r:embed="rId13"/>
          <a:stretch>
            <a:fillRect/>
          </a:stretch>
        </p:blipFill>
        <p:spPr>
          <a:xfrm>
            <a:off x="10401929" y="5726745"/>
            <a:ext cx="743559" cy="558287"/>
          </a:xfrm>
          <a:prstGeom prst="rect">
            <a:avLst/>
          </a:prstGeom>
        </p:spPr>
      </p:pic>
      <p:pic>
        <p:nvPicPr>
          <p:cNvPr id="35" name="Grafik 34">
            <a:extLst>
              <a:ext uri="{FF2B5EF4-FFF2-40B4-BE49-F238E27FC236}">
                <a16:creationId xmlns:a16="http://schemas.microsoft.com/office/drawing/2014/main" id="{A53C816E-B302-464E-9D02-ECD100B94ECC}"/>
              </a:ext>
            </a:extLst>
          </p:cNvPr>
          <p:cNvPicPr>
            <a:picLocks noChangeAspect="1"/>
          </p:cNvPicPr>
          <p:nvPr/>
        </p:nvPicPr>
        <p:blipFill>
          <a:blip r:embed="rId14"/>
          <a:stretch>
            <a:fillRect/>
          </a:stretch>
        </p:blipFill>
        <p:spPr>
          <a:xfrm>
            <a:off x="5382328" y="2238805"/>
            <a:ext cx="1619184" cy="1619184"/>
          </a:xfrm>
          <a:prstGeom prst="rect">
            <a:avLst/>
          </a:prstGeom>
        </p:spPr>
      </p:pic>
      <p:pic>
        <p:nvPicPr>
          <p:cNvPr id="36" name="Grafik 35">
            <a:extLst>
              <a:ext uri="{FF2B5EF4-FFF2-40B4-BE49-F238E27FC236}">
                <a16:creationId xmlns:a16="http://schemas.microsoft.com/office/drawing/2014/main" id="{8D142411-21FF-4A16-9DED-6F87DD47E1BD}"/>
              </a:ext>
            </a:extLst>
          </p:cNvPr>
          <p:cNvPicPr>
            <a:picLocks noChangeAspect="1"/>
          </p:cNvPicPr>
          <p:nvPr/>
        </p:nvPicPr>
        <p:blipFill>
          <a:blip r:embed="rId15"/>
          <a:stretch>
            <a:fillRect/>
          </a:stretch>
        </p:blipFill>
        <p:spPr>
          <a:xfrm>
            <a:off x="3069499" y="2282029"/>
            <a:ext cx="1097910" cy="1097910"/>
          </a:xfrm>
          <a:prstGeom prst="rect">
            <a:avLst/>
          </a:prstGeom>
        </p:spPr>
      </p:pic>
      <p:pic>
        <p:nvPicPr>
          <p:cNvPr id="37" name="Grafik 36">
            <a:extLst>
              <a:ext uri="{FF2B5EF4-FFF2-40B4-BE49-F238E27FC236}">
                <a16:creationId xmlns:a16="http://schemas.microsoft.com/office/drawing/2014/main" id="{04E715DB-B572-4041-AE04-5708B64AE170}"/>
              </a:ext>
            </a:extLst>
          </p:cNvPr>
          <p:cNvPicPr>
            <a:picLocks noChangeAspect="1"/>
          </p:cNvPicPr>
          <p:nvPr/>
        </p:nvPicPr>
        <p:blipFill rotWithShape="1">
          <a:blip r:embed="rId15"/>
          <a:srcRect l="12830" r="17660"/>
          <a:stretch/>
        </p:blipFill>
        <p:spPr>
          <a:xfrm>
            <a:off x="688350" y="4590961"/>
            <a:ext cx="1253462" cy="1803288"/>
          </a:xfrm>
          <a:prstGeom prst="rect">
            <a:avLst/>
          </a:prstGeom>
        </p:spPr>
      </p:pic>
      <p:pic>
        <p:nvPicPr>
          <p:cNvPr id="38" name="Grafik 37">
            <a:extLst>
              <a:ext uri="{FF2B5EF4-FFF2-40B4-BE49-F238E27FC236}">
                <a16:creationId xmlns:a16="http://schemas.microsoft.com/office/drawing/2014/main" id="{263F3D58-5892-458A-90BD-3E97A746DAE3}"/>
              </a:ext>
            </a:extLst>
          </p:cNvPr>
          <p:cNvPicPr>
            <a:picLocks noChangeAspect="1"/>
          </p:cNvPicPr>
          <p:nvPr/>
        </p:nvPicPr>
        <p:blipFill>
          <a:blip r:embed="rId16"/>
          <a:stretch>
            <a:fillRect/>
          </a:stretch>
        </p:blipFill>
        <p:spPr>
          <a:xfrm>
            <a:off x="1655762" y="2387223"/>
            <a:ext cx="1404944" cy="1404944"/>
          </a:xfrm>
          <a:prstGeom prst="rect">
            <a:avLst/>
          </a:prstGeom>
        </p:spPr>
      </p:pic>
      <p:pic>
        <p:nvPicPr>
          <p:cNvPr id="39" name="Grafik 38">
            <a:extLst>
              <a:ext uri="{FF2B5EF4-FFF2-40B4-BE49-F238E27FC236}">
                <a16:creationId xmlns:a16="http://schemas.microsoft.com/office/drawing/2014/main" id="{1D887C84-E1FB-478E-98E9-58F4617A659A}"/>
              </a:ext>
            </a:extLst>
          </p:cNvPr>
          <p:cNvPicPr>
            <a:picLocks noChangeAspect="1"/>
          </p:cNvPicPr>
          <p:nvPr/>
        </p:nvPicPr>
        <p:blipFill>
          <a:blip r:embed="rId6"/>
          <a:stretch>
            <a:fillRect/>
          </a:stretch>
        </p:blipFill>
        <p:spPr>
          <a:xfrm>
            <a:off x="2412299" y="4758695"/>
            <a:ext cx="721649" cy="713971"/>
          </a:xfrm>
          <a:prstGeom prst="rect">
            <a:avLst/>
          </a:prstGeom>
        </p:spPr>
      </p:pic>
      <p:pic>
        <p:nvPicPr>
          <p:cNvPr id="40" name="Grafik 39">
            <a:extLst>
              <a:ext uri="{FF2B5EF4-FFF2-40B4-BE49-F238E27FC236}">
                <a16:creationId xmlns:a16="http://schemas.microsoft.com/office/drawing/2014/main" id="{E5F166E1-725A-451E-A002-C95E54B49596}"/>
              </a:ext>
            </a:extLst>
          </p:cNvPr>
          <p:cNvPicPr>
            <a:picLocks noChangeAspect="1"/>
          </p:cNvPicPr>
          <p:nvPr/>
        </p:nvPicPr>
        <p:blipFill>
          <a:blip r:embed="rId17"/>
          <a:stretch>
            <a:fillRect/>
          </a:stretch>
        </p:blipFill>
        <p:spPr>
          <a:xfrm>
            <a:off x="8150847" y="4560981"/>
            <a:ext cx="652350" cy="1699249"/>
          </a:xfrm>
          <a:prstGeom prst="rect">
            <a:avLst/>
          </a:prstGeom>
        </p:spPr>
      </p:pic>
      <p:sp>
        <p:nvSpPr>
          <p:cNvPr id="2" name="Textfeld 1">
            <a:extLst>
              <a:ext uri="{FF2B5EF4-FFF2-40B4-BE49-F238E27FC236}">
                <a16:creationId xmlns:a16="http://schemas.microsoft.com/office/drawing/2014/main" id="{F89F8C86-183F-4F41-8ECA-552AA6F607C2}"/>
              </a:ext>
            </a:extLst>
          </p:cNvPr>
          <p:cNvSpPr txBox="1"/>
          <p:nvPr/>
        </p:nvSpPr>
        <p:spPr>
          <a:xfrm>
            <a:off x="4941277" y="6471138"/>
            <a:ext cx="2839915" cy="369332"/>
          </a:xfrm>
          <a:prstGeom prst="rect">
            <a:avLst/>
          </a:prstGeom>
          <a:noFill/>
        </p:spPr>
        <p:txBody>
          <a:bodyPr wrap="square" rtlCol="0">
            <a:spAutoFit/>
          </a:bodyPr>
          <a:lstStyle/>
          <a:p>
            <a:r>
              <a:rPr lang="en-US" dirty="0"/>
              <a:t>719 version handle</a:t>
            </a:r>
          </a:p>
        </p:txBody>
      </p:sp>
      <p:sp>
        <p:nvSpPr>
          <p:cNvPr id="3" name="Textfeld 2">
            <a:extLst>
              <a:ext uri="{FF2B5EF4-FFF2-40B4-BE49-F238E27FC236}">
                <a16:creationId xmlns:a16="http://schemas.microsoft.com/office/drawing/2014/main" id="{97308D50-3EC1-4A45-A203-CE1305EF66E2}"/>
              </a:ext>
            </a:extLst>
          </p:cNvPr>
          <p:cNvSpPr txBox="1"/>
          <p:nvPr/>
        </p:nvSpPr>
        <p:spPr>
          <a:xfrm>
            <a:off x="1966387" y="6058668"/>
            <a:ext cx="1409687" cy="646331"/>
          </a:xfrm>
          <a:prstGeom prst="rect">
            <a:avLst/>
          </a:prstGeom>
          <a:noFill/>
        </p:spPr>
        <p:txBody>
          <a:bodyPr wrap="square" rtlCol="0">
            <a:spAutoFit/>
          </a:bodyPr>
          <a:lstStyle/>
          <a:p>
            <a:r>
              <a:rPr lang="en-US" dirty="0"/>
              <a:t>NiCad handle</a:t>
            </a:r>
          </a:p>
        </p:txBody>
      </p:sp>
      <p:sp>
        <p:nvSpPr>
          <p:cNvPr id="4" name="Rechteck 3">
            <a:extLst>
              <a:ext uri="{FF2B5EF4-FFF2-40B4-BE49-F238E27FC236}">
                <a16:creationId xmlns:a16="http://schemas.microsoft.com/office/drawing/2014/main" id="{0DF0DF2C-5616-4AF6-B2AD-4402B06CF152}"/>
              </a:ext>
            </a:extLst>
          </p:cNvPr>
          <p:cNvSpPr/>
          <p:nvPr/>
        </p:nvSpPr>
        <p:spPr>
          <a:xfrm>
            <a:off x="10871380" y="6381833"/>
            <a:ext cx="1264539" cy="4914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arranty</a:t>
            </a:r>
          </a:p>
        </p:txBody>
      </p:sp>
    </p:spTree>
    <p:extLst>
      <p:ext uri="{BB962C8B-B14F-4D97-AF65-F5344CB8AC3E}">
        <p14:creationId xmlns:p14="http://schemas.microsoft.com/office/powerpoint/2010/main" val="2190204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9DDED9C-4849-48FA-856A-3EE78739551E}"/>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2D468C-8F71-314C-A979-931A6F21B3BB}" type="slidenum">
              <a:rPr kumimoji="0" lang="en-US" sz="800" b="1" i="0" u="none" strike="noStrike" kern="1200" cap="none" spc="0" normalizeH="0" baseline="0" noProof="0" smtClean="0">
                <a:ln>
                  <a:noFill/>
                </a:ln>
                <a:solidFill>
                  <a:prstClr val="black">
                    <a:tint val="75000"/>
                  </a:prstClr>
                </a:solidFill>
                <a:effectLst/>
                <a:uLnTx/>
                <a:uFillTx/>
                <a:latin typeface="Century Gothic" panose="020F03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800" b="1" i="0" u="none" strike="noStrike" kern="1200" cap="none" spc="0" normalizeH="0" baseline="0" noProof="0">
              <a:ln>
                <a:noFill/>
              </a:ln>
              <a:solidFill>
                <a:prstClr val="black">
                  <a:tint val="75000"/>
                </a:prstClr>
              </a:solidFill>
              <a:effectLst/>
              <a:uLnTx/>
              <a:uFillTx/>
              <a:latin typeface="Century Gothic" panose="020F0302020204030204"/>
              <a:ea typeface="+mn-ea"/>
              <a:cs typeface="+mn-cs"/>
            </a:endParaRPr>
          </a:p>
        </p:txBody>
      </p:sp>
      <p:sp>
        <p:nvSpPr>
          <p:cNvPr id="6" name="Title 1">
            <a:extLst>
              <a:ext uri="{FF2B5EF4-FFF2-40B4-BE49-F238E27FC236}">
                <a16:creationId xmlns:a16="http://schemas.microsoft.com/office/drawing/2014/main" id="{A5E80E5B-E2C0-41C0-A0DF-87DE7E7BBAF2}"/>
              </a:ext>
            </a:extLst>
          </p:cNvPr>
          <p:cNvSpPr txBox="1">
            <a:spLocks/>
          </p:cNvSpPr>
          <p:nvPr/>
        </p:nvSpPr>
        <p:spPr>
          <a:xfrm>
            <a:off x="2009063" y="664646"/>
            <a:ext cx="8229600" cy="660641"/>
          </a:xfrm>
          <a:prstGeom prst="rect">
            <a:avLst/>
          </a:prstGeom>
        </p:spPr>
        <p:txBody>
          <a:bodyPr/>
          <a:lstStyle>
            <a:lvl1pPr algn="l" defTabSz="685800" rtl="0" eaLnBrk="1" latinLnBrk="0" hangingPunct="1">
              <a:lnSpc>
                <a:spcPct val="90000"/>
              </a:lnSpc>
              <a:spcBef>
                <a:spcPct val="0"/>
              </a:spcBef>
              <a:buNone/>
              <a:defRPr sz="2400" b="1" i="0" kern="1200" cap="none" spc="0"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entury Gothic" panose="020F0302020204030204"/>
                <a:ea typeface="+mj-ea"/>
                <a:cs typeface="+mj-cs"/>
              </a:rPr>
              <a:t>Physical Assessment – Strategy</a:t>
            </a:r>
          </a:p>
        </p:txBody>
      </p:sp>
      <p:graphicFrame>
        <p:nvGraphicFramePr>
          <p:cNvPr id="7" name="BainTable22051">
            <a:extLst>
              <a:ext uri="{FF2B5EF4-FFF2-40B4-BE49-F238E27FC236}">
                <a16:creationId xmlns:a16="http://schemas.microsoft.com/office/drawing/2014/main" id="{7DD51C8F-EB4B-48CB-8423-663A54C5AB7C}"/>
              </a:ext>
            </a:extLst>
          </p:cNvPr>
          <p:cNvGraphicFramePr>
            <a:graphicFrameLocks noGrp="1"/>
          </p:cNvGraphicFramePr>
          <p:nvPr>
            <p:custDataLst>
              <p:tags r:id="rId1"/>
            </p:custDataLst>
          </p:nvPr>
        </p:nvGraphicFramePr>
        <p:xfrm>
          <a:off x="1114012" y="1134920"/>
          <a:ext cx="9443152" cy="5305013"/>
        </p:xfrm>
        <a:graphic>
          <a:graphicData uri="http://schemas.openxmlformats.org/drawingml/2006/table">
            <a:tbl>
              <a:tblPr firstRow="1" bandRow="1">
                <a:tableStyleId>{2D5ABB26-0587-4C30-8999-92F81FD0307C}</a:tableStyleId>
              </a:tblPr>
              <a:tblGrid>
                <a:gridCol w="2289557">
                  <a:extLst>
                    <a:ext uri="{9D8B030D-6E8A-4147-A177-3AD203B41FA5}">
                      <a16:colId xmlns:a16="http://schemas.microsoft.com/office/drawing/2014/main" val="20000"/>
                    </a:ext>
                  </a:extLst>
                </a:gridCol>
                <a:gridCol w="7153595">
                  <a:extLst>
                    <a:ext uri="{9D8B030D-6E8A-4147-A177-3AD203B41FA5}">
                      <a16:colId xmlns:a16="http://schemas.microsoft.com/office/drawing/2014/main" val="20001"/>
                    </a:ext>
                  </a:extLst>
                </a:gridCol>
              </a:tblGrid>
              <a:tr h="687293">
                <a:tc>
                  <a:txBody>
                    <a:bodyPr/>
                    <a:lstStyle/>
                    <a:p>
                      <a:pPr algn="ctr">
                        <a:buClrTx/>
                      </a:pPr>
                      <a:r>
                        <a:rPr lang="en-US" sz="1600" b="1" dirty="0">
                          <a:solidFill>
                            <a:srgbClr val="FFFFFF"/>
                          </a:solidFill>
                        </a:rPr>
                        <a:t>How Do We Define the Category</a:t>
                      </a:r>
                    </a:p>
                  </a:txBody>
                  <a:tcPr anchor="ctr">
                    <a:lnB w="38100" cap="flat" cmpd="sng" algn="ctr">
                      <a:solidFill>
                        <a:schemeClr val="bg2"/>
                      </a:solidFill>
                      <a:prstDash val="solid"/>
                      <a:round/>
                      <a:headEnd type="none" w="med" len="med"/>
                      <a:tailEnd type="none" w="med" len="med"/>
                    </a:lnB>
                    <a:solidFill>
                      <a:schemeClr val="accent1"/>
                    </a:solidFill>
                  </a:tcPr>
                </a:tc>
                <a:tc>
                  <a:txBody>
                    <a:bodyPr/>
                    <a:lstStyle/>
                    <a:p>
                      <a:pPr marL="0" indent="0" algn="l" defTabSz="914309" rtl="0" eaLnBrk="1" latinLnBrk="0" hangingPunct="1">
                        <a:lnSpc>
                          <a:spcPct val="100000"/>
                        </a:lnSpc>
                        <a:spcBef>
                          <a:spcPts val="576"/>
                        </a:spcBef>
                        <a:spcAft>
                          <a:spcPts val="0"/>
                        </a:spcAft>
                        <a:buClrTx/>
                        <a:buSzPct val="100000"/>
                        <a:buFont typeface="Verdana" panose="020B0604030504040204" pitchFamily="34" charset="0"/>
                        <a:buNone/>
                      </a:pPr>
                      <a:r>
                        <a:rPr lang="en-US" sz="1600" b="1" dirty="0"/>
                        <a:t>Otoscope and Ophthalmoscope sets</a:t>
                      </a:r>
                    </a:p>
                  </a:txBody>
                  <a:tcPr anchor="ctr">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1120034">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b="1" dirty="0">
                          <a:solidFill>
                            <a:srgbClr val="FFFFFF"/>
                          </a:solidFill>
                        </a:rPr>
                        <a:t>What Are Key Market and Competitive Actions?</a:t>
                      </a:r>
                    </a:p>
                  </a:txBody>
                  <a:tcPr anchor="ctr">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solidFill>
                      <a:schemeClr val="accent1"/>
                    </a:solidFill>
                  </a:tcPr>
                </a:tc>
                <a:tc>
                  <a:txBody>
                    <a:bodyPr/>
                    <a:lstStyle/>
                    <a:p>
                      <a:pPr marL="182245" indent="-182245" algn="l" defTabSz="914309" rtl="0" eaLnBrk="1" latinLnBrk="0" hangingPunct="1">
                        <a:lnSpc>
                          <a:spcPct val="100000"/>
                        </a:lnSpc>
                        <a:spcBef>
                          <a:spcPts val="576"/>
                        </a:spcBef>
                        <a:spcAft>
                          <a:spcPts val="0"/>
                        </a:spcAft>
                        <a:buClrTx/>
                        <a:buSzPct val="100000"/>
                        <a:buFont typeface="Verdana" panose="020B0604030504040204" pitchFamily="34" charset="0"/>
                        <a:buChar char="•"/>
                      </a:pPr>
                      <a:r>
                        <a:rPr lang="en-US" sz="1100" b="0" dirty="0"/>
                        <a:t>Expanded role of Physician Assistants and Nurse Practitioners in primary care</a:t>
                      </a:r>
                    </a:p>
                    <a:p>
                      <a:pPr marL="1096645" lvl="2" indent="-182245" algn="l" defTabSz="914309" rtl="0" eaLnBrk="1" latinLnBrk="0" hangingPunct="1">
                        <a:lnSpc>
                          <a:spcPct val="100000"/>
                        </a:lnSpc>
                        <a:spcBef>
                          <a:spcPts val="576"/>
                        </a:spcBef>
                        <a:spcAft>
                          <a:spcPts val="0"/>
                        </a:spcAft>
                        <a:buClrTx/>
                        <a:buSzPct val="100000"/>
                        <a:buFont typeface="Verdana" panose="020B0604030504040204" pitchFamily="34" charset="0"/>
                        <a:buChar char="•"/>
                      </a:pPr>
                      <a:r>
                        <a:rPr lang="en-US" sz="1100" b="0" dirty="0"/>
                        <a:t>Doctors office without doctor</a:t>
                      </a:r>
                    </a:p>
                    <a:p>
                      <a:pPr marL="182245" indent="-182245" algn="l" defTabSz="914309" rtl="0" eaLnBrk="1" latinLnBrk="0" hangingPunct="1">
                        <a:lnSpc>
                          <a:spcPct val="100000"/>
                        </a:lnSpc>
                        <a:spcBef>
                          <a:spcPts val="576"/>
                        </a:spcBef>
                        <a:spcAft>
                          <a:spcPts val="0"/>
                        </a:spcAft>
                        <a:buClrTx/>
                        <a:buSzPct val="100000"/>
                        <a:buFont typeface="Verdana" panose="020B0604030504040204" pitchFamily="34" charset="0"/>
                        <a:buChar char="•"/>
                      </a:pPr>
                      <a:r>
                        <a:rPr lang="en-US" sz="1100" b="0" dirty="0"/>
                        <a:t>Purchasing power shifting toward corporate or committee-based purchasing organizations</a:t>
                      </a:r>
                    </a:p>
                    <a:p>
                      <a:pPr marL="182245" indent="-182245" algn="l" defTabSz="914309" rtl="0" eaLnBrk="1" latinLnBrk="0" hangingPunct="1">
                        <a:lnSpc>
                          <a:spcPct val="100000"/>
                        </a:lnSpc>
                        <a:spcBef>
                          <a:spcPts val="576"/>
                        </a:spcBef>
                        <a:spcAft>
                          <a:spcPts val="0"/>
                        </a:spcAft>
                        <a:buClrTx/>
                        <a:buSzPct val="100000"/>
                        <a:buFont typeface="Verdana" panose="020B0604030504040204" pitchFamily="34" charset="0"/>
                        <a:buChar char="•"/>
                      </a:pPr>
                      <a:r>
                        <a:rPr lang="en-US" sz="1100" b="0" dirty="0"/>
                        <a:t>Pricing pressure driving acceptance of good enough products (i.e. low-quality competitors) in professional markets</a:t>
                      </a:r>
                    </a:p>
                    <a:p>
                      <a:pPr marL="182245" indent="-182245" algn="l" rtl="0">
                        <a:lnSpc>
                          <a:spcPct val="100000"/>
                        </a:lnSpc>
                        <a:spcBef>
                          <a:spcPts val="576"/>
                        </a:spcBef>
                        <a:spcAft>
                          <a:spcPts val="0"/>
                        </a:spcAft>
                        <a:buFont typeface="Verdana" panose="020B0604030504040204" pitchFamily="34" charset="0"/>
                        <a:buChar char="•"/>
                      </a:pPr>
                      <a:r>
                        <a:rPr lang="en-US" sz="1100" b="0" dirty="0"/>
                        <a:t>Focus on value-based care driving hospital systems to focus on providing care in lower cost settings.  Potential for acceleration of telehealth esp. now with COVID19. </a:t>
                      </a:r>
                    </a:p>
                    <a:p>
                      <a:pPr marL="182245" indent="-182245" algn="l" rtl="0">
                        <a:lnSpc>
                          <a:spcPct val="100000"/>
                        </a:lnSpc>
                        <a:spcBef>
                          <a:spcPts val="576"/>
                        </a:spcBef>
                        <a:spcAft>
                          <a:spcPts val="0"/>
                        </a:spcAft>
                        <a:buFont typeface="Verdana" panose="020B0604030504040204" pitchFamily="34" charset="0"/>
                        <a:buChar char="•"/>
                      </a:pPr>
                      <a:r>
                        <a:rPr lang="en-US" sz="1100" b="0" dirty="0"/>
                        <a:t>Increased usage of digital devices </a:t>
                      </a:r>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1120034">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b="1" dirty="0">
                          <a:solidFill>
                            <a:srgbClr val="FFFFFF"/>
                          </a:solidFill>
                        </a:rPr>
                        <a:t>What does it</a:t>
                      </a:r>
                      <a:r>
                        <a:rPr lang="en-US" sz="1600" b="1" baseline="0" dirty="0">
                          <a:solidFill>
                            <a:srgbClr val="FFFFFF"/>
                          </a:solidFill>
                        </a:rPr>
                        <a:t> take to succeed/ outperform the market?</a:t>
                      </a:r>
                      <a:endParaRPr lang="en-US" sz="1600" b="1" dirty="0">
                        <a:solidFill>
                          <a:srgbClr val="FFFFFF"/>
                        </a:solidFill>
                      </a:endParaRPr>
                    </a:p>
                  </a:txBody>
                  <a:tcPr anchor="ctr">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solidFill>
                      <a:schemeClr val="accent1"/>
                    </a:solidFill>
                  </a:tcPr>
                </a:tc>
                <a:tc>
                  <a:txBody>
                    <a:bodyPr/>
                    <a:lstStyle/>
                    <a:p>
                      <a:pPr marL="182245" marR="0" lvl="0" indent="-182245" algn="l" rtl="0">
                        <a:lnSpc>
                          <a:spcPct val="100000"/>
                        </a:lnSpc>
                        <a:spcBef>
                          <a:spcPts val="576"/>
                        </a:spcBef>
                        <a:spcAft>
                          <a:spcPts val="0"/>
                        </a:spcAft>
                        <a:buFont typeface="Verdana" panose="020B0604030504040204" pitchFamily="34" charset="0"/>
                        <a:buChar char="•"/>
                      </a:pPr>
                      <a:r>
                        <a:rPr lang="en-US" sz="1100" b="0" kern="1200" dirty="0">
                          <a:solidFill>
                            <a:schemeClr val="tx1"/>
                          </a:solidFill>
                          <a:latin typeface="+mn-lt"/>
                          <a:ea typeface="+mn-ea"/>
                          <a:cs typeface="+mn-cs"/>
                        </a:rPr>
                        <a:t>Establish Digital Platform -  to capture patient images simplifying diagnosis and treatment of patients</a:t>
                      </a:r>
                    </a:p>
                    <a:p>
                      <a:pPr marL="182245" marR="0" indent="-182245" algn="l" rtl="0">
                        <a:lnSpc>
                          <a:spcPct val="100000"/>
                        </a:lnSpc>
                        <a:spcBef>
                          <a:spcPts val="576"/>
                        </a:spcBef>
                        <a:spcAft>
                          <a:spcPts val="0"/>
                        </a:spcAft>
                        <a:buFont typeface="Verdana" panose="020B0604030504040204" pitchFamily="34" charset="0"/>
                        <a:buChar char="•"/>
                      </a:pPr>
                      <a:r>
                        <a:rPr lang="en-US" sz="1100" b="0" kern="1200" dirty="0">
                          <a:solidFill>
                            <a:schemeClr val="tx1"/>
                          </a:solidFill>
                          <a:latin typeface="+mn-lt"/>
                          <a:ea typeface="+mn-ea"/>
                          <a:cs typeface="+mn-cs"/>
                        </a:rPr>
                        <a:t>Compelling Clinical and Economic Evidence- Influence clinicians to regard physical assessment tools as essential, closed loop diagnostic solutions. </a:t>
                      </a:r>
                    </a:p>
                    <a:p>
                      <a:pPr marL="182245" indent="-182245" algn="l" rtl="0">
                        <a:lnSpc>
                          <a:spcPct val="100000"/>
                        </a:lnSpc>
                        <a:spcBef>
                          <a:spcPts val="576"/>
                        </a:spcBef>
                        <a:spcAft>
                          <a:spcPts val="0"/>
                        </a:spcAft>
                        <a:buFont typeface="Verdana" panose="020B0604030504040204" pitchFamily="34" charset="0"/>
                        <a:buChar char="•"/>
                      </a:pPr>
                      <a:r>
                        <a:rPr lang="en-US" sz="1100" b="0" kern="1200" dirty="0">
                          <a:solidFill>
                            <a:schemeClr val="tx1"/>
                          </a:solidFill>
                          <a:latin typeface="+mn-lt"/>
                          <a:ea typeface="+mn-ea"/>
                          <a:cs typeface="+mn-cs"/>
                        </a:rPr>
                        <a:t>Market Development-  Expand ophthalmoscope utilization in primary care.</a:t>
                      </a:r>
                    </a:p>
                    <a:p>
                      <a:pPr marL="182245" indent="-182245" algn="l" rtl="0">
                        <a:lnSpc>
                          <a:spcPct val="100000"/>
                        </a:lnSpc>
                        <a:spcBef>
                          <a:spcPts val="576"/>
                        </a:spcBef>
                        <a:spcAft>
                          <a:spcPts val="0"/>
                        </a:spcAft>
                        <a:buFont typeface="Verdana" panose="020B0604030504040204" pitchFamily="34" charset="0"/>
                        <a:buChar char="•"/>
                      </a:pPr>
                      <a:r>
                        <a:rPr lang="en-US" sz="1100" b="0" kern="1200" dirty="0">
                          <a:solidFill>
                            <a:schemeClr val="tx1"/>
                          </a:solidFill>
                          <a:latin typeface="+mn-lt"/>
                          <a:ea typeface="+mn-ea"/>
                          <a:cs typeface="+mn-cs"/>
                        </a:rPr>
                        <a:t>Aggressively Expand Channel-  Improve engagement and reach to target segments (i.e. student store and underpenetrated markets)</a:t>
                      </a:r>
                    </a:p>
                    <a:p>
                      <a:pPr marL="182245" indent="-182245" algn="l" rtl="0">
                        <a:lnSpc>
                          <a:spcPct val="100000"/>
                        </a:lnSpc>
                        <a:spcBef>
                          <a:spcPts val="576"/>
                        </a:spcBef>
                        <a:spcAft>
                          <a:spcPts val="0"/>
                        </a:spcAft>
                        <a:buFont typeface="Verdana" panose="020B0604030504040204" pitchFamily="34" charset="0"/>
                        <a:buChar char="•"/>
                      </a:pPr>
                      <a:r>
                        <a:rPr lang="en-US" sz="1100" b="0" kern="1200" dirty="0">
                          <a:solidFill>
                            <a:schemeClr val="tx1"/>
                          </a:solidFill>
                          <a:latin typeface="+mn-lt"/>
                          <a:ea typeface="+mn-ea"/>
                          <a:cs typeface="+mn-cs"/>
                        </a:rPr>
                        <a:t>Offer complete portfolio incl. </a:t>
                      </a:r>
                      <a:r>
                        <a:rPr lang="en-US" sz="1100" b="0" kern="1200" dirty="0" err="1">
                          <a:solidFill>
                            <a:schemeClr val="tx1"/>
                          </a:solidFill>
                          <a:latin typeface="+mn-lt"/>
                          <a:ea typeface="+mn-ea"/>
                          <a:cs typeface="+mn-cs"/>
                        </a:rPr>
                        <a:t>dermatosocpe</a:t>
                      </a:r>
                      <a:endParaRPr lang="en-US" sz="1100" b="0" kern="1200" dirty="0">
                        <a:solidFill>
                          <a:schemeClr val="tx1"/>
                        </a:solidFill>
                        <a:latin typeface="+mn-lt"/>
                        <a:ea typeface="+mn-ea"/>
                        <a:cs typeface="+mn-cs"/>
                      </a:endParaRPr>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1120034">
                <a:tc>
                  <a:txBody>
                    <a:bodyPr/>
                    <a:lstStyle/>
                    <a:p>
                      <a:pPr algn="ctr">
                        <a:buClrTx/>
                      </a:pPr>
                      <a:r>
                        <a:rPr lang="en-US" sz="1600" b="1" dirty="0">
                          <a:solidFill>
                            <a:srgbClr val="FFFFFF"/>
                          </a:solidFill>
                        </a:rPr>
                        <a:t>What are the strategic imperatives that achieve this?</a:t>
                      </a:r>
                    </a:p>
                  </a:txBody>
                  <a:tcPr anchor="ctr">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solidFill>
                      <a:schemeClr val="accent1"/>
                    </a:solidFill>
                  </a:tcPr>
                </a:tc>
                <a:tc>
                  <a:txBody>
                    <a:bodyPr/>
                    <a:lstStyle/>
                    <a:p>
                      <a:pPr marL="182245" marR="0" lvl="0" indent="-182245" algn="l" defTabSz="914309" rtl="0" eaLnBrk="1" fontAlgn="auto" latinLnBrk="0" hangingPunct="1">
                        <a:lnSpc>
                          <a:spcPct val="100000"/>
                        </a:lnSpc>
                        <a:spcBef>
                          <a:spcPts val="576"/>
                        </a:spcBef>
                        <a:spcAft>
                          <a:spcPts val="0"/>
                        </a:spcAft>
                        <a:buClrTx/>
                        <a:buSzPct val="100000"/>
                        <a:buFont typeface="Verdana" panose="020B0604030504040204" pitchFamily="34" charset="0"/>
                        <a:buChar char="•"/>
                        <a:tabLst/>
                        <a:defRPr/>
                      </a:pPr>
                      <a:r>
                        <a:rPr lang="en-US" sz="1100" b="0" kern="1200" dirty="0">
                          <a:solidFill>
                            <a:schemeClr val="tx1"/>
                          </a:solidFill>
                          <a:latin typeface="+mn-lt"/>
                          <a:ea typeface="+mn-ea"/>
                          <a:cs typeface="+mn-cs"/>
                        </a:rPr>
                        <a:t>Enhance development and launch</a:t>
                      </a:r>
                    </a:p>
                    <a:p>
                      <a:pPr marL="182245" marR="0" lvl="0" indent="-182245" algn="l" defTabSz="914309" rtl="0" eaLnBrk="1" fontAlgn="auto" latinLnBrk="0" hangingPunct="1">
                        <a:lnSpc>
                          <a:spcPct val="100000"/>
                        </a:lnSpc>
                        <a:spcBef>
                          <a:spcPts val="576"/>
                        </a:spcBef>
                        <a:spcAft>
                          <a:spcPts val="0"/>
                        </a:spcAft>
                        <a:buClrTx/>
                        <a:buSzPct val="100000"/>
                        <a:buFont typeface="Verdana" panose="020B0604030504040204" pitchFamily="34" charset="0"/>
                        <a:buChar char="•"/>
                        <a:tabLst/>
                        <a:defRPr/>
                      </a:pPr>
                      <a:r>
                        <a:rPr lang="en-US" sz="1100" b="0" kern="1200" dirty="0">
                          <a:solidFill>
                            <a:schemeClr val="tx1"/>
                          </a:solidFill>
                          <a:latin typeface="+mn-lt"/>
                          <a:ea typeface="+mn-ea"/>
                          <a:cs typeface="+mn-cs"/>
                        </a:rPr>
                        <a:t>Clinical evidence development and KOL engagement</a:t>
                      </a:r>
                    </a:p>
                    <a:p>
                      <a:pPr marL="182245" marR="0" lvl="0" indent="-182245" algn="l" defTabSz="914309" rtl="0" eaLnBrk="1" fontAlgn="auto" latinLnBrk="0" hangingPunct="1">
                        <a:lnSpc>
                          <a:spcPct val="100000"/>
                        </a:lnSpc>
                        <a:spcBef>
                          <a:spcPts val="576"/>
                        </a:spcBef>
                        <a:spcAft>
                          <a:spcPts val="0"/>
                        </a:spcAft>
                        <a:buClrTx/>
                        <a:buSzPct val="100000"/>
                        <a:buFont typeface="Verdana" panose="020B0604030504040204" pitchFamily="34" charset="0"/>
                        <a:buChar char="•"/>
                        <a:tabLst/>
                        <a:defRPr/>
                      </a:pPr>
                      <a:r>
                        <a:rPr lang="en-US" sz="1100" b="0" kern="1200" dirty="0">
                          <a:solidFill>
                            <a:schemeClr val="tx1"/>
                          </a:solidFill>
                          <a:latin typeface="+mn-lt"/>
                          <a:ea typeface="+mn-ea"/>
                          <a:cs typeface="+mn-cs"/>
                        </a:rPr>
                        <a:t>Digital commercialization strategy and international channel focus</a:t>
                      </a:r>
                    </a:p>
                    <a:p>
                      <a:pPr marL="182245" marR="0" lvl="0" indent="-182245" algn="l" defTabSz="914309" rtl="0" eaLnBrk="1" fontAlgn="auto" latinLnBrk="0" hangingPunct="1">
                        <a:lnSpc>
                          <a:spcPct val="100000"/>
                        </a:lnSpc>
                        <a:spcBef>
                          <a:spcPts val="576"/>
                        </a:spcBef>
                        <a:spcAft>
                          <a:spcPts val="0"/>
                        </a:spcAft>
                        <a:buClrTx/>
                        <a:buSzPct val="100000"/>
                        <a:buFont typeface="Verdana" panose="020B0604030504040204" pitchFamily="34" charset="0"/>
                        <a:buChar char="•"/>
                        <a:tabLst/>
                        <a:defRPr/>
                      </a:pPr>
                      <a:r>
                        <a:rPr lang="en-US" sz="1100" b="0" kern="1200" dirty="0">
                          <a:solidFill>
                            <a:schemeClr val="tx1"/>
                          </a:solidFill>
                          <a:latin typeface="+mn-lt"/>
                          <a:ea typeface="+mn-ea"/>
                          <a:cs typeface="+mn-cs"/>
                        </a:rPr>
                        <a:t>Leverage Vision Care channel </a:t>
                      </a:r>
                    </a:p>
                    <a:p>
                      <a:pPr marL="182245" marR="0" lvl="0" indent="-182245" algn="l" defTabSz="914309" rtl="0" eaLnBrk="1" fontAlgn="auto" latinLnBrk="0" hangingPunct="1">
                        <a:lnSpc>
                          <a:spcPct val="100000"/>
                        </a:lnSpc>
                        <a:spcBef>
                          <a:spcPts val="576"/>
                        </a:spcBef>
                        <a:spcAft>
                          <a:spcPts val="0"/>
                        </a:spcAft>
                        <a:buClrTx/>
                        <a:buSzPct val="100000"/>
                        <a:buFont typeface="Verdana" panose="020B0604030504040204" pitchFamily="34" charset="0"/>
                        <a:buChar char="•"/>
                        <a:tabLst/>
                        <a:defRPr/>
                      </a:pPr>
                      <a:r>
                        <a:rPr lang="en-US" sz="1100" b="0" kern="1200" dirty="0">
                          <a:solidFill>
                            <a:schemeClr val="tx1"/>
                          </a:solidFill>
                          <a:latin typeface="+mn-lt"/>
                          <a:ea typeface="+mn-ea"/>
                          <a:cs typeface="+mn-cs"/>
                        </a:rPr>
                        <a:t>Niche markets ( Neurology/ Cardiology)</a:t>
                      </a:r>
                    </a:p>
                  </a:txBody>
                  <a:tcPr anchor="ct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41892876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hteck 9">
            <a:extLst>
              <a:ext uri="{FF2B5EF4-FFF2-40B4-BE49-F238E27FC236}">
                <a16:creationId xmlns:a16="http://schemas.microsoft.com/office/drawing/2014/main" id="{B58EF75E-58A8-4906-9F70-3C7AB844AE8C}"/>
              </a:ext>
            </a:extLst>
          </p:cNvPr>
          <p:cNvSpPr/>
          <p:nvPr/>
        </p:nvSpPr>
        <p:spPr>
          <a:xfrm>
            <a:off x="7609738" y="2083205"/>
            <a:ext cx="3350555" cy="4339603"/>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panose="020F0302020204030204"/>
              <a:ea typeface="+mn-ea"/>
              <a:cs typeface="+mn-cs"/>
            </a:endParaRPr>
          </a:p>
        </p:txBody>
      </p:sp>
      <p:sp>
        <p:nvSpPr>
          <p:cNvPr id="2" name="Title 1">
            <a:extLst>
              <a:ext uri="{FF2B5EF4-FFF2-40B4-BE49-F238E27FC236}">
                <a16:creationId xmlns:a16="http://schemas.microsoft.com/office/drawing/2014/main" id="{92651136-C4DB-4755-8AD5-CFD827EFD50F}"/>
              </a:ext>
            </a:extLst>
          </p:cNvPr>
          <p:cNvSpPr>
            <a:spLocks noGrp="1"/>
          </p:cNvSpPr>
          <p:nvPr>
            <p:ph type="title"/>
          </p:nvPr>
        </p:nvSpPr>
        <p:spPr>
          <a:xfrm>
            <a:off x="966580" y="767248"/>
            <a:ext cx="8614000" cy="580004"/>
          </a:xfrm>
        </p:spPr>
        <p:txBody>
          <a:bodyPr/>
          <a:lstStyle/>
          <a:p>
            <a:pPr>
              <a:lnSpc>
                <a:spcPct val="100000"/>
              </a:lnSpc>
            </a:pPr>
            <a:r>
              <a:rPr lang="en-US" dirty="0"/>
              <a:t>Product Overview</a:t>
            </a:r>
            <a:br>
              <a:rPr lang="en-US" dirty="0"/>
            </a:br>
            <a:r>
              <a:rPr lang="en-US" sz="1400" dirty="0">
                <a:solidFill>
                  <a:schemeClr val="accent1"/>
                </a:solidFill>
              </a:rPr>
              <a:t>Enhance will deliver a new otoscope and ophthalmoscope with superior optics and ease of use.  Each instrument will be capable of quickly capturing digital images to provide better patient care.  The project also includes new battery systems and clear specula. </a:t>
            </a:r>
          </a:p>
        </p:txBody>
      </p:sp>
      <p:pic>
        <p:nvPicPr>
          <p:cNvPr id="6" name="Content Placeholder 5">
            <a:extLst>
              <a:ext uri="{FF2B5EF4-FFF2-40B4-BE49-F238E27FC236}">
                <a16:creationId xmlns:a16="http://schemas.microsoft.com/office/drawing/2014/main" id="{B98C3134-4541-4A65-82BA-493EDB283AE7}"/>
              </a:ext>
            </a:extLst>
          </p:cNvPr>
          <p:cNvPicPr>
            <a:picLocks noGrp="1" noChangeAspect="1"/>
          </p:cNvPicPr>
          <p:nvPr>
            <p:ph sz="quarter" idx="11"/>
          </p:nvPr>
        </p:nvPicPr>
        <p:blipFill rotWithShape="1">
          <a:blip r:embed="rId2" cstate="email">
            <a:extLst>
              <a:ext uri="{28A0092B-C50C-407E-A947-70E740481C1C}">
                <a14:useLocalDpi xmlns:a14="http://schemas.microsoft.com/office/drawing/2010/main"/>
              </a:ext>
            </a:extLst>
          </a:blip>
          <a:srcRect r="82323"/>
          <a:stretch/>
        </p:blipFill>
        <p:spPr>
          <a:xfrm>
            <a:off x="1124520" y="2059508"/>
            <a:ext cx="749509" cy="3879700"/>
          </a:xfrm>
          <a:prstGeom prst="rect">
            <a:avLst/>
          </a:prstGeom>
        </p:spPr>
      </p:pic>
      <p:sp>
        <p:nvSpPr>
          <p:cNvPr id="4" name="Slide Number Placeholder 3">
            <a:extLst>
              <a:ext uri="{FF2B5EF4-FFF2-40B4-BE49-F238E27FC236}">
                <a16:creationId xmlns:a16="http://schemas.microsoft.com/office/drawing/2014/main" id="{1DF08005-A100-4E9F-A4EF-7422E4BD23E7}"/>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2D468C-8F71-314C-A979-931A6F21B3BB}" type="slidenum">
              <a:rPr kumimoji="0" lang="en-US" sz="800" b="1" i="0" u="none" strike="noStrike" kern="1200" cap="none" spc="0" normalizeH="0" baseline="0" noProof="0" smtClean="0">
                <a:ln>
                  <a:noFill/>
                </a:ln>
                <a:solidFill>
                  <a:prstClr val="black">
                    <a:tint val="75000"/>
                  </a:prstClr>
                </a:solidFill>
                <a:effectLst/>
                <a:uLnTx/>
                <a:uFillTx/>
                <a:latin typeface="Century Gothic" panose="020F03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800" b="1" i="0" u="none" strike="noStrike" kern="1200" cap="none" spc="0" normalizeH="0" baseline="0" noProof="0">
              <a:ln>
                <a:noFill/>
              </a:ln>
              <a:solidFill>
                <a:prstClr val="black">
                  <a:tint val="75000"/>
                </a:prstClr>
              </a:solidFill>
              <a:effectLst/>
              <a:uLnTx/>
              <a:uFillTx/>
              <a:latin typeface="Century Gothic" panose="020F0302020204030204"/>
              <a:ea typeface="+mn-ea"/>
              <a:cs typeface="+mn-cs"/>
            </a:endParaRPr>
          </a:p>
        </p:txBody>
      </p:sp>
      <p:sp>
        <p:nvSpPr>
          <p:cNvPr id="3" name="TextBox 2">
            <a:extLst>
              <a:ext uri="{FF2B5EF4-FFF2-40B4-BE49-F238E27FC236}">
                <a16:creationId xmlns:a16="http://schemas.microsoft.com/office/drawing/2014/main" id="{EB543F80-D029-4A15-8E5B-33E1F6BDA033}"/>
              </a:ext>
            </a:extLst>
          </p:cNvPr>
          <p:cNvSpPr txBox="1"/>
          <p:nvPr/>
        </p:nvSpPr>
        <p:spPr>
          <a:xfrm>
            <a:off x="9368429" y="5894686"/>
            <a:ext cx="69762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entury Gothic" panose="020F0302020204030204"/>
                <a:ea typeface="+mn-ea"/>
                <a:cs typeface="+mn-cs"/>
              </a:rPr>
              <a:t>2020</a:t>
            </a:r>
          </a:p>
        </p:txBody>
      </p:sp>
      <p:sp>
        <p:nvSpPr>
          <p:cNvPr id="12" name="TextBox 11">
            <a:extLst>
              <a:ext uri="{FF2B5EF4-FFF2-40B4-BE49-F238E27FC236}">
                <a16:creationId xmlns:a16="http://schemas.microsoft.com/office/drawing/2014/main" id="{57D16FB6-1133-4AC3-BA5A-429BAD8D40E6}"/>
              </a:ext>
            </a:extLst>
          </p:cNvPr>
          <p:cNvSpPr txBox="1"/>
          <p:nvPr/>
        </p:nvSpPr>
        <p:spPr>
          <a:xfrm>
            <a:off x="770935" y="5914894"/>
            <a:ext cx="128753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entury Gothic" panose="020F0302020204030204"/>
                <a:ea typeface="+mn-ea"/>
                <a:cs typeface="+mn-cs"/>
              </a:rPr>
              <a:t>1915-1990</a:t>
            </a:r>
          </a:p>
        </p:txBody>
      </p:sp>
      <p:sp>
        <p:nvSpPr>
          <p:cNvPr id="13" name="TextBox 12">
            <a:extLst>
              <a:ext uri="{FF2B5EF4-FFF2-40B4-BE49-F238E27FC236}">
                <a16:creationId xmlns:a16="http://schemas.microsoft.com/office/drawing/2014/main" id="{2785E380-EA36-45F7-8599-0D23DC2A467D}"/>
              </a:ext>
            </a:extLst>
          </p:cNvPr>
          <p:cNvSpPr txBox="1"/>
          <p:nvPr/>
        </p:nvSpPr>
        <p:spPr>
          <a:xfrm>
            <a:off x="3508251" y="5922976"/>
            <a:ext cx="69762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entury Gothic" panose="020F0302020204030204"/>
                <a:ea typeface="+mn-ea"/>
                <a:cs typeface="+mn-cs"/>
              </a:rPr>
              <a:t>2000</a:t>
            </a:r>
          </a:p>
        </p:txBody>
      </p:sp>
      <p:sp>
        <p:nvSpPr>
          <p:cNvPr id="14" name="TextBox 13">
            <a:extLst>
              <a:ext uri="{FF2B5EF4-FFF2-40B4-BE49-F238E27FC236}">
                <a16:creationId xmlns:a16="http://schemas.microsoft.com/office/drawing/2014/main" id="{61E36572-80C2-4A36-B844-F45AE282A354}"/>
              </a:ext>
            </a:extLst>
          </p:cNvPr>
          <p:cNvSpPr txBox="1"/>
          <p:nvPr/>
        </p:nvSpPr>
        <p:spPr>
          <a:xfrm>
            <a:off x="5944134" y="5899971"/>
            <a:ext cx="69762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entury Gothic" panose="020F0302020204030204"/>
                <a:ea typeface="+mn-ea"/>
                <a:cs typeface="+mn-cs"/>
              </a:rPr>
              <a:t>2008</a:t>
            </a:r>
          </a:p>
        </p:txBody>
      </p:sp>
      <p:pic>
        <p:nvPicPr>
          <p:cNvPr id="1026" name="Picture 2" descr="Image preview">
            <a:extLst>
              <a:ext uri="{FF2B5EF4-FFF2-40B4-BE49-F238E27FC236}">
                <a16:creationId xmlns:a16="http://schemas.microsoft.com/office/drawing/2014/main" id="{36EC1D00-43EB-4F16-9681-116448EAE52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2267" r="21833"/>
          <a:stretch/>
        </p:blipFill>
        <p:spPr bwMode="auto">
          <a:xfrm>
            <a:off x="7693151" y="2373561"/>
            <a:ext cx="3405800" cy="3427189"/>
          </a:xfrm>
          <a:prstGeom prst="rect">
            <a:avLst/>
          </a:prstGeom>
          <a:noFill/>
          <a:extLst>
            <a:ext uri="{909E8E84-426E-40DD-AFC4-6F175D3DCCD1}">
              <a14:hiddenFill xmlns:a14="http://schemas.microsoft.com/office/drawing/2010/main">
                <a:solidFill>
                  <a:srgbClr val="FFFFFF"/>
                </a:solidFill>
              </a14:hiddenFill>
            </a:ext>
          </a:extLst>
        </p:spPr>
      </p:pic>
      <p:pic>
        <p:nvPicPr>
          <p:cNvPr id="8" name="Grafik 7">
            <a:extLst>
              <a:ext uri="{FF2B5EF4-FFF2-40B4-BE49-F238E27FC236}">
                <a16:creationId xmlns:a16="http://schemas.microsoft.com/office/drawing/2014/main" id="{86BF2EDE-DB16-40BA-857D-27C2B54551FD}"/>
              </a:ext>
            </a:extLst>
          </p:cNvPr>
          <p:cNvPicPr>
            <a:picLocks noChangeAspect="1"/>
          </p:cNvPicPr>
          <p:nvPr/>
        </p:nvPicPr>
        <p:blipFill rotWithShape="1">
          <a:blip r:embed="rId4"/>
          <a:srcRect l="13119" r="54596" b="32707"/>
          <a:stretch/>
        </p:blipFill>
        <p:spPr>
          <a:xfrm>
            <a:off x="3191363" y="2818417"/>
            <a:ext cx="1331401" cy="2537475"/>
          </a:xfrm>
          <a:prstGeom prst="rect">
            <a:avLst/>
          </a:prstGeom>
        </p:spPr>
      </p:pic>
      <p:pic>
        <p:nvPicPr>
          <p:cNvPr id="9" name="Grafik 8">
            <a:extLst>
              <a:ext uri="{FF2B5EF4-FFF2-40B4-BE49-F238E27FC236}">
                <a16:creationId xmlns:a16="http://schemas.microsoft.com/office/drawing/2014/main" id="{FD84AB08-9D7C-4204-A279-F2D9C1879E2B}"/>
              </a:ext>
            </a:extLst>
          </p:cNvPr>
          <p:cNvPicPr>
            <a:picLocks noChangeAspect="1"/>
          </p:cNvPicPr>
          <p:nvPr/>
        </p:nvPicPr>
        <p:blipFill rotWithShape="1">
          <a:blip r:embed="rId4"/>
          <a:srcRect l="46604" r="-1"/>
          <a:stretch/>
        </p:blipFill>
        <p:spPr>
          <a:xfrm>
            <a:off x="5240377" y="2373561"/>
            <a:ext cx="2082156" cy="3565647"/>
          </a:xfrm>
          <a:prstGeom prst="rect">
            <a:avLst/>
          </a:prstGeom>
        </p:spPr>
      </p:pic>
      <p:sp>
        <p:nvSpPr>
          <p:cNvPr id="15" name="Rechteck 14">
            <a:extLst>
              <a:ext uri="{FF2B5EF4-FFF2-40B4-BE49-F238E27FC236}">
                <a16:creationId xmlns:a16="http://schemas.microsoft.com/office/drawing/2014/main" id="{ECB045C2-06D6-483E-BC88-B356E9491C63}"/>
              </a:ext>
            </a:extLst>
          </p:cNvPr>
          <p:cNvSpPr/>
          <p:nvPr/>
        </p:nvSpPr>
        <p:spPr>
          <a:xfrm>
            <a:off x="549549" y="2109278"/>
            <a:ext cx="2082156" cy="4313530"/>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panose="020F0302020204030204"/>
              <a:ea typeface="+mn-ea"/>
              <a:cs typeface="+mn-cs"/>
            </a:endParaRPr>
          </a:p>
        </p:txBody>
      </p:sp>
      <p:sp>
        <p:nvSpPr>
          <p:cNvPr id="16" name="Rechteck 15">
            <a:extLst>
              <a:ext uri="{FF2B5EF4-FFF2-40B4-BE49-F238E27FC236}">
                <a16:creationId xmlns:a16="http://schemas.microsoft.com/office/drawing/2014/main" id="{8F8801CC-08AE-46AF-B467-772BA3E99EB2}"/>
              </a:ext>
            </a:extLst>
          </p:cNvPr>
          <p:cNvSpPr/>
          <p:nvPr/>
        </p:nvSpPr>
        <p:spPr>
          <a:xfrm>
            <a:off x="5190167" y="2085581"/>
            <a:ext cx="2082156" cy="4339603"/>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panose="020F0302020204030204"/>
              <a:ea typeface="+mn-ea"/>
              <a:cs typeface="+mn-cs"/>
            </a:endParaRPr>
          </a:p>
        </p:txBody>
      </p:sp>
      <p:sp>
        <p:nvSpPr>
          <p:cNvPr id="17" name="Rechteck 16">
            <a:extLst>
              <a:ext uri="{FF2B5EF4-FFF2-40B4-BE49-F238E27FC236}">
                <a16:creationId xmlns:a16="http://schemas.microsoft.com/office/drawing/2014/main" id="{E3B61335-0A91-4261-9BD0-5E5968C30D23}"/>
              </a:ext>
            </a:extLst>
          </p:cNvPr>
          <p:cNvSpPr/>
          <p:nvPr/>
        </p:nvSpPr>
        <p:spPr>
          <a:xfrm>
            <a:off x="2885707" y="2078182"/>
            <a:ext cx="2082156" cy="4320929"/>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27508506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E71DA6-E28C-4F61-AA4B-A53C5621BF96}"/>
              </a:ext>
            </a:extLst>
          </p:cNvPr>
          <p:cNvSpPr>
            <a:spLocks noGrp="1"/>
          </p:cNvSpPr>
          <p:nvPr>
            <p:ph type="title"/>
          </p:nvPr>
        </p:nvSpPr>
        <p:spPr/>
        <p:txBody>
          <a:bodyPr/>
          <a:lstStyle/>
          <a:p>
            <a:r>
              <a:rPr lang="en-US"/>
              <a:t>Enhance Profile</a:t>
            </a:r>
          </a:p>
        </p:txBody>
      </p:sp>
      <p:sp>
        <p:nvSpPr>
          <p:cNvPr id="4" name="Text Placeholder 3">
            <a:extLst>
              <a:ext uri="{FF2B5EF4-FFF2-40B4-BE49-F238E27FC236}">
                <a16:creationId xmlns:a16="http://schemas.microsoft.com/office/drawing/2014/main" id="{213A542B-B1CD-493D-B9D2-F8469153BCF4}"/>
              </a:ext>
            </a:extLst>
          </p:cNvPr>
          <p:cNvSpPr>
            <a:spLocks noGrp="1"/>
          </p:cNvSpPr>
          <p:nvPr>
            <p:ph type="body" sz="quarter" idx="13"/>
          </p:nvPr>
        </p:nvSpPr>
        <p:spPr>
          <a:xfrm>
            <a:off x="2199242" y="91581"/>
            <a:ext cx="2430602" cy="237757"/>
          </a:xfrm>
        </p:spPr>
        <p:txBody>
          <a:bodyPr/>
          <a:lstStyle/>
          <a:p>
            <a:r>
              <a:rPr lang="en-US" dirty="0"/>
              <a:t>Physical Exam &amp; diagnostics</a:t>
            </a:r>
          </a:p>
        </p:txBody>
      </p:sp>
      <p:graphicFrame>
        <p:nvGraphicFramePr>
          <p:cNvPr id="7" name="Table 6">
            <a:extLst>
              <a:ext uri="{FF2B5EF4-FFF2-40B4-BE49-F238E27FC236}">
                <a16:creationId xmlns:a16="http://schemas.microsoft.com/office/drawing/2014/main" id="{08E7C318-55CA-420B-9B21-8B8B466DE6D5}"/>
              </a:ext>
            </a:extLst>
          </p:cNvPr>
          <p:cNvGraphicFramePr>
            <a:graphicFrameLocks noGrp="1"/>
          </p:cNvGraphicFramePr>
          <p:nvPr/>
        </p:nvGraphicFramePr>
        <p:xfrm>
          <a:off x="5549099" y="1460266"/>
          <a:ext cx="4772675" cy="1397049"/>
        </p:xfrm>
        <a:graphic>
          <a:graphicData uri="http://schemas.openxmlformats.org/drawingml/2006/table">
            <a:tbl>
              <a:tblPr firstRow="1" bandRow="1">
                <a:tableStyleId>{1FECB4D8-DB02-4DC6-A0A2-4F2EBAE1DC90}</a:tableStyleId>
              </a:tblPr>
              <a:tblGrid>
                <a:gridCol w="4772675">
                  <a:extLst>
                    <a:ext uri="{9D8B030D-6E8A-4147-A177-3AD203B41FA5}">
                      <a16:colId xmlns:a16="http://schemas.microsoft.com/office/drawing/2014/main" val="3362458535"/>
                    </a:ext>
                  </a:extLst>
                </a:gridCol>
              </a:tblGrid>
              <a:tr h="228600">
                <a:tc>
                  <a:txBody>
                    <a:bodyPr/>
                    <a:lstStyle/>
                    <a:p>
                      <a:pPr algn="ctr"/>
                      <a:r>
                        <a:rPr lang="en-US" sz="1100" spc="100" baseline="0"/>
                        <a:t>CUSTOMER NEEDS</a:t>
                      </a:r>
                    </a:p>
                  </a:txBody>
                  <a:tcPr marL="68580" marR="68580" marT="34290" marB="34290"/>
                </a:tc>
                <a:extLst>
                  <a:ext uri="{0D108BD9-81ED-4DB2-BD59-A6C34878D82A}">
                    <a16:rowId xmlns:a16="http://schemas.microsoft.com/office/drawing/2014/main" val="3618320890"/>
                  </a:ext>
                </a:extLst>
              </a:tr>
              <a:tr h="1160829">
                <a:tc>
                  <a:txBody>
                    <a:bodyPr/>
                    <a:lstStyle/>
                    <a:p>
                      <a:pPr marL="171450" marR="0" lvl="0" indent="-171450" algn="l" defTabSz="685783" rtl="0" eaLnBrk="1" fontAlgn="auto" latinLnBrk="0" hangingPunct="1">
                        <a:lnSpc>
                          <a:spcPct val="100000"/>
                        </a:lnSpc>
                        <a:spcBef>
                          <a:spcPts val="0"/>
                        </a:spcBef>
                        <a:spcAft>
                          <a:spcPts val="0"/>
                        </a:spcAft>
                        <a:buClrTx/>
                        <a:buSzTx/>
                        <a:buFont typeface="System Font Regular"/>
                        <a:buChar char="–"/>
                        <a:tabLst/>
                        <a:defRPr/>
                      </a:pPr>
                      <a:r>
                        <a:rPr lang="en-US" sz="1100"/>
                        <a:t>Increased confidence in physical exams in primary and urgent care facilities </a:t>
                      </a:r>
                    </a:p>
                    <a:p>
                      <a:pPr marL="171450" indent="-171450">
                        <a:buFont typeface="System Font Regular"/>
                        <a:buChar char="–"/>
                      </a:pPr>
                      <a:r>
                        <a:rPr lang="en-US" sz="1100"/>
                        <a:t>Faster exams of the ear and eye</a:t>
                      </a:r>
                    </a:p>
                    <a:p>
                      <a:pPr marL="171450" indent="-171450">
                        <a:buFont typeface="System Font Regular"/>
                        <a:buChar char="–"/>
                      </a:pPr>
                      <a:r>
                        <a:rPr lang="en-US" sz="1100"/>
                        <a:t>Ability to consult with experts and share data</a:t>
                      </a:r>
                    </a:p>
                    <a:p>
                      <a:pPr marL="171450" indent="-171450">
                        <a:buFont typeface="System Font Regular"/>
                        <a:buChar char="–"/>
                      </a:pPr>
                      <a:r>
                        <a:rPr lang="en-US" sz="1100"/>
                        <a:t>Document findings in EMR for tracking and improved patient care</a:t>
                      </a:r>
                    </a:p>
                  </a:txBody>
                  <a:tcPr marL="68580" marR="68580" marT="34290" marB="34290"/>
                </a:tc>
                <a:extLst>
                  <a:ext uri="{0D108BD9-81ED-4DB2-BD59-A6C34878D82A}">
                    <a16:rowId xmlns:a16="http://schemas.microsoft.com/office/drawing/2014/main" val="2761458023"/>
                  </a:ext>
                </a:extLst>
              </a:tr>
            </a:tbl>
          </a:graphicData>
        </a:graphic>
      </p:graphicFrame>
      <p:grpSp>
        <p:nvGrpSpPr>
          <p:cNvPr id="8" name="Group 7">
            <a:extLst>
              <a:ext uri="{FF2B5EF4-FFF2-40B4-BE49-F238E27FC236}">
                <a16:creationId xmlns:a16="http://schemas.microsoft.com/office/drawing/2014/main" id="{B5A0967D-E137-40CE-81D9-AB8BBCE50C02}"/>
              </a:ext>
            </a:extLst>
          </p:cNvPr>
          <p:cNvGrpSpPr/>
          <p:nvPr/>
        </p:nvGrpSpPr>
        <p:grpSpPr>
          <a:xfrm rot="5400000">
            <a:off x="7673830" y="2816290"/>
            <a:ext cx="554203" cy="664178"/>
            <a:chOff x="2654987" y="3310234"/>
            <a:chExt cx="1534935" cy="779633"/>
          </a:xfrm>
        </p:grpSpPr>
        <p:sp>
          <p:nvSpPr>
            <p:cNvPr id="9" name="Rectangle 59">
              <a:extLst>
                <a:ext uri="{FF2B5EF4-FFF2-40B4-BE49-F238E27FC236}">
                  <a16:creationId xmlns:a16="http://schemas.microsoft.com/office/drawing/2014/main" id="{3FC42633-F0D0-4364-92B1-4FCDF8473422}"/>
                </a:ext>
              </a:extLst>
            </p:cNvPr>
            <p:cNvSpPr/>
            <p:nvPr/>
          </p:nvSpPr>
          <p:spPr>
            <a:xfrm>
              <a:off x="2660303" y="3310234"/>
              <a:ext cx="1411533" cy="779633"/>
            </a:xfrm>
            <a:custGeom>
              <a:avLst/>
              <a:gdLst>
                <a:gd name="connsiteX0" fmla="*/ 0 w 1212200"/>
                <a:gd name="connsiteY0" fmla="*/ 0 h 551204"/>
                <a:gd name="connsiteX1" fmla="*/ 1212200 w 1212200"/>
                <a:gd name="connsiteY1" fmla="*/ 0 h 551204"/>
                <a:gd name="connsiteX2" fmla="*/ 1212200 w 1212200"/>
                <a:gd name="connsiteY2" fmla="*/ 551204 h 551204"/>
                <a:gd name="connsiteX3" fmla="*/ 0 w 1212200"/>
                <a:gd name="connsiteY3" fmla="*/ 551204 h 551204"/>
                <a:gd name="connsiteX4" fmla="*/ 0 w 1212200"/>
                <a:gd name="connsiteY4" fmla="*/ 0 h 551204"/>
                <a:gd name="connsiteX0" fmla="*/ 0 w 1213123"/>
                <a:gd name="connsiteY0" fmla="*/ 0 h 551204"/>
                <a:gd name="connsiteX1" fmla="*/ 1212200 w 1213123"/>
                <a:gd name="connsiteY1" fmla="*/ 0 h 551204"/>
                <a:gd name="connsiteX2" fmla="*/ 1213123 w 1213123"/>
                <a:gd name="connsiteY2" fmla="*/ 262411 h 551204"/>
                <a:gd name="connsiteX3" fmla="*/ 1212200 w 1213123"/>
                <a:gd name="connsiteY3" fmla="*/ 551204 h 551204"/>
                <a:gd name="connsiteX4" fmla="*/ 0 w 1213123"/>
                <a:gd name="connsiteY4" fmla="*/ 551204 h 551204"/>
                <a:gd name="connsiteX5" fmla="*/ 0 w 1213123"/>
                <a:gd name="connsiteY5" fmla="*/ 0 h 551204"/>
                <a:gd name="connsiteX0" fmla="*/ 0 w 1381659"/>
                <a:gd name="connsiteY0" fmla="*/ 0 h 551204"/>
                <a:gd name="connsiteX1" fmla="*/ 1212200 w 1381659"/>
                <a:gd name="connsiteY1" fmla="*/ 0 h 551204"/>
                <a:gd name="connsiteX2" fmla="*/ 1381659 w 1381659"/>
                <a:gd name="connsiteY2" fmla="*/ 273169 h 551204"/>
                <a:gd name="connsiteX3" fmla="*/ 1212200 w 1381659"/>
                <a:gd name="connsiteY3" fmla="*/ 551204 h 551204"/>
                <a:gd name="connsiteX4" fmla="*/ 0 w 1381659"/>
                <a:gd name="connsiteY4" fmla="*/ 551204 h 551204"/>
                <a:gd name="connsiteX5" fmla="*/ 0 w 1381659"/>
                <a:gd name="connsiteY5" fmla="*/ 0 h 551204"/>
                <a:gd name="connsiteX0" fmla="*/ 0 w 1389055"/>
                <a:gd name="connsiteY0" fmla="*/ 0 h 551204"/>
                <a:gd name="connsiteX1" fmla="*/ 1212200 w 1389055"/>
                <a:gd name="connsiteY1" fmla="*/ 0 h 551204"/>
                <a:gd name="connsiteX2" fmla="*/ 1381659 w 1389055"/>
                <a:gd name="connsiteY2" fmla="*/ 273169 h 551204"/>
                <a:gd name="connsiteX3" fmla="*/ 1212200 w 1389055"/>
                <a:gd name="connsiteY3" fmla="*/ 551204 h 551204"/>
                <a:gd name="connsiteX4" fmla="*/ 0 w 1389055"/>
                <a:gd name="connsiteY4" fmla="*/ 551204 h 551204"/>
                <a:gd name="connsiteX5" fmla="*/ 0 w 1389055"/>
                <a:gd name="connsiteY5" fmla="*/ 0 h 551204"/>
                <a:gd name="connsiteX0" fmla="*/ 0 w 1381659"/>
                <a:gd name="connsiteY0" fmla="*/ 0 h 551204"/>
                <a:gd name="connsiteX1" fmla="*/ 1212200 w 1381659"/>
                <a:gd name="connsiteY1" fmla="*/ 0 h 551204"/>
                <a:gd name="connsiteX2" fmla="*/ 1381659 w 1381659"/>
                <a:gd name="connsiteY2" fmla="*/ 273169 h 551204"/>
                <a:gd name="connsiteX3" fmla="*/ 1212200 w 1381659"/>
                <a:gd name="connsiteY3" fmla="*/ 551204 h 551204"/>
                <a:gd name="connsiteX4" fmla="*/ 0 w 1381659"/>
                <a:gd name="connsiteY4" fmla="*/ 551204 h 551204"/>
                <a:gd name="connsiteX5" fmla="*/ 0 w 1381659"/>
                <a:gd name="connsiteY5" fmla="*/ 0 h 551204"/>
                <a:gd name="connsiteX0" fmla="*/ 0 w 1381659"/>
                <a:gd name="connsiteY0" fmla="*/ 0 h 551204"/>
                <a:gd name="connsiteX1" fmla="*/ 1212200 w 1381659"/>
                <a:gd name="connsiteY1" fmla="*/ 0 h 551204"/>
                <a:gd name="connsiteX2" fmla="*/ 1381659 w 1381659"/>
                <a:gd name="connsiteY2" fmla="*/ 273169 h 551204"/>
                <a:gd name="connsiteX3" fmla="*/ 1212200 w 1381659"/>
                <a:gd name="connsiteY3" fmla="*/ 551204 h 551204"/>
                <a:gd name="connsiteX4" fmla="*/ 0 w 1381659"/>
                <a:gd name="connsiteY4" fmla="*/ 551204 h 551204"/>
                <a:gd name="connsiteX5" fmla="*/ 0 w 1381659"/>
                <a:gd name="connsiteY5" fmla="*/ 0 h 551204"/>
                <a:gd name="connsiteX0" fmla="*/ 0 w 1381662"/>
                <a:gd name="connsiteY0" fmla="*/ 0 h 551204"/>
                <a:gd name="connsiteX1" fmla="*/ 1212200 w 1381662"/>
                <a:gd name="connsiteY1" fmla="*/ 0 h 551204"/>
                <a:gd name="connsiteX2" fmla="*/ 1381659 w 1381662"/>
                <a:gd name="connsiteY2" fmla="*/ 273169 h 551204"/>
                <a:gd name="connsiteX3" fmla="*/ 1212200 w 1381662"/>
                <a:gd name="connsiteY3" fmla="*/ 551204 h 551204"/>
                <a:gd name="connsiteX4" fmla="*/ 0 w 1381662"/>
                <a:gd name="connsiteY4" fmla="*/ 551204 h 551204"/>
                <a:gd name="connsiteX5" fmla="*/ 0 w 1381662"/>
                <a:gd name="connsiteY5" fmla="*/ 0 h 551204"/>
                <a:gd name="connsiteX0" fmla="*/ 0 w 1381662"/>
                <a:gd name="connsiteY0" fmla="*/ 0 h 551204"/>
                <a:gd name="connsiteX1" fmla="*/ 1212200 w 1381662"/>
                <a:gd name="connsiteY1" fmla="*/ 0 h 551204"/>
                <a:gd name="connsiteX2" fmla="*/ 1381659 w 1381662"/>
                <a:gd name="connsiteY2" fmla="*/ 273169 h 551204"/>
                <a:gd name="connsiteX3" fmla="*/ 1212200 w 1381662"/>
                <a:gd name="connsiteY3" fmla="*/ 551204 h 551204"/>
                <a:gd name="connsiteX4" fmla="*/ 0 w 1381662"/>
                <a:gd name="connsiteY4" fmla="*/ 551204 h 551204"/>
                <a:gd name="connsiteX5" fmla="*/ 0 w 1381662"/>
                <a:gd name="connsiteY5" fmla="*/ 0 h 551204"/>
                <a:gd name="connsiteX0" fmla="*/ 0 w 1381662"/>
                <a:gd name="connsiteY0" fmla="*/ 0 h 551204"/>
                <a:gd name="connsiteX1" fmla="*/ 1212200 w 1381662"/>
                <a:gd name="connsiteY1" fmla="*/ 0 h 551204"/>
                <a:gd name="connsiteX2" fmla="*/ 1381659 w 1381662"/>
                <a:gd name="connsiteY2" fmla="*/ 273169 h 551204"/>
                <a:gd name="connsiteX3" fmla="*/ 1212200 w 1381662"/>
                <a:gd name="connsiteY3" fmla="*/ 551204 h 551204"/>
                <a:gd name="connsiteX4" fmla="*/ 0 w 1381662"/>
                <a:gd name="connsiteY4" fmla="*/ 551204 h 551204"/>
                <a:gd name="connsiteX5" fmla="*/ 0 w 1381662"/>
                <a:gd name="connsiteY5" fmla="*/ 0 h 551204"/>
                <a:gd name="connsiteX0" fmla="*/ 0 w 1381662"/>
                <a:gd name="connsiteY0" fmla="*/ 0 h 551204"/>
                <a:gd name="connsiteX1" fmla="*/ 1212200 w 1381662"/>
                <a:gd name="connsiteY1" fmla="*/ 0 h 551204"/>
                <a:gd name="connsiteX2" fmla="*/ 1381659 w 1381662"/>
                <a:gd name="connsiteY2" fmla="*/ 273169 h 551204"/>
                <a:gd name="connsiteX3" fmla="*/ 1212200 w 1381662"/>
                <a:gd name="connsiteY3" fmla="*/ 551204 h 551204"/>
                <a:gd name="connsiteX4" fmla="*/ 0 w 1381662"/>
                <a:gd name="connsiteY4" fmla="*/ 551204 h 551204"/>
                <a:gd name="connsiteX5" fmla="*/ 0 w 1381662"/>
                <a:gd name="connsiteY5" fmla="*/ 0 h 551204"/>
                <a:gd name="connsiteX0" fmla="*/ 0 w 1497364"/>
                <a:gd name="connsiteY0" fmla="*/ 0 h 551204"/>
                <a:gd name="connsiteX1" fmla="*/ 1212200 w 1497364"/>
                <a:gd name="connsiteY1" fmla="*/ 0 h 551204"/>
                <a:gd name="connsiteX2" fmla="*/ 1497364 w 1497364"/>
                <a:gd name="connsiteY2" fmla="*/ 277733 h 551204"/>
                <a:gd name="connsiteX3" fmla="*/ 1212200 w 1497364"/>
                <a:gd name="connsiteY3" fmla="*/ 551204 h 551204"/>
                <a:gd name="connsiteX4" fmla="*/ 0 w 1497364"/>
                <a:gd name="connsiteY4" fmla="*/ 551204 h 551204"/>
                <a:gd name="connsiteX5" fmla="*/ 0 w 1497364"/>
                <a:gd name="connsiteY5" fmla="*/ 0 h 551204"/>
                <a:gd name="connsiteX0" fmla="*/ 0 w 1497364"/>
                <a:gd name="connsiteY0" fmla="*/ 0 h 551204"/>
                <a:gd name="connsiteX1" fmla="*/ 1212200 w 1497364"/>
                <a:gd name="connsiteY1" fmla="*/ 0 h 551204"/>
                <a:gd name="connsiteX2" fmla="*/ 1497364 w 1497364"/>
                <a:gd name="connsiteY2" fmla="*/ 277733 h 551204"/>
                <a:gd name="connsiteX3" fmla="*/ 1212200 w 1497364"/>
                <a:gd name="connsiteY3" fmla="*/ 551204 h 551204"/>
                <a:gd name="connsiteX4" fmla="*/ 0 w 1497364"/>
                <a:gd name="connsiteY4" fmla="*/ 551204 h 551204"/>
                <a:gd name="connsiteX5" fmla="*/ 0 w 1497364"/>
                <a:gd name="connsiteY5" fmla="*/ 0 h 551204"/>
                <a:gd name="connsiteX0" fmla="*/ 0 w 1497364"/>
                <a:gd name="connsiteY0" fmla="*/ 0 h 551204"/>
                <a:gd name="connsiteX1" fmla="*/ 1212200 w 1497364"/>
                <a:gd name="connsiteY1" fmla="*/ 0 h 551204"/>
                <a:gd name="connsiteX2" fmla="*/ 1497364 w 1497364"/>
                <a:gd name="connsiteY2" fmla="*/ 277733 h 551204"/>
                <a:gd name="connsiteX3" fmla="*/ 1212200 w 1497364"/>
                <a:gd name="connsiteY3" fmla="*/ 551204 h 551204"/>
                <a:gd name="connsiteX4" fmla="*/ 0 w 1497364"/>
                <a:gd name="connsiteY4" fmla="*/ 551204 h 551204"/>
                <a:gd name="connsiteX5" fmla="*/ 0 w 1497364"/>
                <a:gd name="connsiteY5" fmla="*/ 0 h 551204"/>
                <a:gd name="connsiteX0" fmla="*/ 0 w 1832553"/>
                <a:gd name="connsiteY0" fmla="*/ 0 h 551204"/>
                <a:gd name="connsiteX1" fmla="*/ 1212200 w 1832553"/>
                <a:gd name="connsiteY1" fmla="*/ 0 h 551204"/>
                <a:gd name="connsiteX2" fmla="*/ 1832553 w 1832553"/>
                <a:gd name="connsiteY2" fmla="*/ 277733 h 551204"/>
                <a:gd name="connsiteX3" fmla="*/ 1212200 w 1832553"/>
                <a:gd name="connsiteY3" fmla="*/ 551204 h 551204"/>
                <a:gd name="connsiteX4" fmla="*/ 0 w 1832553"/>
                <a:gd name="connsiteY4" fmla="*/ 551204 h 551204"/>
                <a:gd name="connsiteX5" fmla="*/ 0 w 1832553"/>
                <a:gd name="connsiteY5" fmla="*/ 0 h 551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2553" h="551204">
                  <a:moveTo>
                    <a:pt x="0" y="0"/>
                  </a:moveTo>
                  <a:lnTo>
                    <a:pt x="1212200" y="0"/>
                  </a:lnTo>
                  <a:cubicBezTo>
                    <a:pt x="1363047" y="154841"/>
                    <a:pt x="1832847" y="281710"/>
                    <a:pt x="1832553" y="277733"/>
                  </a:cubicBezTo>
                  <a:cubicBezTo>
                    <a:pt x="1826735" y="287281"/>
                    <a:pt x="1350252" y="422993"/>
                    <a:pt x="1212200" y="551204"/>
                  </a:cubicBezTo>
                  <a:lnTo>
                    <a:pt x="0" y="551204"/>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102870" rIns="0" rtlCol="0" anchor="t" anchorCtr="0"/>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a:ln>
                    <a:noFill/>
                  </a:ln>
                  <a:solidFill>
                    <a:srgbClr val="FFFFFF"/>
                  </a:solidFill>
                  <a:effectLst/>
                  <a:uLnTx/>
                  <a:uFillTx/>
                  <a:latin typeface="Century Gothic" panose="020F0302020204030204"/>
                  <a:ea typeface="+mn-ea"/>
                  <a:cs typeface="+mn-cs"/>
                </a:rPr>
                <a:t>ADDRESSED</a:t>
              </a:r>
            </a:p>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a:ln>
                    <a:noFill/>
                  </a:ln>
                  <a:solidFill>
                    <a:srgbClr val="FFFFFF"/>
                  </a:solidFill>
                  <a:effectLst/>
                  <a:uLnTx/>
                  <a:uFillTx/>
                  <a:latin typeface="Century Gothic" panose="020F0302020204030204"/>
                  <a:ea typeface="+mn-ea"/>
                  <a:cs typeface="+mn-cs"/>
                </a:rPr>
                <a:t>BY</a:t>
              </a:r>
            </a:p>
          </p:txBody>
        </p:sp>
        <p:sp>
          <p:nvSpPr>
            <p:cNvPr id="10" name="Rectangle 61">
              <a:extLst>
                <a:ext uri="{FF2B5EF4-FFF2-40B4-BE49-F238E27FC236}">
                  <a16:creationId xmlns:a16="http://schemas.microsoft.com/office/drawing/2014/main" id="{B12FE0D2-5544-4EE3-AC00-540967C55C3F}"/>
                </a:ext>
              </a:extLst>
            </p:cNvPr>
            <p:cNvSpPr>
              <a:spLocks noChangeAspect="1"/>
            </p:cNvSpPr>
            <p:nvPr/>
          </p:nvSpPr>
          <p:spPr>
            <a:xfrm rot="2708826">
              <a:off x="3095732" y="2932585"/>
              <a:ext cx="653446" cy="1534935"/>
            </a:xfrm>
            <a:custGeom>
              <a:avLst/>
              <a:gdLst>
                <a:gd name="connsiteX0" fmla="*/ 0 w 946298"/>
                <a:gd name="connsiteY0" fmla="*/ 0 h 946298"/>
                <a:gd name="connsiteX1" fmla="*/ 946298 w 946298"/>
                <a:gd name="connsiteY1" fmla="*/ 0 h 946298"/>
                <a:gd name="connsiteX2" fmla="*/ 946298 w 946298"/>
                <a:gd name="connsiteY2" fmla="*/ 946298 h 946298"/>
                <a:gd name="connsiteX3" fmla="*/ 0 w 946298"/>
                <a:gd name="connsiteY3" fmla="*/ 946298 h 946298"/>
                <a:gd name="connsiteX4" fmla="*/ 0 w 946298"/>
                <a:gd name="connsiteY4" fmla="*/ 0 h 946298"/>
                <a:gd name="connsiteX0" fmla="*/ 0 w 946298"/>
                <a:gd name="connsiteY0" fmla="*/ 946298 h 1037738"/>
                <a:gd name="connsiteX1" fmla="*/ 0 w 946298"/>
                <a:gd name="connsiteY1" fmla="*/ 0 h 1037738"/>
                <a:gd name="connsiteX2" fmla="*/ 946298 w 946298"/>
                <a:gd name="connsiteY2" fmla="*/ 0 h 1037738"/>
                <a:gd name="connsiteX3" fmla="*/ 946298 w 946298"/>
                <a:gd name="connsiteY3" fmla="*/ 946298 h 1037738"/>
                <a:gd name="connsiteX4" fmla="*/ 91440 w 946298"/>
                <a:gd name="connsiteY4" fmla="*/ 1037738 h 1037738"/>
                <a:gd name="connsiteX0" fmla="*/ 0 w 946298"/>
                <a:gd name="connsiteY0" fmla="*/ 946298 h 946298"/>
                <a:gd name="connsiteX1" fmla="*/ 0 w 946298"/>
                <a:gd name="connsiteY1" fmla="*/ 0 h 946298"/>
                <a:gd name="connsiteX2" fmla="*/ 946298 w 946298"/>
                <a:gd name="connsiteY2" fmla="*/ 0 h 946298"/>
                <a:gd name="connsiteX3" fmla="*/ 946298 w 946298"/>
                <a:gd name="connsiteY3" fmla="*/ 946298 h 946298"/>
                <a:gd name="connsiteX0" fmla="*/ 0 w 946298"/>
                <a:gd name="connsiteY0" fmla="*/ 0 h 946298"/>
                <a:gd name="connsiteX1" fmla="*/ 946298 w 946298"/>
                <a:gd name="connsiteY1" fmla="*/ 0 h 946298"/>
                <a:gd name="connsiteX2" fmla="*/ 946298 w 946298"/>
                <a:gd name="connsiteY2" fmla="*/ 946298 h 946298"/>
                <a:gd name="connsiteX0" fmla="*/ 0 w 946298"/>
                <a:gd name="connsiteY0" fmla="*/ 0 h 946298"/>
                <a:gd name="connsiteX1" fmla="*/ 771682 w 946298"/>
                <a:gd name="connsiteY1" fmla="*/ 184754 h 946298"/>
                <a:gd name="connsiteX2" fmla="*/ 946298 w 946298"/>
                <a:gd name="connsiteY2" fmla="*/ 946298 h 946298"/>
                <a:gd name="connsiteX0" fmla="*/ 0 w 946298"/>
                <a:gd name="connsiteY0" fmla="*/ 0 h 946298"/>
                <a:gd name="connsiteX1" fmla="*/ 771682 w 946298"/>
                <a:gd name="connsiteY1" fmla="*/ 184754 h 946298"/>
                <a:gd name="connsiteX2" fmla="*/ 946298 w 946298"/>
                <a:gd name="connsiteY2" fmla="*/ 946298 h 946298"/>
                <a:gd name="connsiteX0" fmla="*/ 0 w 946298"/>
                <a:gd name="connsiteY0" fmla="*/ 0 h 946298"/>
                <a:gd name="connsiteX1" fmla="*/ 771682 w 946298"/>
                <a:gd name="connsiteY1" fmla="*/ 184754 h 946298"/>
                <a:gd name="connsiteX2" fmla="*/ 946298 w 946298"/>
                <a:gd name="connsiteY2" fmla="*/ 946298 h 946298"/>
                <a:gd name="connsiteX0" fmla="*/ 0 w 946298"/>
                <a:gd name="connsiteY0" fmla="*/ 0 h 946298"/>
                <a:gd name="connsiteX1" fmla="*/ 771682 w 946298"/>
                <a:gd name="connsiteY1" fmla="*/ 184754 h 946298"/>
                <a:gd name="connsiteX2" fmla="*/ 946298 w 946298"/>
                <a:gd name="connsiteY2" fmla="*/ 946298 h 946298"/>
                <a:gd name="connsiteX0" fmla="*/ 0 w 946298"/>
                <a:gd name="connsiteY0" fmla="*/ 0 h 946298"/>
                <a:gd name="connsiteX1" fmla="*/ 771682 w 946298"/>
                <a:gd name="connsiteY1" fmla="*/ 184754 h 946298"/>
                <a:gd name="connsiteX2" fmla="*/ 946298 w 946298"/>
                <a:gd name="connsiteY2" fmla="*/ 946298 h 946298"/>
                <a:gd name="connsiteX0" fmla="*/ 0 w 946298"/>
                <a:gd name="connsiteY0" fmla="*/ 0 h 946298"/>
                <a:gd name="connsiteX1" fmla="*/ 771682 w 946298"/>
                <a:gd name="connsiteY1" fmla="*/ 184754 h 946298"/>
                <a:gd name="connsiteX2" fmla="*/ 946298 w 946298"/>
                <a:gd name="connsiteY2" fmla="*/ 946298 h 946298"/>
                <a:gd name="connsiteX0" fmla="*/ 0 w 946298"/>
                <a:gd name="connsiteY0" fmla="*/ 0 h 946298"/>
                <a:gd name="connsiteX1" fmla="*/ 771682 w 946298"/>
                <a:gd name="connsiteY1" fmla="*/ 184754 h 946298"/>
                <a:gd name="connsiteX2" fmla="*/ 946298 w 946298"/>
                <a:gd name="connsiteY2" fmla="*/ 946298 h 946298"/>
              </a:gdLst>
              <a:ahLst/>
              <a:cxnLst>
                <a:cxn ang="0">
                  <a:pos x="connsiteX0" y="connsiteY0"/>
                </a:cxn>
                <a:cxn ang="0">
                  <a:pos x="connsiteX1" y="connsiteY1"/>
                </a:cxn>
                <a:cxn ang="0">
                  <a:pos x="connsiteX2" y="connsiteY2"/>
                </a:cxn>
              </a:cxnLst>
              <a:rect l="l" t="t" r="r" b="b"/>
              <a:pathLst>
                <a:path w="946298" h="946298">
                  <a:moveTo>
                    <a:pt x="0" y="0"/>
                  </a:moveTo>
                  <a:lnTo>
                    <a:pt x="771682" y="184754"/>
                  </a:lnTo>
                  <a:cubicBezTo>
                    <a:pt x="846684" y="493611"/>
                    <a:pt x="891195" y="704727"/>
                    <a:pt x="946298" y="946298"/>
                  </a:cubicBezTo>
                </a:path>
              </a:pathLst>
            </a:custGeom>
            <a:noFill/>
            <a:ln w="88900"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grpSp>
      <p:graphicFrame>
        <p:nvGraphicFramePr>
          <p:cNvPr id="11" name="Table 10">
            <a:extLst>
              <a:ext uri="{FF2B5EF4-FFF2-40B4-BE49-F238E27FC236}">
                <a16:creationId xmlns:a16="http://schemas.microsoft.com/office/drawing/2014/main" id="{4AEAE1CE-9BD0-44E2-A4E7-5C738C636E58}"/>
              </a:ext>
            </a:extLst>
          </p:cNvPr>
          <p:cNvGraphicFramePr>
            <a:graphicFrameLocks noGrp="1"/>
          </p:cNvGraphicFramePr>
          <p:nvPr/>
        </p:nvGraphicFramePr>
        <p:xfrm>
          <a:off x="5573960" y="3425479"/>
          <a:ext cx="4772675" cy="2148840"/>
        </p:xfrm>
        <a:graphic>
          <a:graphicData uri="http://schemas.openxmlformats.org/drawingml/2006/table">
            <a:tbl>
              <a:tblPr firstRow="1" bandRow="1">
                <a:tableStyleId>{B301B821-A1FF-4177-AEE7-76D212191A09}</a:tableStyleId>
              </a:tblPr>
              <a:tblGrid>
                <a:gridCol w="4772675">
                  <a:extLst>
                    <a:ext uri="{9D8B030D-6E8A-4147-A177-3AD203B41FA5}">
                      <a16:colId xmlns:a16="http://schemas.microsoft.com/office/drawing/2014/main" val="3362458535"/>
                    </a:ext>
                  </a:extLst>
                </a:gridCol>
              </a:tblGrid>
              <a:tr h="228600">
                <a:tc>
                  <a:txBody>
                    <a:bodyPr/>
                    <a:lstStyle/>
                    <a:p>
                      <a:pPr algn="ctr"/>
                      <a:r>
                        <a:rPr lang="en-US" sz="1100" spc="100" baseline="0"/>
                        <a:t>SOLUTION DESCRIPTION</a:t>
                      </a:r>
                    </a:p>
                  </a:txBody>
                  <a:tcPr marL="68580" marR="68580" marT="34290" marB="34290"/>
                </a:tc>
                <a:extLst>
                  <a:ext uri="{0D108BD9-81ED-4DB2-BD59-A6C34878D82A}">
                    <a16:rowId xmlns:a16="http://schemas.microsoft.com/office/drawing/2014/main" val="3618320890"/>
                  </a:ext>
                </a:extLst>
              </a:tr>
              <a:tr h="1828800">
                <a:tc>
                  <a:txBody>
                    <a:bodyPr/>
                    <a:lstStyle/>
                    <a:p>
                      <a:pPr marL="0" indent="0">
                        <a:buFontTx/>
                        <a:buNone/>
                      </a:pPr>
                      <a:r>
                        <a:rPr lang="en-US" sz="1100" b="1"/>
                        <a:t>NEW MacroView digital otoscope, with clear ear specula</a:t>
                      </a:r>
                    </a:p>
                    <a:p>
                      <a:pPr marL="171450" marR="0" lvl="0" indent="-171450" algn="l" defTabSz="914400" rtl="0" eaLnBrk="1" fontAlgn="auto" latinLnBrk="0" hangingPunct="1">
                        <a:lnSpc>
                          <a:spcPct val="100000"/>
                        </a:lnSpc>
                        <a:spcBef>
                          <a:spcPts val="0"/>
                        </a:spcBef>
                        <a:spcAft>
                          <a:spcPts val="0"/>
                        </a:spcAft>
                        <a:buClrTx/>
                        <a:buSzTx/>
                        <a:buFont typeface="System Font Regular"/>
                        <a:buChar char="–"/>
                        <a:tabLst/>
                        <a:defRPr/>
                      </a:pPr>
                      <a:r>
                        <a:rPr lang="en-US" sz="1100" kern="1200">
                          <a:solidFill>
                            <a:schemeClr val="dk1"/>
                          </a:solidFill>
                          <a:latin typeface="+mn-lt"/>
                          <a:ea typeface="+mn-ea"/>
                          <a:cs typeface="+mn-cs"/>
                        </a:rPr>
                        <a:t>3x field of view and 3x the light for a larger, clearer ear exam</a:t>
                      </a:r>
                    </a:p>
                    <a:p>
                      <a:pPr marL="0" indent="0">
                        <a:buFontTx/>
                        <a:buNone/>
                      </a:pPr>
                      <a:r>
                        <a:rPr lang="en-US" sz="1100" b="1"/>
                        <a:t>NEW PanOptic digital ophthalmoscope</a:t>
                      </a:r>
                    </a:p>
                    <a:p>
                      <a:pPr marL="171450" indent="-171450">
                        <a:buFont typeface="System Font Regular"/>
                        <a:buChar char="–"/>
                      </a:pPr>
                      <a:r>
                        <a:rPr lang="en-US" sz="1100"/>
                        <a:t>20x field of view of eye, with quick to learn design</a:t>
                      </a:r>
                    </a:p>
                    <a:p>
                      <a:pPr marL="171450" indent="-171450">
                        <a:buFont typeface="System Font Regular"/>
                        <a:buChar char="–"/>
                      </a:pPr>
                      <a:r>
                        <a:rPr lang="en-US" sz="1100"/>
                        <a:t>Quick disc alignment for faster ophthalmoscope learning</a:t>
                      </a:r>
                    </a:p>
                    <a:p>
                      <a:pPr marL="0" indent="0" algn="l">
                        <a:buFontTx/>
                        <a:buNone/>
                      </a:pPr>
                      <a:r>
                        <a:rPr lang="en-US" sz="1100" b="1"/>
                        <a:t>Digital “Plus” for both</a:t>
                      </a:r>
                    </a:p>
                    <a:p>
                      <a:pPr marL="171450" indent="-171450">
                        <a:buFont typeface="System Font Regular"/>
                        <a:buChar char="–"/>
                      </a:pPr>
                      <a:r>
                        <a:rPr lang="en-US" sz="1100"/>
                        <a:t>Ability to quickly digitize every ophthalmoscope and otoscope in your practice</a:t>
                      </a:r>
                    </a:p>
                    <a:p>
                      <a:pPr marL="0" indent="0">
                        <a:buFont typeface="System Font Regular"/>
                        <a:buNone/>
                      </a:pPr>
                      <a:r>
                        <a:rPr lang="en-US" sz="1100" b="1"/>
                        <a:t>Update existing sets on contracts</a:t>
                      </a:r>
                    </a:p>
                    <a:p>
                      <a:pPr marL="171450" indent="-171450">
                        <a:buFont typeface="System Font Regular"/>
                        <a:buChar char="–"/>
                      </a:pPr>
                      <a:r>
                        <a:rPr lang="en-US" sz="1100"/>
                        <a:t>Replaces MacroView, 250 otoscope, PanOptic, and Li-Ion handles and chargers</a:t>
                      </a:r>
                    </a:p>
                  </a:txBody>
                  <a:tcPr marL="68580" marR="68580" marT="34290" marB="34290"/>
                </a:tc>
                <a:extLst>
                  <a:ext uri="{0D108BD9-81ED-4DB2-BD59-A6C34878D82A}">
                    <a16:rowId xmlns:a16="http://schemas.microsoft.com/office/drawing/2014/main" val="2761458023"/>
                  </a:ext>
                </a:extLst>
              </a:tr>
            </a:tbl>
          </a:graphicData>
        </a:graphic>
      </p:graphicFrame>
      <p:pic>
        <p:nvPicPr>
          <p:cNvPr id="12" name="Picture 11" descr="A picture containing indoor, table, sitting, white&#10;&#10;Description automatically generated">
            <a:extLst>
              <a:ext uri="{FF2B5EF4-FFF2-40B4-BE49-F238E27FC236}">
                <a16:creationId xmlns:a16="http://schemas.microsoft.com/office/drawing/2014/main" id="{9EE2E1F7-23DF-4FA3-90AE-303DD45419B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39763" y="1683759"/>
            <a:ext cx="3912370" cy="3912370"/>
          </a:xfrm>
          <a:prstGeom prst="rect">
            <a:avLst/>
          </a:prstGeom>
        </p:spPr>
      </p:pic>
    </p:spTree>
    <p:extLst>
      <p:ext uri="{BB962C8B-B14F-4D97-AF65-F5344CB8AC3E}">
        <p14:creationId xmlns:p14="http://schemas.microsoft.com/office/powerpoint/2010/main" val="36707678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43"/>
        <p:cNvGrpSpPr/>
        <p:nvPr/>
      </p:nvGrpSpPr>
      <p:grpSpPr>
        <a:xfrm>
          <a:off x="0" y="0"/>
          <a:ext cx="0" cy="0"/>
          <a:chOff x="0" y="0"/>
          <a:chExt cx="0" cy="0"/>
        </a:xfrm>
      </p:grpSpPr>
      <p:sp>
        <p:nvSpPr>
          <p:cNvPr id="20" name="Shape 251">
            <a:extLst>
              <a:ext uri="{FF2B5EF4-FFF2-40B4-BE49-F238E27FC236}">
                <a16:creationId xmlns:a16="http://schemas.microsoft.com/office/drawing/2014/main" id="{20AC548D-073F-4648-8FD8-6D49DC2F1BD8}"/>
              </a:ext>
            </a:extLst>
          </p:cNvPr>
          <p:cNvSpPr txBox="1"/>
          <p:nvPr/>
        </p:nvSpPr>
        <p:spPr>
          <a:xfrm>
            <a:off x="1550660" y="370014"/>
            <a:ext cx="7103503" cy="584700"/>
          </a:xfrm>
          <a:prstGeom prst="rect">
            <a:avLst/>
          </a:prstGeom>
          <a:noFill/>
          <a:ln>
            <a:noFill/>
          </a:ln>
        </p:spPr>
        <p:txBody>
          <a:bodyPr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ct val="25000"/>
              <a:buFontTx/>
              <a:buNone/>
              <a:tabLst/>
              <a:defRPr/>
            </a:pPr>
            <a:r>
              <a:rPr kumimoji="0" lang="en-US" sz="2400" b="1" i="0" u="none" strike="noStrike" kern="1200" cap="none" spc="0" normalizeH="0" baseline="0" noProof="0" dirty="0">
                <a:ln>
                  <a:noFill/>
                </a:ln>
                <a:solidFill>
                  <a:prstClr val="black"/>
                </a:solidFill>
                <a:effectLst/>
                <a:uLnTx/>
                <a:uFillTx/>
                <a:latin typeface="Century Gothic" panose="020F0302020204030204"/>
                <a:ea typeface="+mn-ea"/>
                <a:cs typeface="+mn-cs"/>
              </a:rPr>
              <a:t>10+ Technologies Make the New PanOptic and MacroView Truly Amazing</a:t>
            </a:r>
          </a:p>
          <a:p>
            <a:pPr marL="0" marR="0" lvl="0" indent="0" algn="ctr" defTabSz="914400" rtl="0" eaLnBrk="1" fontAlgn="auto" latinLnBrk="0" hangingPunct="1">
              <a:lnSpc>
                <a:spcPct val="100000"/>
              </a:lnSpc>
              <a:spcBef>
                <a:spcPts val="0"/>
              </a:spcBef>
              <a:spcAft>
                <a:spcPts val="0"/>
              </a:spcAft>
              <a:buClr>
                <a:srgbClr val="000000"/>
              </a:buClr>
              <a:buSzPct val="25000"/>
              <a:buFontTx/>
              <a:buNone/>
              <a:tabLst/>
              <a:defRPr/>
            </a:pPr>
            <a:r>
              <a:rPr kumimoji="0" lang="en-US" sz="1200" b="0" i="0" u="none" strike="noStrike" kern="1200" cap="none" spc="0" normalizeH="0" baseline="0" noProof="0" dirty="0">
                <a:ln>
                  <a:noFill/>
                </a:ln>
                <a:solidFill>
                  <a:prstClr val="black"/>
                </a:solidFill>
                <a:effectLst/>
                <a:uLnTx/>
                <a:uFillTx/>
                <a:latin typeface="Century Gothic" panose="020F0302020204030204"/>
                <a:ea typeface="+mn-ea"/>
                <a:cs typeface="+mn-cs"/>
              </a:rPr>
              <a:t>PanOptic Basic &amp; PanOptic Plus</a:t>
            </a:r>
          </a:p>
          <a:p>
            <a:pPr marL="0" marR="0" lvl="0" indent="0" algn="ctr" defTabSz="914400" rtl="0" eaLnBrk="1" fontAlgn="auto" latinLnBrk="0" hangingPunct="1">
              <a:lnSpc>
                <a:spcPct val="100000"/>
              </a:lnSpc>
              <a:spcBef>
                <a:spcPts val="0"/>
              </a:spcBef>
              <a:spcAft>
                <a:spcPts val="0"/>
              </a:spcAft>
              <a:buClr>
                <a:srgbClr val="000000"/>
              </a:buClr>
              <a:buSzPct val="25000"/>
              <a:buFontTx/>
              <a:buNone/>
              <a:tabLst/>
              <a:defRPr/>
            </a:pPr>
            <a:r>
              <a:rPr kumimoji="0" lang="en-US" sz="1200" b="0" i="0" u="none" strike="noStrike" kern="1200" cap="none" spc="0" normalizeH="0" baseline="0" noProof="0" dirty="0">
                <a:ln>
                  <a:noFill/>
                </a:ln>
                <a:solidFill>
                  <a:prstClr val="black"/>
                </a:solidFill>
                <a:effectLst/>
                <a:uLnTx/>
                <a:uFillTx/>
                <a:latin typeface="Century Gothic" panose="020F0302020204030204"/>
                <a:ea typeface="+mn-ea"/>
                <a:cs typeface="+mn-cs"/>
              </a:rPr>
              <a:t>MacroView Basic &amp; MacroView Plus</a:t>
            </a:r>
          </a:p>
        </p:txBody>
      </p:sp>
      <p:grpSp>
        <p:nvGrpSpPr>
          <p:cNvPr id="26" name="Group 25">
            <a:extLst>
              <a:ext uri="{FF2B5EF4-FFF2-40B4-BE49-F238E27FC236}">
                <a16:creationId xmlns:a16="http://schemas.microsoft.com/office/drawing/2014/main" id="{EC710C32-6F4E-41DB-B2EC-881FB4B546AA}"/>
              </a:ext>
            </a:extLst>
          </p:cNvPr>
          <p:cNvGrpSpPr/>
          <p:nvPr/>
        </p:nvGrpSpPr>
        <p:grpSpPr>
          <a:xfrm>
            <a:off x="1681419" y="2955782"/>
            <a:ext cx="2273525" cy="388325"/>
            <a:chOff x="7998291" y="1907030"/>
            <a:chExt cx="3031366" cy="517767"/>
          </a:xfrm>
        </p:grpSpPr>
        <p:cxnSp>
          <p:nvCxnSpPr>
            <p:cNvPr id="27" name="Straight Arrow Connector 26">
              <a:extLst>
                <a:ext uri="{FF2B5EF4-FFF2-40B4-BE49-F238E27FC236}">
                  <a16:creationId xmlns:a16="http://schemas.microsoft.com/office/drawing/2014/main" id="{800E57DC-BB64-42BA-8DA8-E0A072F8B4AB}"/>
                </a:ext>
              </a:extLst>
            </p:cNvPr>
            <p:cNvCxnSpPr>
              <a:cxnSpLocks/>
            </p:cNvCxnSpPr>
            <p:nvPr/>
          </p:nvCxnSpPr>
          <p:spPr>
            <a:xfrm flipV="1">
              <a:off x="9982163" y="1907030"/>
              <a:ext cx="1047494" cy="260554"/>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9FA31587-05B3-44F1-9AFF-1E23744C7BA3}"/>
                </a:ext>
              </a:extLst>
            </p:cNvPr>
            <p:cNvSpPr txBox="1"/>
            <p:nvPr/>
          </p:nvSpPr>
          <p:spPr>
            <a:xfrm>
              <a:off x="7998291" y="1986129"/>
              <a:ext cx="2061056" cy="438668"/>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
                  <a:srgbClr val="000000"/>
                </a:buClr>
                <a:buSzPct val="25000"/>
                <a:buFontTx/>
                <a:buNone/>
                <a:tabLst/>
                <a:defRPr/>
              </a:pPr>
              <a:r>
                <a:rPr kumimoji="0" lang="en-US" sz="788" b="0" i="0" u="none" strike="noStrike" kern="1200" cap="all" spc="0" normalizeH="0" baseline="0" noProof="0" dirty="0">
                  <a:ln>
                    <a:noFill/>
                  </a:ln>
                  <a:solidFill>
                    <a:prstClr val="white">
                      <a:lumMod val="50000"/>
                    </a:prstClr>
                  </a:solidFill>
                  <a:effectLst/>
                  <a:uLnTx/>
                  <a:uFillTx/>
                  <a:latin typeface="Century Gothic" panose="020F0302020204030204"/>
                  <a:ea typeface="+mn-ea"/>
                  <a:cs typeface="+mn-cs"/>
                  <a:sym typeface="Arial"/>
                </a:rPr>
                <a:t>7. </a:t>
              </a:r>
              <a:r>
                <a:rPr kumimoji="0" lang="en-US" sz="750" b="0" i="0" u="none" strike="noStrike" kern="1200" cap="all" spc="0" normalizeH="0" baseline="0" noProof="0" dirty="0">
                  <a:ln>
                    <a:noFill/>
                  </a:ln>
                  <a:solidFill>
                    <a:prstClr val="white">
                      <a:lumMod val="50000"/>
                    </a:prstClr>
                  </a:solidFill>
                  <a:effectLst/>
                  <a:uLnTx/>
                  <a:uFillTx/>
                  <a:latin typeface="Century Gothic" panose="020F0302020204030204"/>
                  <a:ea typeface="+mn-ea"/>
                  <a:cs typeface="+mn-cs"/>
                  <a:sym typeface="Arial"/>
                </a:rPr>
                <a:t>Quick Eye™ Alignment Technology (Plus only)</a:t>
              </a:r>
            </a:p>
          </p:txBody>
        </p:sp>
      </p:grpSp>
      <p:grpSp>
        <p:nvGrpSpPr>
          <p:cNvPr id="4" name="Group 3">
            <a:extLst>
              <a:ext uri="{FF2B5EF4-FFF2-40B4-BE49-F238E27FC236}">
                <a16:creationId xmlns:a16="http://schemas.microsoft.com/office/drawing/2014/main" id="{2D30FD65-0F29-4BD7-9536-717997190281}"/>
              </a:ext>
            </a:extLst>
          </p:cNvPr>
          <p:cNvGrpSpPr/>
          <p:nvPr/>
        </p:nvGrpSpPr>
        <p:grpSpPr>
          <a:xfrm>
            <a:off x="3813972" y="2516619"/>
            <a:ext cx="1718992" cy="4623938"/>
            <a:chOff x="6278586" y="1251776"/>
            <a:chExt cx="2291989" cy="6165251"/>
          </a:xfrm>
        </p:grpSpPr>
        <p:pic>
          <p:nvPicPr>
            <p:cNvPr id="1026" name="Picture 2" descr="A picture containing object&#10;&#10;Description automatically generated">
              <a:extLst>
                <a:ext uri="{FF2B5EF4-FFF2-40B4-BE49-F238E27FC236}">
                  <a16:creationId xmlns:a16="http://schemas.microsoft.com/office/drawing/2014/main" id="{7D1ECB3E-695C-4722-AFEB-414499E9979B}"/>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278586" y="1251776"/>
              <a:ext cx="2291989" cy="6165251"/>
            </a:xfrm>
            <a:prstGeom prst="rect">
              <a:avLst/>
            </a:prstGeom>
            <a:noFill/>
            <a:extLst>
              <a:ext uri="{909E8E84-426E-40DD-AFC4-6F175D3DCCD1}">
                <a14:hiddenFill xmlns:a14="http://schemas.microsoft.com/office/drawing/2010/main">
                  <a:solidFill>
                    <a:srgbClr val="FFFFFF"/>
                  </a:solidFill>
                </a14:hiddenFill>
              </a:ext>
            </a:extLst>
          </p:spPr>
        </p:pic>
        <p:cxnSp>
          <p:nvCxnSpPr>
            <p:cNvPr id="30" name="Straight Connector 29">
              <a:extLst>
                <a:ext uri="{FF2B5EF4-FFF2-40B4-BE49-F238E27FC236}">
                  <a16:creationId xmlns:a16="http://schemas.microsoft.com/office/drawing/2014/main" id="{8C07607D-C85C-4151-BE0B-D8785844DFAD}"/>
                </a:ext>
              </a:extLst>
            </p:cNvPr>
            <p:cNvCxnSpPr>
              <a:cxnSpLocks/>
            </p:cNvCxnSpPr>
            <p:nvPr/>
          </p:nvCxnSpPr>
          <p:spPr>
            <a:xfrm>
              <a:off x="6564511" y="1751126"/>
              <a:ext cx="0" cy="96329"/>
            </a:xfrm>
            <a:prstGeom prst="line">
              <a:avLst/>
            </a:prstGeom>
            <a:ln w="76200">
              <a:solidFill>
                <a:srgbClr val="FF6600"/>
              </a:solidFill>
            </a:ln>
            <a:effectLst>
              <a:glow rad="228600">
                <a:srgbClr val="FFFF00">
                  <a:alpha val="40000"/>
                </a:srgbClr>
              </a:glow>
            </a:effectLst>
          </p:spPr>
          <p:style>
            <a:lnRef idx="1">
              <a:schemeClr val="accent2"/>
            </a:lnRef>
            <a:fillRef idx="0">
              <a:schemeClr val="accent2"/>
            </a:fillRef>
            <a:effectRef idx="0">
              <a:schemeClr val="accent2"/>
            </a:effectRef>
            <a:fontRef idx="minor">
              <a:schemeClr val="tx1"/>
            </a:fontRef>
          </p:style>
        </p:cxnSp>
      </p:grpSp>
      <p:pic>
        <p:nvPicPr>
          <p:cNvPr id="46" name="Picture 8" descr="https://attachments.office.net/owa/Dave.Perkins@WelchAllyn.Com/service.svc/s/GetAttachmentThumbnail?id=AQMkAGQ4NmZkNmQxLTk3MGQtNGE5Yi1hYmQ1LWNjAWJjYmQ1YTNhNgBGAAADWr4z0jb2qU2tc9hILupq4gcAIGmeKwqrPkasAqFDicKYiQAAAgEMAAAA5%2FDCtwkaH0KevCQJ0wInOQAB5x7UmgAAAAESABAA6u4MZFB%2Fgk%2BaGJcHPjL4Gg%3D%3D&amp;thumbnailType=2&amp;owa=outlook.office.com&amp;scriptVer=2019052002.02&amp;X-OWA-CANARY=3nR3inbInUKEETwy4jSPvZD72g_H5dYYF7bpvi5gulhQXXcm_jx8jnwLljGqdYxcX5YrVPxAO44.&amp;token=eyJhbGciOiJSUzI1NiIsImtpZCI6IjA2MDBGOUY2NzQ2MjA3MzdFNzM0MDRFMjg3QzQ1QTgxOENCN0NFQjgiLCJ4NXQiOiJCZ0Q1OW5SaUJ6Zm5OQVRpaDhSYWdZeTN6cmciLCJ0eXAiOiJKV1QifQ.eyJpbl9jb3JwIjoidHJ1ZSIsInZlciI6IkV4Y2hhbmdlLkNhbGxiYWNrLlYxIiwiYXBwY3R4c2VuZGVyIjoiT3dhRG93bmxvYWRAZjRkY2RiMjItYTRjNy00ZjRjLWEzOTAtMTk1NDM2NWI4MjhjIiwiYXBwY3R4Ijoie1wibXNleGNocHJvdFwiOlwib3dhXCIsXCJwcmltYXJ5c2lkXCI6XCJTLTEtNS0yMS0xMTQ3MDE3NzE2LTM2NTg4MjIxMDYtMzAzMTQ4NzI3MS0xMTQ1MDA0NVwiLFwicHVpZFwiOlwiMTE1Mzc2NTkzMjA1NDAzNTU4MVwiLFwib2lkXCI6XCIwNmUzOTM0OS1jOTU5LTRjNzgtYTE2OC0wNjQxZDA0NjNhNWZcIixcInNjb3BlXCI6XCJPd2FEb3dubG9hZFwifSIsIm5iZiI6MTU1OTMwNzA4NCwiZXhwIjoxNTU5MzA3Njg0LCJpc3MiOiIwMDAwMDAwMi0wMDAwLTBmZjEtY2UwMC0wMDAwMDAwMDAwMDBAZjRkY2RiMjItYTRjNy00ZjRjLWEzOTAtMTk1NDM2NWI4MjhjIiwiYXVkIjoiMDAwMDAwMDItMDAwMC0wZmYxLWNlMDAtMDAwMDAwMDAwMDAwL2F0dGFjaG1lbnRzLm9mZmljZS5uZXRAZjRkY2RiMjItYTRjNy00ZjRjLWEzOTAtMTk1NDM2NWI4MjhjIn0.s6xy0AsShNfnhu7dyaNJxXzqL8MQnnN79bmnHfqddiKoLpo_ZCde_Hrvbfm35lR7qob9gqAg46KRb0XwAN5xTVdRrD88VFDuX7aPNoonfdXGmgeQu0vuUNxbTVq9QRKqI2TNQCUJsRnsA9SpV2nIcQJvj0RD0A-QGnAnf2C2cSvu3vgLCmcOor_-rYZFQBsB_V64SF23LtnpQs_0GYTX-mojDZSEgZ3_5b3pFLHSWqGhCPA6hcVuzU3X_Wd3zIeJFyHgTokp67lxqDHXwIOz2O1N_VcvX6YS-Hs13k4tx45aq4mwSVtK9EMhVnzT01Mp2Yqiq1CyXrJYhaRteRkZvA&amp;animation=true">
            <a:extLst>
              <a:ext uri="{FF2B5EF4-FFF2-40B4-BE49-F238E27FC236}">
                <a16:creationId xmlns:a16="http://schemas.microsoft.com/office/drawing/2014/main" id="{EFB5CDA0-3154-4A17-B27F-C28C703B4A8F}"/>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b="-607"/>
          <a:stretch/>
        </p:blipFill>
        <p:spPr bwMode="auto">
          <a:xfrm>
            <a:off x="8519944" y="1056756"/>
            <a:ext cx="1638701" cy="5143500"/>
          </a:xfrm>
          <a:prstGeom prst="rect">
            <a:avLst/>
          </a:prstGeom>
          <a:noFill/>
          <a:extLst>
            <a:ext uri="{909E8E84-426E-40DD-AFC4-6F175D3DCCD1}">
              <a14:hiddenFill xmlns:a14="http://schemas.microsoft.com/office/drawing/2010/main">
                <a:solidFill>
                  <a:srgbClr val="FFFFFF"/>
                </a:solidFill>
              </a14:hiddenFill>
            </a:ext>
          </a:extLst>
        </p:spPr>
      </p:pic>
      <p:grpSp>
        <p:nvGrpSpPr>
          <p:cNvPr id="21" name="Group 20">
            <a:extLst>
              <a:ext uri="{FF2B5EF4-FFF2-40B4-BE49-F238E27FC236}">
                <a16:creationId xmlns:a16="http://schemas.microsoft.com/office/drawing/2014/main" id="{C11A07FB-B459-43BD-B37B-040992C39FA9}"/>
              </a:ext>
            </a:extLst>
          </p:cNvPr>
          <p:cNvGrpSpPr/>
          <p:nvPr/>
        </p:nvGrpSpPr>
        <p:grpSpPr>
          <a:xfrm>
            <a:off x="5134952" y="3414469"/>
            <a:ext cx="3911811" cy="1048877"/>
            <a:chOff x="4814601" y="3409624"/>
            <a:chExt cx="5215748" cy="1398502"/>
          </a:xfrm>
        </p:grpSpPr>
        <p:grpSp>
          <p:nvGrpSpPr>
            <p:cNvPr id="52" name="Group 51">
              <a:extLst>
                <a:ext uri="{FF2B5EF4-FFF2-40B4-BE49-F238E27FC236}">
                  <a16:creationId xmlns:a16="http://schemas.microsoft.com/office/drawing/2014/main" id="{5ED4505B-0E99-4ACF-9C1C-7C9BC4BD93E4}"/>
                </a:ext>
              </a:extLst>
            </p:cNvPr>
            <p:cNvGrpSpPr/>
            <p:nvPr/>
          </p:nvGrpSpPr>
          <p:grpSpPr>
            <a:xfrm>
              <a:off x="4814601" y="3524092"/>
              <a:ext cx="3956277" cy="1284034"/>
              <a:chOff x="5322744" y="2291199"/>
              <a:chExt cx="3956277" cy="1284034"/>
            </a:xfrm>
          </p:grpSpPr>
          <p:cxnSp>
            <p:nvCxnSpPr>
              <p:cNvPr id="53" name="Straight Arrow Connector 52">
                <a:extLst>
                  <a:ext uri="{FF2B5EF4-FFF2-40B4-BE49-F238E27FC236}">
                    <a16:creationId xmlns:a16="http://schemas.microsoft.com/office/drawing/2014/main" id="{456CE450-41CF-4A21-A4F1-192F318F8884}"/>
                  </a:ext>
                </a:extLst>
              </p:cNvPr>
              <p:cNvCxnSpPr>
                <a:cxnSpLocks/>
              </p:cNvCxnSpPr>
              <p:nvPr/>
            </p:nvCxnSpPr>
            <p:spPr>
              <a:xfrm flipH="1">
                <a:off x="5322744" y="2703907"/>
                <a:ext cx="2926654" cy="871326"/>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58C2C604-85A1-4A14-B377-A2C5C91EB0EC}"/>
                  </a:ext>
                </a:extLst>
              </p:cNvPr>
              <p:cNvSpPr txBox="1"/>
              <p:nvPr/>
            </p:nvSpPr>
            <p:spPr>
              <a:xfrm>
                <a:off x="8171181" y="2291199"/>
                <a:ext cx="1107840" cy="58477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all" spc="0" normalizeH="0" baseline="0" noProof="0" dirty="0">
                    <a:ln>
                      <a:noFill/>
                    </a:ln>
                    <a:solidFill>
                      <a:prstClr val="white">
                        <a:lumMod val="50000"/>
                      </a:prstClr>
                    </a:solidFill>
                    <a:effectLst/>
                    <a:uLnTx/>
                    <a:uFillTx/>
                    <a:latin typeface="Century Gothic" panose="020F0302020204030204"/>
                    <a:ea typeface="+mn-ea"/>
                    <a:cs typeface="+mn-cs"/>
                  </a:rPr>
                  <a:t>5. Quick brightness adjustment</a:t>
                </a:r>
              </a:p>
            </p:txBody>
          </p:sp>
        </p:grpSp>
        <p:cxnSp>
          <p:nvCxnSpPr>
            <p:cNvPr id="55" name="Straight Arrow Connector 54">
              <a:extLst>
                <a:ext uri="{FF2B5EF4-FFF2-40B4-BE49-F238E27FC236}">
                  <a16:creationId xmlns:a16="http://schemas.microsoft.com/office/drawing/2014/main" id="{DD31DF33-CEE6-468F-B672-C919599D9992}"/>
                </a:ext>
              </a:extLst>
            </p:cNvPr>
            <p:cNvCxnSpPr>
              <a:cxnSpLocks/>
            </p:cNvCxnSpPr>
            <p:nvPr/>
          </p:nvCxnSpPr>
          <p:spPr>
            <a:xfrm flipV="1">
              <a:off x="8548307" y="3409624"/>
              <a:ext cx="1482042" cy="267856"/>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92D4FFF5-1CEB-4D9C-BA34-31B3D888F8A9}"/>
              </a:ext>
            </a:extLst>
          </p:cNvPr>
          <p:cNvGrpSpPr/>
          <p:nvPr/>
        </p:nvGrpSpPr>
        <p:grpSpPr>
          <a:xfrm>
            <a:off x="7750029" y="1922708"/>
            <a:ext cx="1008701" cy="428613"/>
            <a:chOff x="8301370" y="1420609"/>
            <a:chExt cx="1344935" cy="571483"/>
          </a:xfrm>
        </p:grpSpPr>
        <p:cxnSp>
          <p:nvCxnSpPr>
            <p:cNvPr id="56" name="Straight Arrow Connector 55">
              <a:extLst>
                <a:ext uri="{FF2B5EF4-FFF2-40B4-BE49-F238E27FC236}">
                  <a16:creationId xmlns:a16="http://schemas.microsoft.com/office/drawing/2014/main" id="{4023C594-DCAB-4A07-96BB-B3D07DB97C24}"/>
                </a:ext>
              </a:extLst>
            </p:cNvPr>
            <p:cNvCxnSpPr>
              <a:cxnSpLocks/>
              <a:stCxn id="57" idx="3"/>
            </p:cNvCxnSpPr>
            <p:nvPr/>
          </p:nvCxnSpPr>
          <p:spPr>
            <a:xfrm flipV="1">
              <a:off x="9175028" y="1420609"/>
              <a:ext cx="471277" cy="356041"/>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37B0CA0C-4D3D-49B3-BEB2-D58AB04AE218}"/>
                </a:ext>
              </a:extLst>
            </p:cNvPr>
            <p:cNvSpPr txBox="1"/>
            <p:nvPr/>
          </p:nvSpPr>
          <p:spPr>
            <a:xfrm>
              <a:off x="8301370" y="1561206"/>
              <a:ext cx="873658" cy="43088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
                  <a:srgbClr val="000000"/>
                </a:buClr>
                <a:buSzPct val="25000"/>
                <a:buFontTx/>
                <a:buNone/>
                <a:tabLst/>
                <a:defRPr/>
              </a:pPr>
              <a:r>
                <a:rPr kumimoji="0" lang="en-US" sz="750" b="0" i="0" u="none" strike="noStrike" kern="1200" cap="all" spc="0" normalizeH="0" baseline="0" noProof="0" dirty="0">
                  <a:ln>
                    <a:noFill/>
                  </a:ln>
                  <a:solidFill>
                    <a:prstClr val="white">
                      <a:lumMod val="50000"/>
                    </a:prstClr>
                  </a:solidFill>
                  <a:effectLst/>
                  <a:uLnTx/>
                  <a:uFillTx/>
                  <a:latin typeface="Century Gothic" panose="020F0302020204030204"/>
                  <a:ea typeface="+mn-ea"/>
                  <a:cs typeface="+mn-cs"/>
                  <a:sym typeface="Arial"/>
                </a:rPr>
                <a:t>8. Tip grip</a:t>
              </a:r>
            </a:p>
          </p:txBody>
        </p:sp>
      </p:grpSp>
      <p:grpSp>
        <p:nvGrpSpPr>
          <p:cNvPr id="13" name="Group 12">
            <a:extLst>
              <a:ext uri="{FF2B5EF4-FFF2-40B4-BE49-F238E27FC236}">
                <a16:creationId xmlns:a16="http://schemas.microsoft.com/office/drawing/2014/main" id="{B86C3DCC-FF9C-459C-BAD9-E8605C41A2AF}"/>
              </a:ext>
            </a:extLst>
          </p:cNvPr>
          <p:cNvGrpSpPr/>
          <p:nvPr/>
        </p:nvGrpSpPr>
        <p:grpSpPr>
          <a:xfrm>
            <a:off x="6685900" y="1103206"/>
            <a:ext cx="1875560" cy="1339541"/>
            <a:chOff x="5161900" y="1103205"/>
            <a:chExt cx="1875560" cy="1339541"/>
          </a:xfrm>
        </p:grpSpPr>
        <p:pic>
          <p:nvPicPr>
            <p:cNvPr id="12" name="Picture 11">
              <a:extLst>
                <a:ext uri="{FF2B5EF4-FFF2-40B4-BE49-F238E27FC236}">
                  <a16:creationId xmlns:a16="http://schemas.microsoft.com/office/drawing/2014/main" id="{100B67AB-08EF-43B4-B162-FFACC50251A0}"/>
                </a:ext>
              </a:extLst>
            </p:cNvPr>
            <p:cNvPicPr>
              <a:picLocks noChangeAspect="1"/>
            </p:cNvPicPr>
            <p:nvPr/>
          </p:nvPicPr>
          <p:blipFill>
            <a:blip r:embed="rId5"/>
            <a:stretch>
              <a:fillRect/>
            </a:stretch>
          </p:blipFill>
          <p:spPr>
            <a:xfrm rot="16200000">
              <a:off x="5813776" y="932993"/>
              <a:ext cx="1053472" cy="1393896"/>
            </a:xfrm>
            <a:prstGeom prst="rect">
              <a:avLst/>
            </a:prstGeom>
            <a:solidFill>
              <a:schemeClr val="accent2">
                <a:lumMod val="25000"/>
                <a:lumOff val="75000"/>
              </a:schemeClr>
            </a:solidFill>
          </p:spPr>
        </p:pic>
        <p:grpSp>
          <p:nvGrpSpPr>
            <p:cNvPr id="63" name="Group 62">
              <a:extLst>
                <a:ext uri="{FF2B5EF4-FFF2-40B4-BE49-F238E27FC236}">
                  <a16:creationId xmlns:a16="http://schemas.microsoft.com/office/drawing/2014/main" id="{374FB741-E979-4F5E-9633-3086CC0147B0}"/>
                </a:ext>
              </a:extLst>
            </p:cNvPr>
            <p:cNvGrpSpPr/>
            <p:nvPr/>
          </p:nvGrpSpPr>
          <p:grpSpPr>
            <a:xfrm>
              <a:off x="5161900" y="1782573"/>
              <a:ext cx="1171225" cy="660173"/>
              <a:chOff x="8084672" y="1420608"/>
              <a:chExt cx="1561633" cy="880230"/>
            </a:xfrm>
          </p:grpSpPr>
          <p:cxnSp>
            <p:nvCxnSpPr>
              <p:cNvPr id="64" name="Straight Arrow Connector 63">
                <a:extLst>
                  <a:ext uri="{FF2B5EF4-FFF2-40B4-BE49-F238E27FC236}">
                    <a16:creationId xmlns:a16="http://schemas.microsoft.com/office/drawing/2014/main" id="{F1F5D856-6DA1-406C-B728-122378793BB1}"/>
                  </a:ext>
                </a:extLst>
              </p:cNvPr>
              <p:cNvCxnSpPr>
                <a:cxnSpLocks/>
              </p:cNvCxnSpPr>
              <p:nvPr/>
            </p:nvCxnSpPr>
            <p:spPr>
              <a:xfrm flipV="1">
                <a:off x="9221092" y="1420608"/>
                <a:ext cx="425213" cy="449344"/>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545169C2-5B46-4C30-8D6A-5F4C3981338D}"/>
                  </a:ext>
                </a:extLst>
              </p:cNvPr>
              <p:cNvSpPr txBox="1"/>
              <p:nvPr/>
            </p:nvSpPr>
            <p:spPr>
              <a:xfrm>
                <a:off x="8084672" y="1869952"/>
                <a:ext cx="1226330" cy="43088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
                    <a:srgbClr val="000000"/>
                  </a:buClr>
                  <a:buSzPct val="25000"/>
                  <a:buFontTx/>
                  <a:buNone/>
                  <a:tabLst/>
                  <a:defRPr/>
                </a:pPr>
                <a:r>
                  <a:rPr kumimoji="0" lang="en-US" sz="750" b="0" i="0" u="none" strike="noStrike" kern="1200" cap="all" spc="0" normalizeH="0" baseline="0" noProof="0" dirty="0">
                    <a:ln>
                      <a:noFill/>
                    </a:ln>
                    <a:solidFill>
                      <a:prstClr val="white">
                        <a:lumMod val="50000"/>
                      </a:prstClr>
                    </a:solidFill>
                    <a:effectLst/>
                    <a:uLnTx/>
                    <a:uFillTx/>
                    <a:latin typeface="Century Gothic" panose="020F0302020204030204"/>
                    <a:ea typeface="+mn-ea"/>
                    <a:cs typeface="+mn-cs"/>
                    <a:sym typeface="Arial"/>
                  </a:rPr>
                  <a:t>10. </a:t>
                </a:r>
                <a:r>
                  <a:rPr kumimoji="0" lang="en-US" sz="750" b="0" i="0" u="none" strike="noStrike" kern="1200" cap="all" spc="0" normalizeH="0" baseline="0" noProof="0" dirty="0" err="1">
                    <a:ln>
                      <a:noFill/>
                    </a:ln>
                    <a:solidFill>
                      <a:prstClr val="white">
                        <a:lumMod val="50000"/>
                      </a:prstClr>
                    </a:solidFill>
                    <a:effectLst/>
                    <a:uLnTx/>
                    <a:uFillTx/>
                    <a:latin typeface="Century Gothic" panose="020F0302020204030204"/>
                    <a:ea typeface="+mn-ea"/>
                    <a:cs typeface="+mn-cs"/>
                    <a:sym typeface="Arial"/>
                  </a:rPr>
                  <a:t>Lumiview</a:t>
                </a:r>
                <a:r>
                  <a:rPr kumimoji="0" lang="en-US" sz="750" b="0" i="0" u="none" strike="noStrike" kern="1200" cap="all" spc="0" normalizeH="0" baseline="0" noProof="0" dirty="0">
                    <a:ln>
                      <a:noFill/>
                    </a:ln>
                    <a:solidFill>
                      <a:prstClr val="white">
                        <a:lumMod val="50000"/>
                      </a:prstClr>
                    </a:solidFill>
                    <a:effectLst/>
                    <a:uLnTx/>
                    <a:uFillTx/>
                    <a:latin typeface="Century Gothic" panose="020F0302020204030204"/>
                    <a:ea typeface="+mn-ea"/>
                    <a:cs typeface="+mn-cs"/>
                    <a:sym typeface="Arial"/>
                  </a:rPr>
                  <a:t>™ Clear Specula</a:t>
                </a:r>
              </a:p>
            </p:txBody>
          </p:sp>
        </p:grpSp>
      </p:grpSp>
      <p:grpSp>
        <p:nvGrpSpPr>
          <p:cNvPr id="8" name="Group 7">
            <a:extLst>
              <a:ext uri="{FF2B5EF4-FFF2-40B4-BE49-F238E27FC236}">
                <a16:creationId xmlns:a16="http://schemas.microsoft.com/office/drawing/2014/main" id="{B116772F-B457-4005-9808-DDE5A88F7B86}"/>
              </a:ext>
            </a:extLst>
          </p:cNvPr>
          <p:cNvGrpSpPr/>
          <p:nvPr/>
        </p:nvGrpSpPr>
        <p:grpSpPr>
          <a:xfrm>
            <a:off x="5102411" y="2804479"/>
            <a:ext cx="3866232" cy="1159361"/>
            <a:chOff x="4771214" y="2596304"/>
            <a:chExt cx="5154976" cy="1545814"/>
          </a:xfrm>
        </p:grpSpPr>
        <p:grpSp>
          <p:nvGrpSpPr>
            <p:cNvPr id="23" name="Group 22">
              <a:extLst>
                <a:ext uri="{FF2B5EF4-FFF2-40B4-BE49-F238E27FC236}">
                  <a16:creationId xmlns:a16="http://schemas.microsoft.com/office/drawing/2014/main" id="{76390E50-0B8B-45A3-B2D2-A2E703435A1F}"/>
                </a:ext>
              </a:extLst>
            </p:cNvPr>
            <p:cNvGrpSpPr/>
            <p:nvPr/>
          </p:nvGrpSpPr>
          <p:grpSpPr>
            <a:xfrm>
              <a:off x="4771214" y="3557342"/>
              <a:ext cx="2335376" cy="584776"/>
              <a:chOff x="7202024" y="1986129"/>
              <a:chExt cx="2335376" cy="584776"/>
            </a:xfrm>
          </p:grpSpPr>
          <p:cxnSp>
            <p:nvCxnSpPr>
              <p:cNvPr id="24" name="Straight Arrow Connector 23">
                <a:extLst>
                  <a:ext uri="{FF2B5EF4-FFF2-40B4-BE49-F238E27FC236}">
                    <a16:creationId xmlns:a16="http://schemas.microsoft.com/office/drawing/2014/main" id="{1C0B2D85-D564-49DB-AF95-4E62A6664A1E}"/>
                  </a:ext>
                </a:extLst>
              </p:cNvPr>
              <p:cNvCxnSpPr>
                <a:cxnSpLocks/>
                <a:stCxn id="25" idx="1"/>
              </p:cNvCxnSpPr>
              <p:nvPr/>
            </p:nvCxnSpPr>
            <p:spPr>
              <a:xfrm flipH="1">
                <a:off x="7202024" y="2278517"/>
                <a:ext cx="970325" cy="280215"/>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0F5406DE-D42B-4974-88A9-D3AEF582DAA3}"/>
                  </a:ext>
                </a:extLst>
              </p:cNvPr>
              <p:cNvSpPr txBox="1"/>
              <p:nvPr/>
            </p:nvSpPr>
            <p:spPr>
              <a:xfrm>
                <a:off x="8172350" y="1986129"/>
                <a:ext cx="1365050" cy="58477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all" spc="0" normalizeH="0" baseline="0" noProof="0" dirty="0">
                    <a:ln>
                      <a:noFill/>
                    </a:ln>
                    <a:solidFill>
                      <a:prstClr val="white">
                        <a:lumMod val="50000"/>
                      </a:prstClr>
                    </a:solidFill>
                    <a:effectLst/>
                    <a:uLnTx/>
                    <a:uFillTx/>
                    <a:latin typeface="Century Gothic" panose="020F0302020204030204"/>
                    <a:ea typeface="+mn-ea"/>
                    <a:cs typeface="+mn-cs"/>
                  </a:rPr>
                  <a:t>4.Integrated locking collar</a:t>
                </a:r>
                <a:r>
                  <a:rPr kumimoji="0" lang="en-US" sz="750" b="0" i="0" u="none" strike="noStrike" kern="1200" cap="all" spc="0" normalizeH="0" baseline="0" noProof="0" dirty="0">
                    <a:ln>
                      <a:noFill/>
                    </a:ln>
                    <a:solidFill>
                      <a:prstClr val="white">
                        <a:lumMod val="50000"/>
                      </a:prstClr>
                    </a:solidFill>
                    <a:effectLst/>
                    <a:uLnTx/>
                    <a:uFillTx/>
                    <a:latin typeface="Century Gothic" panose="020F0302020204030204"/>
                    <a:ea typeface="+mn-ea"/>
                    <a:cs typeface="+mn-cs"/>
                    <a:sym typeface="Arial"/>
                  </a:rPr>
                  <a:t> (Plus only)</a:t>
                </a:r>
                <a:endParaRPr kumimoji="0" lang="en-US" sz="750" b="0" i="0" u="none" strike="noStrike" kern="1200" cap="all" spc="0" normalizeH="0" baseline="0" noProof="0" dirty="0">
                  <a:ln>
                    <a:noFill/>
                  </a:ln>
                  <a:solidFill>
                    <a:prstClr val="white">
                      <a:lumMod val="50000"/>
                    </a:prstClr>
                  </a:solidFill>
                  <a:effectLst/>
                  <a:uLnTx/>
                  <a:uFillTx/>
                  <a:latin typeface="Century Gothic" panose="020F0302020204030204"/>
                  <a:ea typeface="+mn-ea"/>
                  <a:cs typeface="+mn-cs"/>
                </a:endParaRPr>
              </a:p>
            </p:txBody>
          </p:sp>
        </p:grpSp>
        <p:cxnSp>
          <p:nvCxnSpPr>
            <p:cNvPr id="72" name="Straight Arrow Connector 71">
              <a:extLst>
                <a:ext uri="{FF2B5EF4-FFF2-40B4-BE49-F238E27FC236}">
                  <a16:creationId xmlns:a16="http://schemas.microsoft.com/office/drawing/2014/main" id="{537638CF-22F6-49FB-A681-26AB9E2DD15E}"/>
                </a:ext>
              </a:extLst>
            </p:cNvPr>
            <p:cNvCxnSpPr>
              <a:cxnSpLocks/>
            </p:cNvCxnSpPr>
            <p:nvPr/>
          </p:nvCxnSpPr>
          <p:spPr>
            <a:xfrm flipV="1">
              <a:off x="6973516" y="2596304"/>
              <a:ext cx="2952674" cy="961038"/>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86" name="TextBox 85">
            <a:extLst>
              <a:ext uri="{FF2B5EF4-FFF2-40B4-BE49-F238E27FC236}">
                <a16:creationId xmlns:a16="http://schemas.microsoft.com/office/drawing/2014/main" id="{0B365980-D28E-4FEC-A53C-3BB03057F930}"/>
              </a:ext>
            </a:extLst>
          </p:cNvPr>
          <p:cNvSpPr txBox="1"/>
          <p:nvPr/>
        </p:nvSpPr>
        <p:spPr>
          <a:xfrm>
            <a:off x="9672429" y="2476987"/>
            <a:ext cx="722885" cy="43858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
                <a:srgbClr val="000000"/>
              </a:buClr>
              <a:buSzPct val="25000"/>
              <a:buFontTx/>
              <a:buNone/>
              <a:tabLst/>
              <a:defRPr/>
            </a:pPr>
            <a:r>
              <a:rPr kumimoji="0" lang="en-US" sz="750" b="0" i="0" u="none" strike="noStrike" kern="1200" cap="all" spc="0" normalizeH="0" baseline="0" noProof="0" dirty="0">
                <a:ln>
                  <a:noFill/>
                </a:ln>
                <a:solidFill>
                  <a:prstClr val="white">
                    <a:lumMod val="50000"/>
                  </a:prstClr>
                </a:solidFill>
                <a:effectLst/>
                <a:uLnTx/>
                <a:uFillTx/>
                <a:latin typeface="Century Gothic" panose="020F0302020204030204"/>
                <a:ea typeface="+mn-ea"/>
                <a:cs typeface="+mn-cs"/>
                <a:sym typeface="Arial"/>
              </a:rPr>
              <a:t>9. Focus-free design</a:t>
            </a:r>
          </a:p>
        </p:txBody>
      </p:sp>
      <p:grpSp>
        <p:nvGrpSpPr>
          <p:cNvPr id="87" name="Group 86">
            <a:extLst>
              <a:ext uri="{FF2B5EF4-FFF2-40B4-BE49-F238E27FC236}">
                <a16:creationId xmlns:a16="http://schemas.microsoft.com/office/drawing/2014/main" id="{97E5190A-90AE-447A-B235-D0A2D69808DF}"/>
              </a:ext>
            </a:extLst>
          </p:cNvPr>
          <p:cNvGrpSpPr/>
          <p:nvPr/>
        </p:nvGrpSpPr>
        <p:grpSpPr>
          <a:xfrm>
            <a:off x="5295749" y="2998559"/>
            <a:ext cx="1595803" cy="438582"/>
            <a:chOff x="7202021" y="2103371"/>
            <a:chExt cx="2127738" cy="584776"/>
          </a:xfrm>
        </p:grpSpPr>
        <p:cxnSp>
          <p:nvCxnSpPr>
            <p:cNvPr id="88" name="Straight Arrow Connector 87">
              <a:extLst>
                <a:ext uri="{FF2B5EF4-FFF2-40B4-BE49-F238E27FC236}">
                  <a16:creationId xmlns:a16="http://schemas.microsoft.com/office/drawing/2014/main" id="{3083F6EE-3729-452D-A271-D88EBFA8FA14}"/>
                </a:ext>
              </a:extLst>
            </p:cNvPr>
            <p:cNvCxnSpPr>
              <a:cxnSpLocks/>
            </p:cNvCxnSpPr>
            <p:nvPr/>
          </p:nvCxnSpPr>
          <p:spPr>
            <a:xfrm flipH="1">
              <a:off x="7202021" y="2409134"/>
              <a:ext cx="499505" cy="245848"/>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9" name="TextBox 88">
              <a:extLst>
                <a:ext uri="{FF2B5EF4-FFF2-40B4-BE49-F238E27FC236}">
                  <a16:creationId xmlns:a16="http://schemas.microsoft.com/office/drawing/2014/main" id="{A2FD1B30-BA3D-4810-9432-C367BB9B4441}"/>
                </a:ext>
              </a:extLst>
            </p:cNvPr>
            <p:cNvSpPr txBox="1"/>
            <p:nvPr/>
          </p:nvSpPr>
          <p:spPr>
            <a:xfrm>
              <a:off x="7714025" y="2103371"/>
              <a:ext cx="1615734" cy="58477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all" spc="0" normalizeH="0" baseline="0" noProof="0" dirty="0">
                  <a:ln>
                    <a:noFill/>
                  </a:ln>
                  <a:solidFill>
                    <a:prstClr val="white">
                      <a:lumMod val="50000"/>
                    </a:prstClr>
                  </a:solidFill>
                  <a:effectLst/>
                  <a:uLnTx/>
                  <a:uFillTx/>
                  <a:latin typeface="Century Gothic" panose="020F0302020204030204"/>
                  <a:ea typeface="+mn-ea"/>
                  <a:cs typeface="+mn-cs"/>
                </a:rPr>
                <a:t>6. Traditional ophthalmoscope controls</a:t>
              </a:r>
            </a:p>
          </p:txBody>
        </p:sp>
      </p:grpSp>
      <p:grpSp>
        <p:nvGrpSpPr>
          <p:cNvPr id="9" name="Group 8">
            <a:extLst>
              <a:ext uri="{FF2B5EF4-FFF2-40B4-BE49-F238E27FC236}">
                <a16:creationId xmlns:a16="http://schemas.microsoft.com/office/drawing/2014/main" id="{82837EF5-AA1A-42D3-A88A-2F707D83B414}"/>
              </a:ext>
            </a:extLst>
          </p:cNvPr>
          <p:cNvGrpSpPr/>
          <p:nvPr/>
        </p:nvGrpSpPr>
        <p:grpSpPr>
          <a:xfrm>
            <a:off x="5245019" y="2135180"/>
            <a:ext cx="4482053" cy="838483"/>
            <a:chOff x="4961356" y="1703904"/>
            <a:chExt cx="5976071" cy="1117978"/>
          </a:xfrm>
        </p:grpSpPr>
        <p:grpSp>
          <p:nvGrpSpPr>
            <p:cNvPr id="66" name="Group 65">
              <a:extLst>
                <a:ext uri="{FF2B5EF4-FFF2-40B4-BE49-F238E27FC236}">
                  <a16:creationId xmlns:a16="http://schemas.microsoft.com/office/drawing/2014/main" id="{0697FCEE-D887-42F7-8F21-1E09A650FE91}"/>
                </a:ext>
              </a:extLst>
            </p:cNvPr>
            <p:cNvGrpSpPr/>
            <p:nvPr/>
          </p:nvGrpSpPr>
          <p:grpSpPr>
            <a:xfrm>
              <a:off x="4961356" y="2083217"/>
              <a:ext cx="2701681" cy="738665"/>
              <a:chOff x="7172657" y="2103371"/>
              <a:chExt cx="2701681" cy="738665"/>
            </a:xfrm>
          </p:grpSpPr>
          <p:cxnSp>
            <p:nvCxnSpPr>
              <p:cNvPr id="67" name="Straight Arrow Connector 66">
                <a:extLst>
                  <a:ext uri="{FF2B5EF4-FFF2-40B4-BE49-F238E27FC236}">
                    <a16:creationId xmlns:a16="http://schemas.microsoft.com/office/drawing/2014/main" id="{F2DEE1EA-9C6F-416C-AEEF-D7752E2DC81E}"/>
                  </a:ext>
                </a:extLst>
              </p:cNvPr>
              <p:cNvCxnSpPr>
                <a:cxnSpLocks/>
              </p:cNvCxnSpPr>
              <p:nvPr/>
            </p:nvCxnSpPr>
            <p:spPr>
              <a:xfrm flipH="1">
                <a:off x="7172657" y="2611258"/>
                <a:ext cx="550993" cy="8220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0799E3D5-0E1D-47AC-B688-97B2FE270D16}"/>
                  </a:ext>
                </a:extLst>
              </p:cNvPr>
              <p:cNvSpPr txBox="1"/>
              <p:nvPr/>
            </p:nvSpPr>
            <p:spPr>
              <a:xfrm>
                <a:off x="7714025" y="2103371"/>
                <a:ext cx="2160313" cy="738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all" spc="0" normalizeH="0" baseline="0" noProof="0" dirty="0">
                    <a:ln>
                      <a:noFill/>
                    </a:ln>
                    <a:solidFill>
                      <a:prstClr val="white">
                        <a:lumMod val="50000"/>
                      </a:prstClr>
                    </a:solidFill>
                    <a:effectLst/>
                    <a:uLnTx/>
                    <a:uFillTx/>
                    <a:latin typeface="Century Gothic" panose="020F0302020204030204"/>
                    <a:ea typeface="+mn-ea"/>
                    <a:cs typeface="+mn-cs"/>
                  </a:rPr>
                  <a:t>1. IExaminer Attachment for Smart bracket &amp; Smart clip (</a:t>
                </a:r>
                <a:r>
                  <a:rPr kumimoji="0" lang="en-US" sz="750" b="0" i="0" u="none" strike="noStrike" kern="1200" cap="all" spc="0" normalizeH="0" baseline="0" noProof="0" dirty="0">
                    <a:ln>
                      <a:noFill/>
                    </a:ln>
                    <a:solidFill>
                      <a:prstClr val="white">
                        <a:lumMod val="50000"/>
                      </a:prstClr>
                    </a:solidFill>
                    <a:effectLst/>
                    <a:uLnTx/>
                    <a:uFillTx/>
                    <a:latin typeface="Century Gothic" panose="020F0302020204030204"/>
                    <a:ea typeface="+mn-ea"/>
                    <a:cs typeface="+mn-cs"/>
                    <a:sym typeface="Arial"/>
                  </a:rPr>
                  <a:t>plus only)</a:t>
                </a:r>
                <a:endParaRPr kumimoji="0" lang="en-US" sz="750" b="0" i="0" u="none" strike="noStrike" kern="1200" cap="all" spc="0" normalizeH="0" baseline="0" noProof="0" dirty="0">
                  <a:ln>
                    <a:noFill/>
                  </a:ln>
                  <a:solidFill>
                    <a:prstClr val="white">
                      <a:lumMod val="50000"/>
                    </a:prstClr>
                  </a:solidFill>
                  <a:effectLst/>
                  <a:uLnTx/>
                  <a:uFillTx/>
                  <a:latin typeface="Century Gothic" panose="020F03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50" b="0" i="0" u="none" strike="noStrike" kern="1200" cap="all" spc="0" normalizeH="0" baseline="0" noProof="0" dirty="0">
                  <a:ln>
                    <a:noFill/>
                  </a:ln>
                  <a:solidFill>
                    <a:prstClr val="white">
                      <a:lumMod val="50000"/>
                    </a:prstClr>
                  </a:solidFill>
                  <a:effectLst/>
                  <a:uLnTx/>
                  <a:uFillTx/>
                  <a:latin typeface="Century Gothic" panose="020F0302020204030204"/>
                  <a:ea typeface="+mn-ea"/>
                  <a:cs typeface="+mn-cs"/>
                </a:endParaRPr>
              </a:p>
            </p:txBody>
          </p:sp>
        </p:grpSp>
        <p:cxnSp>
          <p:nvCxnSpPr>
            <p:cNvPr id="91" name="Straight Arrow Connector 90">
              <a:extLst>
                <a:ext uri="{FF2B5EF4-FFF2-40B4-BE49-F238E27FC236}">
                  <a16:creationId xmlns:a16="http://schemas.microsoft.com/office/drawing/2014/main" id="{2AC37022-F88A-42BF-A894-6B97D97BE266}"/>
                </a:ext>
              </a:extLst>
            </p:cNvPr>
            <p:cNvCxnSpPr>
              <a:cxnSpLocks/>
            </p:cNvCxnSpPr>
            <p:nvPr/>
          </p:nvCxnSpPr>
          <p:spPr>
            <a:xfrm flipV="1">
              <a:off x="7168405" y="1703904"/>
              <a:ext cx="3769022" cy="631849"/>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1C15966E-58E0-4DED-BDC5-D47A81C668D9}"/>
              </a:ext>
            </a:extLst>
          </p:cNvPr>
          <p:cNvGrpSpPr/>
          <p:nvPr/>
        </p:nvGrpSpPr>
        <p:grpSpPr>
          <a:xfrm>
            <a:off x="1518383" y="3729399"/>
            <a:ext cx="7394242" cy="2299334"/>
            <a:chOff x="-7490" y="3829532"/>
            <a:chExt cx="9858989" cy="3065778"/>
          </a:xfrm>
        </p:grpSpPr>
        <p:grpSp>
          <p:nvGrpSpPr>
            <p:cNvPr id="7" name="Group 6">
              <a:extLst>
                <a:ext uri="{FF2B5EF4-FFF2-40B4-BE49-F238E27FC236}">
                  <a16:creationId xmlns:a16="http://schemas.microsoft.com/office/drawing/2014/main" id="{607FFC51-1468-463E-AB95-0E470D19E6B0}"/>
                </a:ext>
              </a:extLst>
            </p:cNvPr>
            <p:cNvGrpSpPr/>
            <p:nvPr/>
          </p:nvGrpSpPr>
          <p:grpSpPr>
            <a:xfrm>
              <a:off x="7023188" y="4547147"/>
              <a:ext cx="2828311" cy="2348163"/>
              <a:chOff x="4993575" y="4275583"/>
              <a:chExt cx="2828311" cy="2348163"/>
            </a:xfrm>
          </p:grpSpPr>
          <p:sp>
            <p:nvSpPr>
              <p:cNvPr id="48" name="Oval 47">
                <a:extLst>
                  <a:ext uri="{FF2B5EF4-FFF2-40B4-BE49-F238E27FC236}">
                    <a16:creationId xmlns:a16="http://schemas.microsoft.com/office/drawing/2014/main" id="{04756861-A355-4144-BC48-9C4C80141F98}"/>
                  </a:ext>
                </a:extLst>
              </p:cNvPr>
              <p:cNvSpPr/>
              <p:nvPr/>
            </p:nvSpPr>
            <p:spPr>
              <a:xfrm>
                <a:off x="4993575" y="4343593"/>
                <a:ext cx="1339465" cy="1339465"/>
              </a:xfrm>
              <a:prstGeom prst="ellipse">
                <a:avLst/>
              </a:prstGeom>
              <a:gradFill flip="none" rotWithShape="1">
                <a:gsLst>
                  <a:gs pos="0">
                    <a:srgbClr val="969696">
                      <a:shade val="30000"/>
                      <a:satMod val="115000"/>
                    </a:srgbClr>
                  </a:gs>
                  <a:gs pos="50000">
                    <a:srgbClr val="969696">
                      <a:shade val="67500"/>
                      <a:satMod val="115000"/>
                    </a:srgbClr>
                  </a:gs>
                  <a:gs pos="100000">
                    <a:srgbClr val="969696">
                      <a:shade val="100000"/>
                      <a:satMod val="115000"/>
                    </a:srgbClr>
                  </a:gs>
                </a:gsLst>
                <a:path path="circle">
                  <a:fillToRect l="100000" t="100000"/>
                </a:path>
                <a:tileRect r="-100000" b="-10000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panose="020F0302020204030204"/>
                  <a:ea typeface="+mn-ea"/>
                  <a:cs typeface="+mn-cs"/>
                </a:endParaRPr>
              </a:p>
            </p:txBody>
          </p:sp>
          <p:pic>
            <p:nvPicPr>
              <p:cNvPr id="49" name="Shape 300">
                <a:extLst>
                  <a:ext uri="{FF2B5EF4-FFF2-40B4-BE49-F238E27FC236}">
                    <a16:creationId xmlns:a16="http://schemas.microsoft.com/office/drawing/2014/main" id="{4D8D1701-A794-42EF-AC1B-5EA37DB23289}"/>
                  </a:ext>
                </a:extLst>
              </p:cNvPr>
              <p:cNvPicPr preferRelativeResize="0"/>
              <p:nvPr/>
            </p:nvPicPr>
            <p:blipFill rotWithShape="1">
              <a:blip r:embed="rId6" cstate="email">
                <a:alphaModFix/>
                <a:extLst>
                  <a:ext uri="{BEBA8EAE-BF5A-486C-A8C5-ECC9F3942E4B}">
                    <a14:imgProps xmlns:a14="http://schemas.microsoft.com/office/drawing/2010/main">
                      <a14:imgLayer r:embed="rId7">
                        <a14:imgEffect>
                          <a14:backgroundRemoval t="27445" b="60883" l="16613" r="35000"/>
                        </a14:imgEffect>
                      </a14:imgLayer>
                    </a14:imgProps>
                  </a:ext>
                  <a:ext uri="{28A0092B-C50C-407E-A947-70E740481C1C}">
                    <a14:useLocalDpi xmlns:a14="http://schemas.microsoft.com/office/drawing/2010/main"/>
                  </a:ext>
                </a:extLst>
              </a:blip>
              <a:srcRect l="14729" t="24147" r="63568" b="36962"/>
              <a:stretch/>
            </p:blipFill>
            <p:spPr>
              <a:xfrm>
                <a:off x="5032980" y="4427745"/>
                <a:ext cx="1147171" cy="1065053"/>
              </a:xfrm>
              <a:prstGeom prst="rect">
                <a:avLst/>
              </a:prstGeom>
              <a:noFill/>
              <a:ln>
                <a:noFill/>
              </a:ln>
            </p:spPr>
          </p:pic>
          <p:pic>
            <p:nvPicPr>
              <p:cNvPr id="50" name="Picture 49">
                <a:extLst>
                  <a:ext uri="{FF2B5EF4-FFF2-40B4-BE49-F238E27FC236}">
                    <a16:creationId xmlns:a16="http://schemas.microsoft.com/office/drawing/2014/main" id="{4B9B9397-F973-4F84-A3A5-80C8B6790EE6}"/>
                  </a:ext>
                </a:extLst>
              </p:cNvPr>
              <p:cNvPicPr>
                <a:picLocks noChangeAspect="1"/>
              </p:cNvPicPr>
              <p:nvPr/>
            </p:nvPicPr>
            <p:blipFill rotWithShape="1">
              <a:blip r:embed="rId8" cstate="email">
                <a:extLst>
                  <a:ext uri="{BEBA8EAE-BF5A-486C-A8C5-ECC9F3942E4B}">
                    <a14:imgProps xmlns:a14="http://schemas.microsoft.com/office/drawing/2010/main">
                      <a14:imgLayer r:embed="rId9">
                        <a14:imgEffect>
                          <a14:backgroundRemoval t="163" b="99306" l="0" r="100000"/>
                        </a14:imgEffect>
                      </a14:imgLayer>
                    </a14:imgProps>
                  </a:ext>
                  <a:ext uri="{28A0092B-C50C-407E-A947-70E740481C1C}">
                    <a14:useLocalDpi xmlns:a14="http://schemas.microsoft.com/office/drawing/2010/main"/>
                  </a:ext>
                </a:extLst>
              </a:blip>
              <a:srcRect/>
              <a:stretch/>
            </p:blipFill>
            <p:spPr>
              <a:xfrm rot="10800000">
                <a:off x="6412843" y="4275583"/>
                <a:ext cx="1409043" cy="1495939"/>
              </a:xfrm>
              <a:prstGeom prst="rect">
                <a:avLst/>
              </a:prstGeom>
            </p:spPr>
          </p:pic>
          <p:sp>
            <p:nvSpPr>
              <p:cNvPr id="51" name="Shape 249">
                <a:extLst>
                  <a:ext uri="{FF2B5EF4-FFF2-40B4-BE49-F238E27FC236}">
                    <a16:creationId xmlns:a16="http://schemas.microsoft.com/office/drawing/2014/main" id="{8F80A1DC-64EB-422D-95D4-18A979E4DC94}"/>
                  </a:ext>
                </a:extLst>
              </p:cNvPr>
              <p:cNvSpPr txBox="1"/>
              <p:nvPr/>
            </p:nvSpPr>
            <p:spPr>
              <a:xfrm>
                <a:off x="5891332" y="5295479"/>
                <a:ext cx="1853200" cy="1328267"/>
              </a:xfrm>
              <a:prstGeom prst="rect">
                <a:avLst/>
              </a:prstGeom>
              <a:noFill/>
              <a:ln>
                <a:noFill/>
              </a:ln>
            </p:spPr>
            <p:txBody>
              <a:bodyPr lIns="91425" tIns="45700" rIns="91425" bIns="45700" anchor="t" anchorCtr="0">
                <a:noAutofit/>
              </a:bodyPr>
              <a:lstStyle/>
              <a:p>
                <a:pPr marL="0" marR="0" lvl="0" indent="-69848" algn="l" defTabSz="914400" rtl="0" eaLnBrk="1" fontAlgn="auto" latinLnBrk="0" hangingPunct="1">
                  <a:lnSpc>
                    <a:spcPct val="100000"/>
                  </a:lnSpc>
                  <a:spcBef>
                    <a:spcPts val="0"/>
                  </a:spcBef>
                  <a:spcAft>
                    <a:spcPts val="0"/>
                  </a:spcAft>
                  <a:buClr>
                    <a:prstClr val="black"/>
                  </a:buClr>
                  <a:buSzTx/>
                  <a:buFontTx/>
                  <a:buNone/>
                  <a:tabLst/>
                  <a:defRPr/>
                </a:pPr>
                <a:r>
                  <a:rPr kumimoji="0" lang="en-US" sz="4800" b="0" i="0" u="none" strike="noStrike" kern="1200" cap="none" spc="0" normalizeH="0" baseline="0" noProof="0" dirty="0">
                    <a:ln>
                      <a:noFill/>
                    </a:ln>
                    <a:solidFill>
                      <a:srgbClr val="7030A0"/>
                    </a:solidFill>
                    <a:effectLst/>
                    <a:uLnTx/>
                    <a:uFillTx/>
                    <a:latin typeface="Century Gothic" panose="020F0302020204030204"/>
                    <a:ea typeface="+mn-ea"/>
                    <a:cs typeface="+mn-cs"/>
                  </a:rPr>
                  <a:t>3x</a:t>
                </a:r>
              </a:p>
            </p:txBody>
          </p:sp>
        </p:grpSp>
        <p:grpSp>
          <p:nvGrpSpPr>
            <p:cNvPr id="3" name="Group 2">
              <a:extLst>
                <a:ext uri="{FF2B5EF4-FFF2-40B4-BE49-F238E27FC236}">
                  <a16:creationId xmlns:a16="http://schemas.microsoft.com/office/drawing/2014/main" id="{D8A9A20A-AD02-42F5-829E-93EC3145F109}"/>
                </a:ext>
              </a:extLst>
            </p:cNvPr>
            <p:cNvGrpSpPr/>
            <p:nvPr/>
          </p:nvGrpSpPr>
          <p:grpSpPr>
            <a:xfrm>
              <a:off x="-7490" y="3829532"/>
              <a:ext cx="3336753" cy="2755652"/>
              <a:chOff x="-7490" y="3829532"/>
              <a:chExt cx="3336753" cy="2755652"/>
            </a:xfrm>
          </p:grpSpPr>
          <p:pic>
            <p:nvPicPr>
              <p:cNvPr id="248" name="Shape 248"/>
              <p:cNvPicPr preferRelativeResize="0"/>
              <p:nvPr/>
            </p:nvPicPr>
            <p:blipFill rotWithShape="1">
              <a:blip r:embed="rId10" cstate="email">
                <a:alphaModFix/>
                <a:extLst>
                  <a:ext uri="{28A0092B-C50C-407E-A947-70E740481C1C}">
                    <a14:useLocalDpi xmlns:a14="http://schemas.microsoft.com/office/drawing/2010/main"/>
                  </a:ext>
                </a:extLst>
              </a:blip>
              <a:srcRect/>
              <a:stretch/>
            </p:blipFill>
            <p:spPr>
              <a:xfrm>
                <a:off x="-7490" y="4715401"/>
                <a:ext cx="977200" cy="796800"/>
              </a:xfrm>
              <a:prstGeom prst="rect">
                <a:avLst/>
              </a:prstGeom>
              <a:noFill/>
              <a:ln>
                <a:noFill/>
              </a:ln>
            </p:spPr>
          </p:pic>
          <p:grpSp>
            <p:nvGrpSpPr>
              <p:cNvPr id="5" name="Group 4">
                <a:extLst>
                  <a:ext uri="{FF2B5EF4-FFF2-40B4-BE49-F238E27FC236}">
                    <a16:creationId xmlns:a16="http://schemas.microsoft.com/office/drawing/2014/main" id="{09AE9B9C-6247-4BB6-B79A-2D159376BABA}"/>
                  </a:ext>
                </a:extLst>
              </p:cNvPr>
              <p:cNvGrpSpPr/>
              <p:nvPr/>
            </p:nvGrpSpPr>
            <p:grpSpPr>
              <a:xfrm>
                <a:off x="1089555" y="3829532"/>
                <a:ext cx="2239708" cy="2282112"/>
                <a:chOff x="5256006" y="46909"/>
                <a:chExt cx="1679781" cy="1711584"/>
              </a:xfrm>
            </p:grpSpPr>
            <p:sp>
              <p:nvSpPr>
                <p:cNvPr id="2" name="Oval 1">
                  <a:extLst>
                    <a:ext uri="{FF2B5EF4-FFF2-40B4-BE49-F238E27FC236}">
                      <a16:creationId xmlns:a16="http://schemas.microsoft.com/office/drawing/2014/main" id="{2F10C932-0D2B-4332-A895-A0B4AA404BF0}"/>
                    </a:ext>
                  </a:extLst>
                </p:cNvPr>
                <p:cNvSpPr/>
                <p:nvPr/>
              </p:nvSpPr>
              <p:spPr>
                <a:xfrm>
                  <a:off x="5256006" y="82113"/>
                  <a:ext cx="1676380" cy="1676380"/>
                </a:xfrm>
                <a:prstGeom prst="ellipse">
                  <a:avLst/>
                </a:prstGeom>
                <a:solidFill>
                  <a:schemeClr val="tx1">
                    <a:lumMod val="85000"/>
                    <a:lumOff val="15000"/>
                  </a:schemeClr>
                </a:solidFill>
                <a:ln>
                  <a:noFill/>
                </a:ln>
                <a:effectLst>
                  <a:outerShdw blurRad="50800" dist="38100" dir="5400000" algn="t" rotWithShape="0">
                    <a:schemeClr val="tx1">
                      <a:lumMod val="85000"/>
                      <a:lumOff val="1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panose="020F0302020204030204"/>
                    <a:ea typeface="+mn-ea"/>
                    <a:cs typeface="+mn-cs"/>
                  </a:endParaRPr>
                </a:p>
              </p:txBody>
            </p:sp>
            <p:pic>
              <p:nvPicPr>
                <p:cNvPr id="247" name="Shape 247"/>
                <p:cNvPicPr preferRelativeResize="0"/>
                <p:nvPr/>
              </p:nvPicPr>
              <p:blipFill rotWithShape="1">
                <a:blip r:embed="rId11" cstate="email">
                  <a:alphaModFix/>
                  <a:extLst>
                    <a:ext uri="{28A0092B-C50C-407E-A947-70E740481C1C}">
                      <a14:useLocalDpi xmlns:a14="http://schemas.microsoft.com/office/drawing/2010/main"/>
                    </a:ext>
                  </a:extLst>
                </a:blip>
                <a:srcRect/>
                <a:stretch/>
              </p:blipFill>
              <p:spPr>
                <a:xfrm>
                  <a:off x="5292436" y="46909"/>
                  <a:ext cx="1643351" cy="1676380"/>
                </a:xfrm>
                <a:prstGeom prst="rect">
                  <a:avLst/>
                </a:prstGeom>
                <a:noFill/>
                <a:ln>
                  <a:noFill/>
                </a:ln>
              </p:spPr>
            </p:pic>
          </p:grpSp>
          <p:sp>
            <p:nvSpPr>
              <p:cNvPr id="19" name="Shape 249">
                <a:extLst>
                  <a:ext uri="{FF2B5EF4-FFF2-40B4-BE49-F238E27FC236}">
                    <a16:creationId xmlns:a16="http://schemas.microsoft.com/office/drawing/2014/main" id="{F5A1289A-4F6B-4B28-B132-E10217AC3052}"/>
                  </a:ext>
                </a:extLst>
              </p:cNvPr>
              <p:cNvSpPr txBox="1"/>
              <p:nvPr/>
            </p:nvSpPr>
            <p:spPr>
              <a:xfrm>
                <a:off x="-4670" y="5256917"/>
                <a:ext cx="1853200" cy="1328267"/>
              </a:xfrm>
              <a:prstGeom prst="rect">
                <a:avLst/>
              </a:prstGeom>
              <a:noFill/>
              <a:ln>
                <a:noFill/>
              </a:ln>
            </p:spPr>
            <p:txBody>
              <a:bodyPr lIns="91425" tIns="45700" rIns="91425" bIns="45700" anchor="t" anchorCtr="0">
                <a:noAutofit/>
              </a:bodyPr>
              <a:lstStyle/>
              <a:p>
                <a:pPr marL="0" marR="0" lvl="0" indent="-69848" algn="l" defTabSz="914400" rtl="0" eaLnBrk="1" fontAlgn="auto" latinLnBrk="0" hangingPunct="1">
                  <a:lnSpc>
                    <a:spcPct val="100000"/>
                  </a:lnSpc>
                  <a:spcBef>
                    <a:spcPts val="0"/>
                  </a:spcBef>
                  <a:spcAft>
                    <a:spcPts val="0"/>
                  </a:spcAft>
                  <a:buClr>
                    <a:prstClr val="black"/>
                  </a:buClr>
                  <a:buSzTx/>
                  <a:buFontTx/>
                  <a:buNone/>
                  <a:tabLst/>
                  <a:defRPr/>
                </a:pPr>
                <a:r>
                  <a:rPr kumimoji="0" lang="en-US" sz="4800" b="0" i="0" u="none" strike="noStrike" kern="1200" cap="none" spc="0" normalizeH="0" baseline="0" noProof="0" dirty="0">
                    <a:ln>
                      <a:noFill/>
                    </a:ln>
                    <a:solidFill>
                      <a:srgbClr val="7030A0"/>
                    </a:solidFill>
                    <a:effectLst/>
                    <a:uLnTx/>
                    <a:uFillTx/>
                    <a:latin typeface="Century Gothic" panose="020F0302020204030204"/>
                    <a:ea typeface="+mn-ea"/>
                    <a:cs typeface="+mn-cs"/>
                  </a:rPr>
                  <a:t>20x</a:t>
                </a:r>
              </a:p>
            </p:txBody>
          </p:sp>
        </p:grpSp>
        <p:grpSp>
          <p:nvGrpSpPr>
            <p:cNvPr id="10" name="Group 9">
              <a:extLst>
                <a:ext uri="{FF2B5EF4-FFF2-40B4-BE49-F238E27FC236}">
                  <a16:creationId xmlns:a16="http://schemas.microsoft.com/office/drawing/2014/main" id="{0823A5B9-6274-4E8A-AF55-075DD879A958}"/>
                </a:ext>
              </a:extLst>
            </p:cNvPr>
            <p:cNvGrpSpPr/>
            <p:nvPr/>
          </p:nvGrpSpPr>
          <p:grpSpPr>
            <a:xfrm>
              <a:off x="3373301" y="5499076"/>
              <a:ext cx="5080714" cy="1382349"/>
              <a:chOff x="3373301" y="5499076"/>
              <a:chExt cx="5080714" cy="1382349"/>
            </a:xfrm>
          </p:grpSpPr>
          <p:sp>
            <p:nvSpPr>
              <p:cNvPr id="249" name="Shape 249"/>
              <p:cNvSpPr txBox="1"/>
              <p:nvPr/>
            </p:nvSpPr>
            <p:spPr>
              <a:xfrm>
                <a:off x="4727554" y="5553158"/>
                <a:ext cx="1853200" cy="1328267"/>
              </a:xfrm>
              <a:prstGeom prst="rect">
                <a:avLst/>
              </a:prstGeom>
              <a:noFill/>
              <a:ln>
                <a:noFill/>
              </a:ln>
            </p:spPr>
            <p:txBody>
              <a:bodyPr lIns="91425" tIns="45700" rIns="91425" bIns="45700" anchor="t" anchorCtr="0">
                <a:noAutofit/>
              </a:bodyPr>
              <a:lstStyle/>
              <a:p>
                <a:pPr marL="0" marR="0" lvl="0" indent="-69848" algn="ctr" defTabSz="914400" rtl="0" eaLnBrk="1" fontAlgn="auto" latinLnBrk="0" hangingPunct="1">
                  <a:lnSpc>
                    <a:spcPct val="100000"/>
                  </a:lnSpc>
                  <a:spcBef>
                    <a:spcPts val="0"/>
                  </a:spcBef>
                  <a:spcAft>
                    <a:spcPts val="0"/>
                  </a:spcAft>
                  <a:buClr>
                    <a:prstClr val="black"/>
                  </a:buClr>
                  <a:buSzTx/>
                  <a:buFontTx/>
                  <a:buNone/>
                  <a:tabLst/>
                  <a:defRPr/>
                </a:pPr>
                <a:r>
                  <a:rPr kumimoji="0" lang="en-US" sz="750" b="0" i="0" u="none" strike="noStrike" kern="1200" cap="all" spc="0" normalizeH="0" baseline="0" noProof="0" dirty="0">
                    <a:ln>
                      <a:noFill/>
                    </a:ln>
                    <a:solidFill>
                      <a:prstClr val="white">
                        <a:lumMod val="50000"/>
                      </a:prstClr>
                    </a:solidFill>
                    <a:effectLst/>
                    <a:uLnTx/>
                    <a:uFillTx/>
                    <a:latin typeface="Century Gothic" panose="020F0302020204030204"/>
                    <a:ea typeface="+mn-ea"/>
                    <a:cs typeface="+mn-cs"/>
                  </a:rPr>
                  <a:t>2. PanOptic</a:t>
                </a:r>
                <a:r>
                  <a:rPr kumimoji="0" lang="en-US" sz="750" b="0" i="0" u="none" strike="noStrike" kern="1200" cap="all" spc="0" normalizeH="0" baseline="0" noProof="0" dirty="0">
                    <a:ln>
                      <a:noFill/>
                    </a:ln>
                    <a:solidFill>
                      <a:prstClr val="white">
                        <a:lumMod val="50000"/>
                      </a:prstClr>
                    </a:solidFill>
                    <a:effectLst/>
                    <a:uLnTx/>
                    <a:uFillTx/>
                    <a:latin typeface="Century Gothic" panose="020F0302020204030204"/>
                    <a:ea typeface="+mn-ea"/>
                    <a:cs typeface="+mn-cs"/>
                    <a:sym typeface="Arial"/>
                  </a:rPr>
                  <a:t>™</a:t>
                </a:r>
                <a:r>
                  <a:rPr kumimoji="0" lang="en-US" sz="750" b="0" i="0" u="none" strike="noStrike" kern="1200" cap="all" spc="0" normalizeH="0" baseline="0" noProof="0" dirty="0">
                    <a:ln>
                      <a:noFill/>
                    </a:ln>
                    <a:solidFill>
                      <a:prstClr val="white">
                        <a:lumMod val="50000"/>
                      </a:prstClr>
                    </a:solidFill>
                    <a:effectLst/>
                    <a:uLnTx/>
                    <a:uFillTx/>
                    <a:latin typeface="Century Gothic" panose="020F0302020204030204"/>
                    <a:ea typeface="+mn-ea"/>
                    <a:cs typeface="+mn-cs"/>
                  </a:rPr>
                  <a:t> View</a:t>
                </a:r>
              </a:p>
              <a:p>
                <a:pPr marL="0" marR="0" lvl="0" indent="-69848" algn="ctr" defTabSz="914400" rtl="0" eaLnBrk="1" fontAlgn="auto" latinLnBrk="0" hangingPunct="1">
                  <a:lnSpc>
                    <a:spcPct val="100000"/>
                  </a:lnSpc>
                  <a:spcBef>
                    <a:spcPts val="0"/>
                  </a:spcBef>
                  <a:spcAft>
                    <a:spcPts val="0"/>
                  </a:spcAft>
                  <a:buClr>
                    <a:prstClr val="black"/>
                  </a:buClr>
                  <a:buSzTx/>
                  <a:buFontTx/>
                  <a:buNone/>
                  <a:tabLst/>
                  <a:defRPr/>
                </a:pPr>
                <a:r>
                  <a:rPr kumimoji="0" lang="en-US" sz="750" b="0" i="0" u="none" strike="noStrike" kern="1200" cap="all" spc="0" normalizeH="0" baseline="0" noProof="0" dirty="0">
                    <a:ln>
                      <a:noFill/>
                    </a:ln>
                    <a:solidFill>
                      <a:prstClr val="white">
                        <a:lumMod val="50000"/>
                      </a:prstClr>
                    </a:solidFill>
                    <a:effectLst/>
                    <a:uLnTx/>
                    <a:uFillTx/>
                    <a:latin typeface="Century Gothic" panose="020F0302020204030204"/>
                    <a:ea typeface="+mn-ea"/>
                    <a:cs typeface="+mn-cs"/>
                  </a:rPr>
                  <a:t>And MacroView</a:t>
                </a:r>
                <a:r>
                  <a:rPr kumimoji="0" lang="en-US" sz="750" b="0" i="0" u="none" strike="noStrike" kern="1200" cap="all" spc="0" normalizeH="0" baseline="0" noProof="0" dirty="0">
                    <a:ln>
                      <a:noFill/>
                    </a:ln>
                    <a:solidFill>
                      <a:prstClr val="white">
                        <a:lumMod val="50000"/>
                      </a:prstClr>
                    </a:solidFill>
                    <a:effectLst/>
                    <a:uLnTx/>
                    <a:uFillTx/>
                    <a:latin typeface="Century Gothic" panose="020F0302020204030204"/>
                    <a:ea typeface="+mn-ea"/>
                    <a:cs typeface="+mn-cs"/>
                    <a:sym typeface="Arial"/>
                  </a:rPr>
                  <a:t>™</a:t>
                </a:r>
                <a:r>
                  <a:rPr kumimoji="0" lang="en-US" sz="750" b="0" i="0" u="none" strike="noStrike" kern="1200" cap="all" spc="0" normalizeH="0" baseline="0" noProof="0" dirty="0">
                    <a:ln>
                      <a:noFill/>
                    </a:ln>
                    <a:solidFill>
                      <a:prstClr val="white">
                        <a:lumMod val="50000"/>
                      </a:prstClr>
                    </a:solidFill>
                    <a:effectLst/>
                    <a:uLnTx/>
                    <a:uFillTx/>
                    <a:latin typeface="Century Gothic" panose="020F0302020204030204"/>
                    <a:ea typeface="+mn-ea"/>
                    <a:cs typeface="+mn-cs"/>
                  </a:rPr>
                  <a:t> dramatically more than traditional scopes</a:t>
                </a:r>
              </a:p>
            </p:txBody>
          </p:sp>
          <p:cxnSp>
            <p:nvCxnSpPr>
              <p:cNvPr id="97" name="Straight Arrow Connector 96">
                <a:extLst>
                  <a:ext uri="{FF2B5EF4-FFF2-40B4-BE49-F238E27FC236}">
                    <a16:creationId xmlns:a16="http://schemas.microsoft.com/office/drawing/2014/main" id="{09BB0FBF-823D-491B-A62C-BB9A0682C12E}"/>
                  </a:ext>
                </a:extLst>
              </p:cNvPr>
              <p:cNvCxnSpPr>
                <a:cxnSpLocks/>
              </p:cNvCxnSpPr>
              <p:nvPr/>
            </p:nvCxnSpPr>
            <p:spPr>
              <a:xfrm flipH="1" flipV="1">
                <a:off x="3373301" y="5499076"/>
                <a:ext cx="1578430" cy="366713"/>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BC54BC3F-40C0-4E6E-A10D-90AE10330591}"/>
                  </a:ext>
                </a:extLst>
              </p:cNvPr>
              <p:cNvCxnSpPr>
                <a:cxnSpLocks/>
              </p:cNvCxnSpPr>
              <p:nvPr/>
            </p:nvCxnSpPr>
            <p:spPr>
              <a:xfrm flipV="1">
                <a:off x="6246601" y="5512201"/>
                <a:ext cx="2207414" cy="353588"/>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grpSp>
      <p:sp>
        <p:nvSpPr>
          <p:cNvPr id="59" name="TextBox 58">
            <a:extLst>
              <a:ext uri="{FF2B5EF4-FFF2-40B4-BE49-F238E27FC236}">
                <a16:creationId xmlns:a16="http://schemas.microsoft.com/office/drawing/2014/main" id="{234F52B5-EBAB-4C48-8DEA-F9A07E62D947}"/>
              </a:ext>
            </a:extLst>
          </p:cNvPr>
          <p:cNvSpPr txBox="1"/>
          <p:nvPr/>
        </p:nvSpPr>
        <p:spPr>
          <a:xfrm>
            <a:off x="1818002" y="1866601"/>
            <a:ext cx="1545792" cy="45608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
                <a:srgbClr val="000000"/>
              </a:buClr>
              <a:buSzPct val="25000"/>
              <a:buFontTx/>
              <a:buNone/>
              <a:tabLst/>
              <a:defRPr/>
            </a:pPr>
            <a:r>
              <a:rPr kumimoji="0" lang="en-US" sz="788" b="0" i="0" u="none" strike="noStrike" kern="1200" cap="all" spc="0" normalizeH="0" baseline="0" noProof="0" dirty="0">
                <a:ln>
                  <a:noFill/>
                </a:ln>
                <a:solidFill>
                  <a:prstClr val="white">
                    <a:lumMod val="50000"/>
                  </a:prstClr>
                </a:solidFill>
                <a:effectLst/>
                <a:uLnTx/>
                <a:uFillTx/>
                <a:latin typeface="Century Gothic" panose="020F0302020204030204"/>
                <a:ea typeface="+mn-ea"/>
                <a:cs typeface="+mn-cs"/>
                <a:sym typeface="Arial"/>
              </a:rPr>
              <a:t>11. Warranty</a:t>
            </a:r>
          </a:p>
          <a:p>
            <a:pPr marL="0" marR="0" lvl="0" indent="0" algn="r" defTabSz="914400" rtl="0" eaLnBrk="1" fontAlgn="auto" latinLnBrk="0" hangingPunct="1">
              <a:lnSpc>
                <a:spcPct val="100000"/>
              </a:lnSpc>
              <a:spcBef>
                <a:spcPts val="0"/>
              </a:spcBef>
              <a:spcAft>
                <a:spcPts val="0"/>
              </a:spcAft>
              <a:buClr>
                <a:srgbClr val="000000"/>
              </a:buClr>
              <a:buSzPct val="25000"/>
              <a:buFontTx/>
              <a:buNone/>
              <a:tabLst/>
              <a:defRPr/>
            </a:pPr>
            <a:r>
              <a:rPr kumimoji="0" lang="en-US" sz="788" b="0" i="0" u="none" strike="noStrike" kern="1200" cap="all" spc="0" normalizeH="0" baseline="0" noProof="0" dirty="0">
                <a:ln>
                  <a:noFill/>
                </a:ln>
                <a:solidFill>
                  <a:prstClr val="white">
                    <a:lumMod val="50000"/>
                  </a:prstClr>
                </a:solidFill>
                <a:effectLst/>
                <a:uLnTx/>
                <a:uFillTx/>
                <a:latin typeface="Century Gothic" panose="020F0302020204030204"/>
                <a:ea typeface="+mn-ea"/>
                <a:cs typeface="+mn-cs"/>
                <a:sym typeface="Arial"/>
              </a:rPr>
              <a:t> basic - 1 year</a:t>
            </a:r>
          </a:p>
          <a:p>
            <a:pPr marL="0" marR="0" lvl="0" indent="0" algn="r" defTabSz="914400" rtl="0" eaLnBrk="1" fontAlgn="auto" latinLnBrk="0" hangingPunct="1">
              <a:lnSpc>
                <a:spcPct val="100000"/>
              </a:lnSpc>
              <a:spcBef>
                <a:spcPts val="0"/>
              </a:spcBef>
              <a:spcAft>
                <a:spcPts val="0"/>
              </a:spcAft>
              <a:buClr>
                <a:srgbClr val="000000"/>
              </a:buClr>
              <a:buSzPct val="25000"/>
              <a:buFontTx/>
              <a:buNone/>
              <a:tabLst/>
              <a:defRPr/>
            </a:pPr>
            <a:r>
              <a:rPr kumimoji="0" lang="en-US" sz="788" b="0" i="0" u="none" strike="noStrike" kern="1200" cap="all" spc="0" normalizeH="0" baseline="0" noProof="0" dirty="0">
                <a:ln>
                  <a:noFill/>
                </a:ln>
                <a:solidFill>
                  <a:prstClr val="white">
                    <a:lumMod val="50000"/>
                  </a:prstClr>
                </a:solidFill>
                <a:effectLst/>
                <a:uLnTx/>
                <a:uFillTx/>
                <a:latin typeface="Century Gothic" panose="020F0302020204030204"/>
                <a:ea typeface="+mn-ea"/>
                <a:cs typeface="+mn-cs"/>
                <a:sym typeface="Arial"/>
              </a:rPr>
              <a:t>plus – 5 years</a:t>
            </a:r>
            <a:endParaRPr kumimoji="0" lang="en-US" sz="750" b="0" i="0" u="none" strike="noStrike" kern="1200" cap="all" spc="0" normalizeH="0" baseline="0" noProof="0" dirty="0">
              <a:ln>
                <a:noFill/>
              </a:ln>
              <a:solidFill>
                <a:prstClr val="white">
                  <a:lumMod val="50000"/>
                </a:prstClr>
              </a:solidFill>
              <a:effectLst/>
              <a:uLnTx/>
              <a:uFillTx/>
              <a:latin typeface="Century Gothic" panose="020F0302020204030204"/>
              <a:ea typeface="+mn-ea"/>
              <a:cs typeface="+mn-cs"/>
              <a:sym typeface="Arial"/>
            </a:endParaRPr>
          </a:p>
        </p:txBody>
      </p:sp>
      <p:sp>
        <p:nvSpPr>
          <p:cNvPr id="18" name="Text Placeholder 17">
            <a:extLst>
              <a:ext uri="{FF2B5EF4-FFF2-40B4-BE49-F238E27FC236}">
                <a16:creationId xmlns:a16="http://schemas.microsoft.com/office/drawing/2014/main" id="{48DD0977-E251-4ABC-BCDE-E6122E71D6A3}"/>
              </a:ext>
            </a:extLst>
          </p:cNvPr>
          <p:cNvSpPr>
            <a:spLocks noGrp="1"/>
          </p:cNvSpPr>
          <p:nvPr>
            <p:ph type="body" sz="quarter" idx="13"/>
          </p:nvPr>
        </p:nvSpPr>
        <p:spPr>
          <a:xfrm>
            <a:off x="2189513" y="4468"/>
            <a:ext cx="906530" cy="237757"/>
          </a:xfrm>
        </p:spPr>
        <p:txBody>
          <a:bodyPr/>
          <a:lstStyle/>
          <a:p>
            <a:r>
              <a:rPr lang="en-US" dirty="0"/>
              <a:t>overview</a:t>
            </a:r>
          </a:p>
        </p:txBody>
      </p:sp>
      <p:grpSp>
        <p:nvGrpSpPr>
          <p:cNvPr id="29" name="Group 28">
            <a:extLst>
              <a:ext uri="{FF2B5EF4-FFF2-40B4-BE49-F238E27FC236}">
                <a16:creationId xmlns:a16="http://schemas.microsoft.com/office/drawing/2014/main" id="{00B008FF-93D2-4085-8120-51F035A9C02F}"/>
              </a:ext>
            </a:extLst>
          </p:cNvPr>
          <p:cNvGrpSpPr/>
          <p:nvPr/>
        </p:nvGrpSpPr>
        <p:grpSpPr>
          <a:xfrm>
            <a:off x="5019369" y="662365"/>
            <a:ext cx="5976407" cy="1813693"/>
            <a:chOff x="3495368" y="662364"/>
            <a:chExt cx="5976407" cy="1813693"/>
          </a:xfrm>
        </p:grpSpPr>
        <p:grpSp>
          <p:nvGrpSpPr>
            <p:cNvPr id="76" name="Group 75">
              <a:extLst>
                <a:ext uri="{FF2B5EF4-FFF2-40B4-BE49-F238E27FC236}">
                  <a16:creationId xmlns:a16="http://schemas.microsoft.com/office/drawing/2014/main" id="{F8D0E8F0-72C4-4819-82E8-D33A628628AF}"/>
                </a:ext>
              </a:extLst>
            </p:cNvPr>
            <p:cNvGrpSpPr/>
            <p:nvPr/>
          </p:nvGrpSpPr>
          <p:grpSpPr>
            <a:xfrm>
              <a:off x="3495368" y="1776403"/>
              <a:ext cx="1235407" cy="699654"/>
              <a:chOff x="7255406" y="2103371"/>
              <a:chExt cx="1647209" cy="932872"/>
            </a:xfrm>
          </p:grpSpPr>
          <p:cxnSp>
            <p:nvCxnSpPr>
              <p:cNvPr id="77" name="Straight Arrow Connector 76">
                <a:extLst>
                  <a:ext uri="{FF2B5EF4-FFF2-40B4-BE49-F238E27FC236}">
                    <a16:creationId xmlns:a16="http://schemas.microsoft.com/office/drawing/2014/main" id="{87892F52-4429-4681-926C-623DC04EEA70}"/>
                  </a:ext>
                </a:extLst>
              </p:cNvPr>
              <p:cNvCxnSpPr>
                <a:cxnSpLocks/>
              </p:cNvCxnSpPr>
              <p:nvPr/>
            </p:nvCxnSpPr>
            <p:spPr>
              <a:xfrm flipH="1">
                <a:off x="7255406" y="2312884"/>
                <a:ext cx="446121" cy="723359"/>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AE2E36F9-4E81-44E9-931E-7F1A105CE776}"/>
                  </a:ext>
                </a:extLst>
              </p:cNvPr>
              <p:cNvSpPr txBox="1"/>
              <p:nvPr/>
            </p:nvSpPr>
            <p:spPr>
              <a:xfrm>
                <a:off x="7714025" y="2103371"/>
                <a:ext cx="1188590"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all" spc="0" normalizeH="0" baseline="0" noProof="0" dirty="0">
                    <a:ln>
                      <a:noFill/>
                    </a:ln>
                    <a:solidFill>
                      <a:prstClr val="white">
                        <a:lumMod val="50000"/>
                      </a:prstClr>
                    </a:solidFill>
                    <a:effectLst/>
                    <a:uLnTx/>
                    <a:uFillTx/>
                    <a:latin typeface="Century Gothic" panose="020F0302020204030204"/>
                    <a:ea typeface="+mn-ea"/>
                    <a:cs typeface="+mn-cs"/>
                  </a:rPr>
                  <a:t>3. </a:t>
                </a:r>
                <a:r>
                  <a:rPr kumimoji="0" lang="en-US" sz="750" b="0" i="0" u="none" strike="noStrike" kern="1200" cap="all" spc="0" normalizeH="0" baseline="0" noProof="0" dirty="0" err="1">
                    <a:ln>
                      <a:noFill/>
                    </a:ln>
                    <a:solidFill>
                      <a:prstClr val="white">
                        <a:lumMod val="50000"/>
                      </a:prstClr>
                    </a:solidFill>
                    <a:effectLst/>
                    <a:uLnTx/>
                    <a:uFillTx/>
                    <a:latin typeface="Century Gothic" panose="020F0302020204030204"/>
                    <a:ea typeface="+mn-ea"/>
                    <a:cs typeface="+mn-cs"/>
                  </a:rPr>
                  <a:t>Durashock</a:t>
                </a:r>
                <a:r>
                  <a:rPr kumimoji="0" lang="en-US" sz="750" b="0" i="0" u="none" strike="noStrike" kern="1200" cap="all" spc="0" normalizeH="0" baseline="0" noProof="0" dirty="0">
                    <a:ln>
                      <a:noFill/>
                    </a:ln>
                    <a:solidFill>
                      <a:prstClr val="white">
                        <a:lumMod val="50000"/>
                      </a:prstClr>
                    </a:solidFill>
                    <a:effectLst/>
                    <a:uLnTx/>
                    <a:uFillTx/>
                    <a:latin typeface="Century Gothic" panose="020F0302020204030204"/>
                    <a:ea typeface="+mn-ea"/>
                    <a:cs typeface="+mn-cs"/>
                  </a:rPr>
                  <a:t>™ Extra tough design</a:t>
                </a:r>
              </a:p>
            </p:txBody>
          </p:sp>
        </p:grpSp>
        <p:grpSp>
          <p:nvGrpSpPr>
            <p:cNvPr id="70" name="Group 69">
              <a:extLst>
                <a:ext uri="{FF2B5EF4-FFF2-40B4-BE49-F238E27FC236}">
                  <a16:creationId xmlns:a16="http://schemas.microsoft.com/office/drawing/2014/main" id="{A582FB0A-34D5-478E-973D-234D5C511922}"/>
                </a:ext>
              </a:extLst>
            </p:cNvPr>
            <p:cNvGrpSpPr/>
            <p:nvPr/>
          </p:nvGrpSpPr>
          <p:grpSpPr>
            <a:xfrm>
              <a:off x="8236368" y="662364"/>
              <a:ext cx="1235407" cy="699654"/>
              <a:chOff x="7255406" y="2103371"/>
              <a:chExt cx="1647209" cy="932872"/>
            </a:xfrm>
          </p:grpSpPr>
          <p:cxnSp>
            <p:nvCxnSpPr>
              <p:cNvPr id="71" name="Straight Arrow Connector 70">
                <a:extLst>
                  <a:ext uri="{FF2B5EF4-FFF2-40B4-BE49-F238E27FC236}">
                    <a16:creationId xmlns:a16="http://schemas.microsoft.com/office/drawing/2014/main" id="{99D2A334-9EC4-44AC-9C33-EA92BEC50E58}"/>
                  </a:ext>
                </a:extLst>
              </p:cNvPr>
              <p:cNvCxnSpPr>
                <a:cxnSpLocks/>
              </p:cNvCxnSpPr>
              <p:nvPr/>
            </p:nvCxnSpPr>
            <p:spPr>
              <a:xfrm flipH="1">
                <a:off x="7255406" y="2312884"/>
                <a:ext cx="446121" cy="723359"/>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EBE2DCCF-3819-47D1-ABBD-FCAB277D7F0C}"/>
                  </a:ext>
                </a:extLst>
              </p:cNvPr>
              <p:cNvSpPr txBox="1"/>
              <p:nvPr/>
            </p:nvSpPr>
            <p:spPr>
              <a:xfrm>
                <a:off x="7714025" y="2103371"/>
                <a:ext cx="118859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all" spc="0" normalizeH="0" baseline="0" noProof="0" dirty="0">
                    <a:ln>
                      <a:noFill/>
                    </a:ln>
                    <a:solidFill>
                      <a:prstClr val="white">
                        <a:lumMod val="50000"/>
                      </a:prstClr>
                    </a:solidFill>
                    <a:effectLst/>
                    <a:uLnTx/>
                    <a:uFillTx/>
                    <a:latin typeface="Century Gothic" panose="020F0302020204030204"/>
                    <a:ea typeface="+mn-ea"/>
                    <a:cs typeface="+mn-cs"/>
                  </a:rPr>
                  <a:t>3. </a:t>
                </a:r>
              </a:p>
            </p:txBody>
          </p:sp>
        </p:grpSp>
      </p:grpSp>
      <p:sp>
        <p:nvSpPr>
          <p:cNvPr id="83" name="TextBox 82">
            <a:extLst>
              <a:ext uri="{FF2B5EF4-FFF2-40B4-BE49-F238E27FC236}">
                <a16:creationId xmlns:a16="http://schemas.microsoft.com/office/drawing/2014/main" id="{C7F398A9-4F24-4224-BC77-450448D30FF0}"/>
              </a:ext>
            </a:extLst>
          </p:cNvPr>
          <p:cNvSpPr txBox="1"/>
          <p:nvPr/>
        </p:nvSpPr>
        <p:spPr>
          <a:xfrm>
            <a:off x="6148834" y="5851274"/>
            <a:ext cx="1210608" cy="45608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
                <a:srgbClr val="000000"/>
              </a:buClr>
              <a:buSzPct val="25000"/>
              <a:buFontTx/>
              <a:buNone/>
              <a:tabLst/>
              <a:defRPr/>
            </a:pPr>
            <a:r>
              <a:rPr kumimoji="0" lang="en-US" sz="788" b="0" i="0" u="none" strike="noStrike" kern="1200" cap="all" spc="0" normalizeH="0" baseline="0" noProof="0" dirty="0">
                <a:ln>
                  <a:noFill/>
                </a:ln>
                <a:solidFill>
                  <a:prstClr val="white">
                    <a:lumMod val="50000"/>
                  </a:prstClr>
                </a:solidFill>
                <a:effectLst/>
                <a:uLnTx/>
                <a:uFillTx/>
                <a:latin typeface="Century Gothic" panose="020F0302020204030204"/>
                <a:ea typeface="+mn-ea"/>
                <a:cs typeface="+mn-cs"/>
                <a:sym typeface="Arial"/>
              </a:rPr>
              <a:t>0. LED illumination for battery life and durability</a:t>
            </a:r>
            <a:endParaRPr kumimoji="0" lang="en-US" sz="750" b="0" i="0" u="none" strike="noStrike" kern="1200" cap="all" spc="0" normalizeH="0" baseline="0" noProof="0" dirty="0">
              <a:ln>
                <a:noFill/>
              </a:ln>
              <a:solidFill>
                <a:prstClr val="white">
                  <a:lumMod val="50000"/>
                </a:prstClr>
              </a:solidFill>
              <a:effectLst/>
              <a:uLnTx/>
              <a:uFillTx/>
              <a:latin typeface="Century Gothic" panose="020F0302020204030204"/>
              <a:ea typeface="+mn-ea"/>
              <a:cs typeface="+mn-cs"/>
              <a:sym typeface="Arial"/>
            </a:endParaRPr>
          </a:p>
        </p:txBody>
      </p:sp>
      <p:grpSp>
        <p:nvGrpSpPr>
          <p:cNvPr id="69" name="Group 68">
            <a:extLst>
              <a:ext uri="{FF2B5EF4-FFF2-40B4-BE49-F238E27FC236}">
                <a16:creationId xmlns:a16="http://schemas.microsoft.com/office/drawing/2014/main" id="{BB3E4B20-BBD6-47D5-9EE7-749944D55D20}"/>
              </a:ext>
            </a:extLst>
          </p:cNvPr>
          <p:cNvGrpSpPr/>
          <p:nvPr/>
        </p:nvGrpSpPr>
        <p:grpSpPr>
          <a:xfrm>
            <a:off x="8258112" y="5540550"/>
            <a:ext cx="729272" cy="906325"/>
            <a:chOff x="7572635" y="2123476"/>
            <a:chExt cx="1296483" cy="1611248"/>
          </a:xfrm>
        </p:grpSpPr>
        <p:cxnSp>
          <p:nvCxnSpPr>
            <p:cNvPr id="74" name="Straight Arrow Connector 73">
              <a:extLst>
                <a:ext uri="{FF2B5EF4-FFF2-40B4-BE49-F238E27FC236}">
                  <a16:creationId xmlns:a16="http://schemas.microsoft.com/office/drawing/2014/main" id="{3C8A6611-F377-4AAA-BDC8-FB263B5C6C00}"/>
                </a:ext>
              </a:extLst>
            </p:cNvPr>
            <p:cNvCxnSpPr>
              <a:cxnSpLocks/>
              <a:stCxn id="75" idx="0"/>
            </p:cNvCxnSpPr>
            <p:nvPr/>
          </p:nvCxnSpPr>
          <p:spPr>
            <a:xfrm flipV="1">
              <a:off x="8166930" y="2123476"/>
              <a:ext cx="702188" cy="571646"/>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44EE8242-0A48-45BA-A136-F1254F52BCF2}"/>
                </a:ext>
              </a:extLst>
            </p:cNvPr>
            <p:cNvSpPr txBox="1"/>
            <p:nvPr/>
          </p:nvSpPr>
          <p:spPr>
            <a:xfrm>
              <a:off x="7572635" y="2695122"/>
              <a:ext cx="1188590" cy="103960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all" spc="0" normalizeH="0" baseline="0" noProof="0" dirty="0">
                  <a:ln>
                    <a:noFill/>
                  </a:ln>
                  <a:solidFill>
                    <a:prstClr val="white">
                      <a:lumMod val="50000"/>
                    </a:prstClr>
                  </a:solidFill>
                  <a:effectLst/>
                  <a:uLnTx/>
                  <a:uFillTx/>
                  <a:latin typeface="Century Gothic" panose="020F0302020204030204"/>
                  <a:ea typeface="+mn-ea"/>
                  <a:cs typeface="+mn-cs"/>
                </a:rPr>
                <a:t>12. Auto-off after 3 minutes</a:t>
              </a:r>
            </a:p>
          </p:txBody>
        </p:sp>
      </p:grpSp>
    </p:spTree>
    <p:extLst>
      <p:ext uri="{BB962C8B-B14F-4D97-AF65-F5344CB8AC3E}">
        <p14:creationId xmlns:p14="http://schemas.microsoft.com/office/powerpoint/2010/main" val="2335335871"/>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8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6"/>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6"/>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86"/>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13"/>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59"/>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6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6" grpId="0"/>
      <p:bldP spid="59" grpId="0"/>
      <p:bldP spid="83" grpId="0"/>
    </p:bldLst>
  </p:timing>
</p:sld>
</file>

<file path=ppt/tags/tag1.xml><?xml version="1.0" encoding="utf-8"?>
<p:tagLst xmlns:a="http://schemas.openxmlformats.org/drawingml/2006/main" xmlns:r="http://schemas.openxmlformats.org/officeDocument/2006/relationships" xmlns:p="http://schemas.openxmlformats.org/presentationml/2006/main">
  <p:tag name="TABLENAME" val="BainTable22051"/>
  <p:tag name="BAINBULLETSACTIVATED" val="True"/>
  <p:tag name="BAINBULLETSLEVELSFINGERPRINT" val="119670716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rzHc1OC3E6oQTbqzgYn4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635nQT6ISB.0WPFJLMAyZw"/>
</p:tagLst>
</file>

<file path=ppt/theme/theme1.xml><?xml version="1.0" encoding="utf-8"?>
<a:theme xmlns:a="http://schemas.openxmlformats.org/drawingml/2006/main" name="HRC Brand-01">
  <a:themeElements>
    <a:clrScheme name="HillRom">
      <a:dk1>
        <a:sysClr val="windowText" lastClr="000000"/>
      </a:dk1>
      <a:lt1>
        <a:sysClr val="window" lastClr="FFFFFF"/>
      </a:lt1>
      <a:dk2>
        <a:srgbClr val="44546A"/>
      </a:dk2>
      <a:lt2>
        <a:srgbClr val="E7E6E6"/>
      </a:lt2>
      <a:accent1>
        <a:srgbClr val="5369E5"/>
      </a:accent1>
      <a:accent2>
        <a:srgbClr val="000839"/>
      </a:accent2>
      <a:accent3>
        <a:srgbClr val="27266B"/>
      </a:accent3>
      <a:accent4>
        <a:srgbClr val="E8EFF1"/>
      </a:accent4>
      <a:accent5>
        <a:srgbClr val="ABC2CC"/>
      </a:accent5>
      <a:accent6>
        <a:srgbClr val="7D9096"/>
      </a:accent6>
      <a:hlink>
        <a:srgbClr val="0563C1"/>
      </a:hlink>
      <a:folHlink>
        <a:srgbClr val="954F72"/>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Purple">
      <a:srgbClr val="B079E0"/>
    </a:custClr>
    <a:custClr name="Turquoise">
      <a:srgbClr val="62D9D7"/>
    </a:custClr>
    <a:custClr name="Green">
      <a:srgbClr val="00D660"/>
    </a:custClr>
    <a:custClr name="Red">
      <a:srgbClr val="FF6C7A"/>
    </a:custClr>
    <a:custClr name="Orange">
      <a:srgbClr val="FF955E"/>
    </a:custClr>
  </a:custClrLst>
  <a:extLst>
    <a:ext uri="{05A4C25C-085E-4340-85A3-A5531E510DB2}">
      <thm15:themeFamily xmlns:thm15="http://schemas.microsoft.com/office/thememl/2012/main" name="HRC Brand-01" id="{8D6CA7BF-52D6-4AFB-A54F-80BD9B156D5C}" vid="{28E50FC9-E283-470F-AA7D-0521A44C9853}"/>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D94953C4D515741987A09B301027C32" ma:contentTypeVersion="13" ma:contentTypeDescription="Create a new document." ma:contentTypeScope="" ma:versionID="05211992017dc6256f6964edec9b30df">
  <xsd:schema xmlns:xsd="http://www.w3.org/2001/XMLSchema" xmlns:xs="http://www.w3.org/2001/XMLSchema" xmlns:p="http://schemas.microsoft.com/office/2006/metadata/properties" xmlns:ns3="a56e6f46-26ae-4e49-854c-78b41f02a573" xmlns:ns4="6fc9164e-58ac-4947-891c-117906e7500a" targetNamespace="http://schemas.microsoft.com/office/2006/metadata/properties" ma:root="true" ma:fieldsID="06b94115a56fc4cb721fdef06ccae9ab" ns3:_="" ns4:_="">
    <xsd:import namespace="a56e6f46-26ae-4e49-854c-78b41f02a573"/>
    <xsd:import namespace="6fc9164e-58ac-4947-891c-117906e7500a"/>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OCR" minOccurs="0"/>
                <xsd:element ref="ns4:MediaServiceLocation" minOccurs="0"/>
                <xsd:element ref="ns4:MediaServiceGenerationTime" minOccurs="0"/>
                <xsd:element ref="ns4:MediaServiceEventHashCod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56e6f46-26ae-4e49-854c-78b41f02a573"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fc9164e-58ac-4947-891c-117906e7500a"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Location" ma:index="16"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DC0E6FE-2D17-485B-B452-5A889A4999B5}">
  <ds:schemaRefs>
    <ds:schemaRef ds:uri="http://schemas.microsoft.com/sharepoint/v3/contenttype/forms"/>
  </ds:schemaRefs>
</ds:datastoreItem>
</file>

<file path=customXml/itemProps2.xml><?xml version="1.0" encoding="utf-8"?>
<ds:datastoreItem xmlns:ds="http://schemas.openxmlformats.org/officeDocument/2006/customXml" ds:itemID="{E9F75450-9A66-4427-A8B4-0109CF626E5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56e6f46-26ae-4e49-854c-78b41f02a573"/>
    <ds:schemaRef ds:uri="6fc9164e-58ac-4947-891c-117906e7500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B57BB2B-25F2-457F-8906-AA6552EC867A}">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0</TotalTime>
  <Words>2255</Words>
  <Application>Microsoft Office PowerPoint</Application>
  <PresentationFormat>Grand écran</PresentationFormat>
  <Paragraphs>427</Paragraphs>
  <Slides>30</Slides>
  <Notes>8</Notes>
  <HiddenSlides>0</HiddenSlides>
  <MMClips>0</MMClips>
  <ScaleCrop>false</ScaleCrop>
  <HeadingPairs>
    <vt:vector size="8" baseType="variant">
      <vt:variant>
        <vt:lpstr>Polices utilisées</vt:lpstr>
      </vt:variant>
      <vt:variant>
        <vt:i4>5</vt:i4>
      </vt:variant>
      <vt:variant>
        <vt:lpstr>Thème</vt:lpstr>
      </vt:variant>
      <vt:variant>
        <vt:i4>1</vt:i4>
      </vt:variant>
      <vt:variant>
        <vt:lpstr>Serveurs OLE incorporés</vt:lpstr>
      </vt:variant>
      <vt:variant>
        <vt:i4>1</vt:i4>
      </vt:variant>
      <vt:variant>
        <vt:lpstr>Titres des diapositives</vt:lpstr>
      </vt:variant>
      <vt:variant>
        <vt:i4>30</vt:i4>
      </vt:variant>
    </vt:vector>
  </HeadingPairs>
  <TitlesOfParts>
    <vt:vector size="37" baseType="lpstr">
      <vt:lpstr>Arial</vt:lpstr>
      <vt:lpstr>Calibri</vt:lpstr>
      <vt:lpstr>Century Gothic</vt:lpstr>
      <vt:lpstr>System Font Regular</vt:lpstr>
      <vt:lpstr>Verdana</vt:lpstr>
      <vt:lpstr>HRC Brand-01</vt:lpstr>
      <vt:lpstr>think-cell Slide</vt:lpstr>
      <vt:lpstr>Executive Overview Enhance Launch EMEA</vt:lpstr>
      <vt:lpstr>The evolution of 3.5 V Diagnostic devices is comparable to the evolution of TV devices………………</vt:lpstr>
      <vt:lpstr>Competition is Driving Continuous Improvement</vt:lpstr>
      <vt:lpstr>ENHANCE Launch consists out of</vt:lpstr>
      <vt:lpstr>Product Offer Today versus Tomorrow </vt:lpstr>
      <vt:lpstr>Présentation PowerPoint</vt:lpstr>
      <vt:lpstr>Product Overview Enhance will deliver a new otoscope and ophthalmoscope with superior optics and ease of use.  Each instrument will be capable of quickly capturing digital images to provide better patient care.  The project also includes new battery systems and clear specula. </vt:lpstr>
      <vt:lpstr>Enhance Profile</vt:lpstr>
      <vt:lpstr>Présentation PowerPoint</vt:lpstr>
      <vt:lpstr>Traditional Scopes with Incredible Views &amp; Quick Digitization </vt:lpstr>
      <vt:lpstr>Competitive Product/Service Benefit Ladder</vt:lpstr>
      <vt:lpstr>10 reasons why ENHANCE is so exciting for us!</vt:lpstr>
      <vt:lpstr>Présentation PowerPoint</vt:lpstr>
      <vt:lpstr>EMEA Financials /Portfolio Overview/Impact</vt:lpstr>
      <vt:lpstr>Enhance Executive Summary – EMEA</vt:lpstr>
      <vt:lpstr>Market Development Assessment Clinical &amp; Health Economics Evidence</vt:lpstr>
      <vt:lpstr>Some Key Opinion Leaders</vt:lpstr>
      <vt:lpstr>Clinical Evidence EMEA</vt:lpstr>
      <vt:lpstr>EMEA Update</vt:lpstr>
      <vt:lpstr>Possible Obstacles </vt:lpstr>
      <vt:lpstr>Market Dynamics and Financial Goals</vt:lpstr>
      <vt:lpstr>Future Market Size: Waterfall from Potential to Current</vt:lpstr>
      <vt:lpstr>Country Specifics</vt:lpstr>
      <vt:lpstr>Overview Distributor Belgium</vt:lpstr>
      <vt:lpstr>Overview Distributor The Netherlands</vt:lpstr>
      <vt:lpstr>Présentation PowerPoint</vt:lpstr>
      <vt:lpstr>Présentation PowerPoint</vt:lpstr>
      <vt:lpstr>Présentation PowerPoint</vt:lpstr>
      <vt:lpstr>Heine as the Key Competitor</vt:lpstr>
      <vt:lpstr>Countries in Scop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ecutive Overview Enhance Launch EMEA</dc:title>
  <dc:creator>Karin Feit</dc:creator>
  <cp:lastModifiedBy>Xavier Lapabe</cp:lastModifiedBy>
  <cp:revision>3</cp:revision>
  <dcterms:created xsi:type="dcterms:W3CDTF">2020-08-20T13:00:06Z</dcterms:created>
  <dcterms:modified xsi:type="dcterms:W3CDTF">2021-01-27T13:49:43Z</dcterms:modified>
</cp:coreProperties>
</file>